
<file path=[Content_Types].xml><?xml version="1.0" encoding="utf-8"?>
<Types xmlns="http://schemas.openxmlformats.org/package/2006/content-types">
  <Default Extension="gif" ContentType="image/gif"/>
  <Default Extension="jpeg" ContentType="image/jpeg"/>
  <Default Extension="jpg" ContentType="image/jpeg"/>
  <Default Extension="png" ContentType="image/png"/>
  <Default Extension="rels" ContentType="application/vnd.openxmlformats-package.relationships+xml"/>
  <Default Extension="wma" ContentType="audio/x-ms-wma"/>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3.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4.xml" ContentType="application/vnd.openxmlformats-officedocument.theme+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5.xml" ContentType="application/vnd.openxmlformats-officedocument.theme+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67" r:id="rId1"/>
    <p:sldMasterId id="2147484006" r:id="rId2"/>
    <p:sldMasterId id="2147484090" r:id="rId3"/>
    <p:sldMasterId id="2147484116" r:id="rId4"/>
    <p:sldMasterId id="2147484130" r:id="rId5"/>
    <p:sldMasterId id="2147484171" r:id="rId6"/>
  </p:sldMasterIdLst>
  <p:notesMasterIdLst>
    <p:notesMasterId r:id="rId31"/>
  </p:notesMasterIdLst>
  <p:sldIdLst>
    <p:sldId id="256" r:id="rId7"/>
    <p:sldId id="370" r:id="rId8"/>
    <p:sldId id="349" r:id="rId9"/>
    <p:sldId id="366" r:id="rId10"/>
    <p:sldId id="420" r:id="rId11"/>
    <p:sldId id="277" r:id="rId12"/>
    <p:sldId id="287" r:id="rId13"/>
    <p:sldId id="419" r:id="rId14"/>
    <p:sldId id="365" r:id="rId15"/>
    <p:sldId id="380" r:id="rId16"/>
    <p:sldId id="381" r:id="rId17"/>
    <p:sldId id="408" r:id="rId18"/>
    <p:sldId id="409" r:id="rId19"/>
    <p:sldId id="410" r:id="rId20"/>
    <p:sldId id="411" r:id="rId21"/>
    <p:sldId id="412" r:id="rId22"/>
    <p:sldId id="413" r:id="rId23"/>
    <p:sldId id="414" r:id="rId24"/>
    <p:sldId id="415" r:id="rId25"/>
    <p:sldId id="416" r:id="rId26"/>
    <p:sldId id="417" r:id="rId27"/>
    <p:sldId id="405" r:id="rId28"/>
    <p:sldId id="418" r:id="rId29"/>
    <p:sldId id="283" r:id="rId30"/>
  </p:sldIdLst>
  <p:sldSz cx="12192000" cy="6858000"/>
  <p:notesSz cx="6858000" cy="9144000"/>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ll" initials="B"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3300"/>
    <a:srgbClr val="33CCCC"/>
    <a:srgbClr val="FFCC00"/>
    <a:srgbClr val="CC0066"/>
    <a:srgbClr val="FF9933"/>
    <a:srgbClr val="009999"/>
    <a:srgbClr val="CC9900"/>
    <a:srgbClr val="996633"/>
    <a:srgbClr val="800000"/>
    <a:srgbClr val="F4020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等深淺樣式 2 - 輔色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15" autoAdjust="0"/>
    <p:restoredTop sz="89388" autoAdjust="0"/>
  </p:normalViewPr>
  <p:slideViewPr>
    <p:cSldViewPr snapToGrid="0">
      <p:cViewPr varScale="1">
        <p:scale>
          <a:sx n="57" d="100"/>
          <a:sy n="57" d="100"/>
        </p:scale>
        <p:origin x="1108" y="3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 Id="rId8"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50"/>
      <c:rotY val="0"/>
      <c:depthPercent val="100"/>
      <c:rAngAx val="0"/>
      <c:perspective val="6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
          <c:y val="9.6808759607150699E-2"/>
          <c:w val="0.99961187460263123"/>
          <c:h val="0.86651769750558416"/>
        </c:manualLayout>
      </c:layout>
      <c:pie3DChart>
        <c:varyColors val="1"/>
        <c:ser>
          <c:idx val="0"/>
          <c:order val="0"/>
          <c:tx>
            <c:strRef>
              <c:f>Sheet1!$B$1</c:f>
              <c:strCache>
                <c:ptCount val="1"/>
                <c:pt idx="0">
                  <c:v>Sales</c:v>
                </c:pt>
              </c:strCache>
            </c:strRef>
          </c:tx>
          <c:dPt>
            <c:idx val="0"/>
            <c:bubble3D val="0"/>
            <c:spPr>
              <a:solidFill>
                <a:schemeClr val="accent1"/>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1-848F-432E-9B44-F40E8BC4318D}"/>
              </c:ext>
            </c:extLst>
          </c:dPt>
          <c:dPt>
            <c:idx val="1"/>
            <c:bubble3D val="0"/>
            <c:spPr>
              <a:solidFill>
                <a:schemeClr val="accent2"/>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3-848F-432E-9B44-F40E8BC4318D}"/>
              </c:ext>
            </c:extLst>
          </c:dPt>
          <c:dPt>
            <c:idx val="2"/>
            <c:bubble3D val="0"/>
            <c:spPr>
              <a:solidFill>
                <a:schemeClr val="accent3"/>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5-848F-432E-9B44-F40E8BC4318D}"/>
              </c:ext>
            </c:extLst>
          </c:dPt>
          <c:dPt>
            <c:idx val="3"/>
            <c:bubble3D val="0"/>
            <c:spPr>
              <a:solidFill>
                <a:schemeClr val="accent4"/>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7-848F-432E-9B44-F40E8BC4318D}"/>
              </c:ext>
            </c:extLst>
          </c:dPt>
          <c:dPt>
            <c:idx val="4"/>
            <c:bubble3D val="0"/>
            <c:spPr>
              <a:solidFill>
                <a:schemeClr val="accent5"/>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9-848F-432E-9B44-F40E8BC4318D}"/>
              </c:ext>
            </c:extLst>
          </c:dPt>
          <c:dPt>
            <c:idx val="5"/>
            <c:bubble3D val="0"/>
            <c:spPr>
              <a:solidFill>
                <a:schemeClr val="accent6"/>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B-848F-432E-9B44-F40E8BC4318D}"/>
              </c:ext>
            </c:extLst>
          </c:dPt>
          <c:dLbls>
            <c:dLbl>
              <c:idx val="0"/>
              <c:layout>
                <c:manualLayout>
                  <c:x val="-0.14383047540960431"/>
                  <c:y val="0.14819974774712721"/>
                </c:manualLayout>
              </c:layout>
              <c:tx>
                <c:rich>
                  <a:bodyPr rot="0" spcFirstLastPara="1" vertOverflow="ellipsis" vert="horz" wrap="square" lIns="38100" tIns="19050" rIns="38100" bIns="19050" anchor="ctr" anchorCtr="1">
                    <a:noAutofit/>
                  </a:bodyPr>
                  <a:lstStyle/>
                  <a:p>
                    <a:pPr>
                      <a:defRPr sz="1800" b="1" i="0" u="none" strike="noStrike" kern="1200" baseline="0">
                        <a:solidFill>
                          <a:schemeClr val="lt1"/>
                        </a:solidFill>
                        <a:latin typeface="+mn-lt"/>
                        <a:ea typeface="+mn-ea"/>
                        <a:cs typeface="+mn-cs"/>
                      </a:defRPr>
                    </a:pPr>
                    <a:r>
                      <a:rPr lang="en-US" sz="1800"/>
                      <a:t>College of Life Sciences</a:t>
                    </a:r>
                  </a:p>
                </c:rich>
              </c:tx>
              <c:spPr>
                <a:noFill/>
                <a:ln>
                  <a:noFill/>
                </a:ln>
                <a:effectLst/>
              </c:spPr>
              <c:dLblPos val="bestFit"/>
              <c:showLegendKey val="0"/>
              <c:showVal val="0"/>
              <c:showCatName val="1"/>
              <c:showSerName val="0"/>
              <c:showPercent val="1"/>
              <c:showBubbleSize val="0"/>
              <c:extLst>
                <c:ext xmlns:c15="http://schemas.microsoft.com/office/drawing/2012/chart" uri="{CE6537A1-D6FC-4f65-9D91-7224C49458BB}">
                  <c15:layout>
                    <c:manualLayout>
                      <c:w val="0.17699782227019908"/>
                      <c:h val="0.11856239715724573"/>
                    </c:manualLayout>
                  </c15:layout>
                  <c15:showDataLabelsRange val="0"/>
                </c:ext>
                <c:ext xmlns:c16="http://schemas.microsoft.com/office/drawing/2014/chart" uri="{C3380CC4-5D6E-409C-BE32-E72D297353CC}">
                  <c16:uniqueId val="{00000001-848F-432E-9B44-F40E8BC4318D}"/>
                </c:ext>
              </c:extLst>
            </c:dLbl>
            <c:dLbl>
              <c:idx val="1"/>
              <c:layout>
                <c:manualLayout>
                  <c:x val="-0.18312715757927028"/>
                  <c:y val="5.0591347028129015E-2"/>
                </c:manualLayout>
              </c:layout>
              <c:tx>
                <c:rich>
                  <a:bodyPr rot="0" spcFirstLastPara="1" vertOverflow="ellipsis" vert="horz" wrap="square" lIns="38100" tIns="19050" rIns="38100" bIns="19050" anchor="ctr" anchorCtr="0">
                    <a:noAutofit/>
                  </a:bodyPr>
                  <a:lstStyle/>
                  <a:p>
                    <a:pPr algn="l">
                      <a:defRPr sz="1800" b="1" i="0" u="none" strike="noStrike" kern="1200" baseline="0">
                        <a:solidFill>
                          <a:schemeClr val="lt1"/>
                        </a:solidFill>
                        <a:latin typeface="+mn-lt"/>
                        <a:ea typeface="+mn-ea"/>
                        <a:cs typeface="+mn-cs"/>
                      </a:defRPr>
                    </a:pPr>
                    <a:r>
                      <a:rPr lang="en-US" sz="1800" dirty="0"/>
                      <a:t>College of Agriculture</a:t>
                    </a:r>
                  </a:p>
                </c:rich>
              </c:tx>
              <c:spPr>
                <a:noFill/>
                <a:ln>
                  <a:noFill/>
                </a:ln>
                <a:effectLst/>
              </c:spPr>
              <c:dLblPos val="bestFit"/>
              <c:showLegendKey val="0"/>
              <c:showVal val="0"/>
              <c:showCatName val="1"/>
              <c:showSerName val="0"/>
              <c:showPercent val="1"/>
              <c:showBubbleSize val="0"/>
              <c:extLst>
                <c:ext xmlns:c15="http://schemas.microsoft.com/office/drawing/2012/chart" uri="{CE6537A1-D6FC-4f65-9D91-7224C49458BB}">
                  <c15:layout>
                    <c:manualLayout>
                      <c:w val="0.16660141845318988"/>
                      <c:h val="0.12807485316982051"/>
                    </c:manualLayout>
                  </c15:layout>
                  <c15:showDataLabelsRange val="0"/>
                </c:ext>
                <c:ext xmlns:c16="http://schemas.microsoft.com/office/drawing/2014/chart" uri="{C3380CC4-5D6E-409C-BE32-E72D297353CC}">
                  <c16:uniqueId val="{00000003-848F-432E-9B44-F40E8BC4318D}"/>
                </c:ext>
              </c:extLst>
            </c:dLbl>
            <c:dLbl>
              <c:idx val="2"/>
              <c:layout>
                <c:manualLayout>
                  <c:x val="-0.17898347446246071"/>
                  <c:y val="-0.1947636752703234"/>
                </c:manualLayout>
              </c:layout>
              <c:tx>
                <c:rich>
                  <a:bodyPr rot="0" spcFirstLastPara="1" vertOverflow="ellipsis" vert="horz" wrap="square" lIns="38100" tIns="19050" rIns="38100" bIns="19050" anchor="ctr" anchorCtr="1">
                    <a:noAutofit/>
                  </a:bodyPr>
                  <a:lstStyle/>
                  <a:p>
                    <a:pPr>
                      <a:defRPr sz="1800" b="1" i="0" u="none" strike="noStrike" kern="1200" baseline="0">
                        <a:solidFill>
                          <a:schemeClr val="lt1"/>
                        </a:solidFill>
                        <a:latin typeface="+mn-lt"/>
                        <a:ea typeface="+mn-ea"/>
                        <a:cs typeface="+mn-cs"/>
                      </a:defRPr>
                    </a:pPr>
                    <a:r>
                      <a:rPr lang="en-US" sz="1800"/>
                      <a:t>College of Managemnet</a:t>
                    </a:r>
                  </a:p>
                </c:rich>
              </c:tx>
              <c:spPr>
                <a:noFill/>
                <a:ln>
                  <a:noFill/>
                </a:ln>
                <a:effectLst/>
              </c:spPr>
              <c:dLblPos val="bestFit"/>
              <c:showLegendKey val="0"/>
              <c:showVal val="0"/>
              <c:showCatName val="1"/>
              <c:showSerName val="0"/>
              <c:showPercent val="1"/>
              <c:showBubbleSize val="0"/>
              <c:extLst>
                <c:ext xmlns:c15="http://schemas.microsoft.com/office/drawing/2012/chart" uri="{CE6537A1-D6FC-4f65-9D91-7224C49458BB}">
                  <c15:layout>
                    <c:manualLayout>
                      <c:w val="0.23215461361410195"/>
                      <c:h val="0.11314366152046645"/>
                    </c:manualLayout>
                  </c15:layout>
                  <c15:showDataLabelsRange val="0"/>
                </c:ext>
                <c:ext xmlns:c16="http://schemas.microsoft.com/office/drawing/2014/chart" uri="{C3380CC4-5D6E-409C-BE32-E72D297353CC}">
                  <c16:uniqueId val="{00000005-848F-432E-9B44-F40E8BC4318D}"/>
                </c:ext>
              </c:extLst>
            </c:dLbl>
            <c:dLbl>
              <c:idx val="3"/>
              <c:layout>
                <c:manualLayout>
                  <c:x val="1.7164279958721499E-2"/>
                  <c:y val="-0.23662633980702324"/>
                </c:manualLayout>
              </c:layout>
              <c:tx>
                <c:rich>
                  <a:bodyPr rot="0" spcFirstLastPara="1" vertOverflow="ellipsis" vert="horz" wrap="square" lIns="38100" tIns="19050" rIns="38100" bIns="19050" anchor="ctr" anchorCtr="1">
                    <a:noAutofit/>
                  </a:bodyPr>
                  <a:lstStyle/>
                  <a:p>
                    <a:pPr>
                      <a:defRPr sz="1800" b="1" i="0" u="none" strike="noStrike" kern="1200" baseline="0">
                        <a:solidFill>
                          <a:schemeClr val="lt1"/>
                        </a:solidFill>
                        <a:latin typeface="+mn-lt"/>
                        <a:ea typeface="+mn-ea"/>
                        <a:cs typeface="+mn-cs"/>
                      </a:defRPr>
                    </a:pPr>
                    <a:r>
                      <a:rPr lang="en-US" sz="1800" dirty="0"/>
                      <a:t>College of Humanities and Arts</a:t>
                    </a:r>
                  </a:p>
                </c:rich>
              </c:tx>
              <c:spPr>
                <a:noFill/>
                <a:ln>
                  <a:noFill/>
                </a:ln>
                <a:effectLst/>
              </c:spPr>
              <c:dLblPos val="bestFit"/>
              <c:showLegendKey val="0"/>
              <c:showVal val="0"/>
              <c:showCatName val="1"/>
              <c:showSerName val="0"/>
              <c:showPercent val="1"/>
              <c:showBubbleSize val="0"/>
              <c:extLst>
                <c:ext xmlns:c15="http://schemas.microsoft.com/office/drawing/2012/chart" uri="{CE6537A1-D6FC-4f65-9D91-7224C49458BB}">
                  <c15:layout>
                    <c:manualLayout>
                      <c:w val="0.29998392282958197"/>
                      <c:h val="0.11272349272349272"/>
                    </c:manualLayout>
                  </c15:layout>
                  <c15:showDataLabelsRange val="0"/>
                </c:ext>
                <c:ext xmlns:c16="http://schemas.microsoft.com/office/drawing/2014/chart" uri="{C3380CC4-5D6E-409C-BE32-E72D297353CC}">
                  <c16:uniqueId val="{00000007-848F-432E-9B44-F40E8BC4318D}"/>
                </c:ext>
              </c:extLst>
            </c:dLbl>
            <c:dLbl>
              <c:idx val="4"/>
              <c:layout>
                <c:manualLayout>
                  <c:x val="0.18085016751721114"/>
                  <c:y val="-0.22864607386240923"/>
                </c:manualLayout>
              </c:layout>
              <c:tx>
                <c:rich>
                  <a:bodyPr rot="0" spcFirstLastPara="1" vertOverflow="ellipsis" vert="horz" wrap="square" lIns="38100" tIns="19050" rIns="38100" bIns="19050" anchor="ctr" anchorCtr="1">
                    <a:noAutofit/>
                  </a:bodyPr>
                  <a:lstStyle/>
                  <a:p>
                    <a:pPr>
                      <a:defRPr sz="1800" b="1" i="0" u="none" strike="noStrike" kern="1200" baseline="0">
                        <a:solidFill>
                          <a:schemeClr val="lt1"/>
                        </a:solidFill>
                        <a:latin typeface="+mn-lt"/>
                        <a:ea typeface="+mn-ea"/>
                        <a:cs typeface="+mn-cs"/>
                      </a:defRPr>
                    </a:pPr>
                    <a:r>
                      <a:rPr lang="en-US" sz="1800" dirty="0"/>
                      <a:t>College of Science and Engineering</a:t>
                    </a:r>
                  </a:p>
                </c:rich>
              </c:tx>
              <c:spPr>
                <a:noFill/>
                <a:ln>
                  <a:noFill/>
                </a:ln>
                <a:effectLst/>
              </c:spPr>
              <c:dLblPos val="bestFit"/>
              <c:showLegendKey val="0"/>
              <c:showVal val="0"/>
              <c:showCatName val="1"/>
              <c:showSerName val="0"/>
              <c:showPercent val="1"/>
              <c:showBubbleSize val="0"/>
              <c:extLst>
                <c:ext xmlns:c15="http://schemas.microsoft.com/office/drawing/2012/chart" uri="{CE6537A1-D6FC-4f65-9D91-7224C49458BB}">
                  <c15:layout>
                    <c:manualLayout>
                      <c:w val="0.27379421221864952"/>
                      <c:h val="0.12103950103950104"/>
                    </c:manualLayout>
                  </c15:layout>
                  <c15:showDataLabelsRange val="0"/>
                </c:ext>
                <c:ext xmlns:c16="http://schemas.microsoft.com/office/drawing/2014/chart" uri="{C3380CC4-5D6E-409C-BE32-E72D297353CC}">
                  <c16:uniqueId val="{00000009-848F-432E-9B44-F40E8BC4318D}"/>
                </c:ext>
              </c:extLst>
            </c:dLbl>
            <c:dLbl>
              <c:idx val="5"/>
              <c:layout>
                <c:manualLayout>
                  <c:x val="0.15693668273512487"/>
                  <c:y val="3.6164934765157253E-2"/>
                </c:manualLayout>
              </c:layout>
              <c:tx>
                <c:rich>
                  <a:bodyPr rot="0" spcFirstLastPara="1" vertOverflow="ellipsis" vert="horz" wrap="square" lIns="38100" tIns="19050" rIns="38100" bIns="19050" anchor="ctr" anchorCtr="1">
                    <a:noAutofit/>
                  </a:bodyPr>
                  <a:lstStyle/>
                  <a:p>
                    <a:pPr>
                      <a:defRPr sz="1800" b="1" i="0" u="none" strike="noStrike" kern="1200" baseline="0">
                        <a:solidFill>
                          <a:schemeClr val="lt1"/>
                        </a:solidFill>
                        <a:latin typeface="+mn-lt"/>
                        <a:ea typeface="+mn-ea"/>
                        <a:cs typeface="+mn-cs"/>
                      </a:defRPr>
                    </a:pPr>
                    <a:r>
                      <a:rPr lang="en-US" altLang="zh-TW" sz="1800" dirty="0"/>
                      <a:t>College of Teachers</a:t>
                    </a:r>
                  </a:p>
                </c:rich>
              </c:tx>
              <c:spPr>
                <a:noFill/>
                <a:ln>
                  <a:noFill/>
                </a:ln>
                <a:effectLst/>
              </c:spPr>
              <c:dLblPos val="bestFit"/>
              <c:showLegendKey val="0"/>
              <c:showVal val="0"/>
              <c:showCatName val="1"/>
              <c:showSerName val="0"/>
              <c:showPercent val="1"/>
              <c:showBubbleSize val="0"/>
              <c:extLst>
                <c:ext xmlns:c15="http://schemas.microsoft.com/office/drawing/2012/chart" uri="{CE6537A1-D6FC-4f65-9D91-7224C49458BB}">
                  <c15:layout>
                    <c:manualLayout>
                      <c:w val="0.21971063717764044"/>
                      <c:h val="0.13151151767737862"/>
                    </c:manualLayout>
                  </c15:layout>
                  <c15:showDataLabelsRange val="0"/>
                </c:ext>
                <c:ext xmlns:c16="http://schemas.microsoft.com/office/drawing/2014/chart" uri="{C3380CC4-5D6E-409C-BE32-E72D297353CC}">
                  <c16:uniqueId val="{0000000B-848F-432E-9B44-F40E8BC4318D}"/>
                </c:ext>
              </c:extLst>
            </c:dLbl>
            <c:dLbl>
              <c:idx val="6"/>
              <c:layout>
                <c:manualLayout>
                  <c:x val="0.12299286108087476"/>
                  <c:y val="0.16551570829481577"/>
                </c:manualLayout>
              </c:layout>
              <c:tx>
                <c:rich>
                  <a:bodyPr/>
                  <a:lstStyle/>
                  <a:p>
                    <a:r>
                      <a:rPr lang="en-US" altLang="zh-TW"/>
                      <a:t>College</a:t>
                    </a:r>
                    <a:r>
                      <a:rPr lang="en-US" altLang="zh-TW" baseline="0"/>
                      <a:t> of </a:t>
                    </a:r>
                    <a:r>
                      <a:rPr lang="en-US" altLang="zh-TW" sz="1800" b="1" i="0" u="none" strike="noStrike" baseline="0">
                        <a:effectLst/>
                      </a:rPr>
                      <a:t>Veterinary Medicine</a:t>
                    </a:r>
                    <a:endParaRPr lang="en-US" altLang="zh-TW" dirty="0"/>
                  </a:p>
                </c:rich>
              </c:tx>
              <c:dLblPos val="bestFit"/>
              <c:showLegendKey val="0"/>
              <c:showVal val="0"/>
              <c:showCatName val="1"/>
              <c:showSerName val="0"/>
              <c:showPercent val="1"/>
              <c:showBubbleSize val="0"/>
              <c:extLst>
                <c:ext xmlns:c15="http://schemas.microsoft.com/office/drawing/2012/chart" uri="{CE6537A1-D6FC-4f65-9D91-7224C49458BB}">
                  <c15:showDataLabelsRange val="0"/>
                </c:ext>
                <c:ext xmlns:c16="http://schemas.microsoft.com/office/drawing/2014/chart" uri="{C3380CC4-5D6E-409C-BE32-E72D297353CC}">
                  <c16:uniqueId val="{0000000C-848F-432E-9B44-F40E8BC4318D}"/>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lt1"/>
                    </a:solidFill>
                    <a:latin typeface="+mn-lt"/>
                    <a:ea typeface="+mn-ea"/>
                    <a:cs typeface="+mn-cs"/>
                  </a:defRPr>
                </a:pPr>
                <a:endParaRPr lang="zh-TW"/>
              </a:p>
            </c:txPr>
            <c:dLblPos val="inEnd"/>
            <c:showLegendKey val="0"/>
            <c:showVal val="0"/>
            <c:showCatName val="1"/>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8</c:f>
              <c:strCache>
                <c:ptCount val="7"/>
                <c:pt idx="0">
                  <c:v>1st Qtr</c:v>
                </c:pt>
                <c:pt idx="1">
                  <c:v>2nd Qtr</c:v>
                </c:pt>
                <c:pt idx="2">
                  <c:v>3rd Qtr</c:v>
                </c:pt>
                <c:pt idx="3">
                  <c:v>4th Qtr</c:v>
                </c:pt>
                <c:pt idx="4">
                  <c:v>5</c:v>
                </c:pt>
                <c:pt idx="5">
                  <c:v>6</c:v>
                </c:pt>
                <c:pt idx="6">
                  <c:v>7</c:v>
                </c:pt>
              </c:strCache>
            </c:strRef>
          </c:cat>
          <c:val>
            <c:numRef>
              <c:f>Sheet1!$B$2:$B$8</c:f>
              <c:numCache>
                <c:formatCode>General</c:formatCode>
                <c:ptCount val="7"/>
                <c:pt idx="0">
                  <c:v>60</c:v>
                </c:pt>
                <c:pt idx="1">
                  <c:v>60</c:v>
                </c:pt>
                <c:pt idx="2">
                  <c:v>60</c:v>
                </c:pt>
                <c:pt idx="3">
                  <c:v>60</c:v>
                </c:pt>
                <c:pt idx="4">
                  <c:v>60</c:v>
                </c:pt>
                <c:pt idx="5">
                  <c:v>60</c:v>
                </c:pt>
                <c:pt idx="6">
                  <c:v>60</c:v>
                </c:pt>
              </c:numCache>
            </c:numRef>
          </c:val>
          <c:extLst>
            <c:ext xmlns:c16="http://schemas.microsoft.com/office/drawing/2014/chart" uri="{C3380CC4-5D6E-409C-BE32-E72D297353CC}">
              <c16:uniqueId val="{0000000D-848F-432E-9B44-F40E8BC4318D}"/>
            </c:ext>
          </c:extLst>
        </c:ser>
        <c:dLbls>
          <c:showLegendKey val="0"/>
          <c:showVal val="0"/>
          <c:showCatName val="0"/>
          <c:showSerName val="0"/>
          <c:showPercent val="1"/>
          <c:showBubbleSize val="0"/>
          <c:showLeaderLines val="1"/>
        </c:dLbls>
      </c:pie3DChart>
      <c:spPr>
        <a:noFill/>
        <a:ln>
          <a:noFill/>
        </a:ln>
        <a:effectLst/>
      </c:spPr>
    </c:plotArea>
    <c:plotVisOnly val="1"/>
    <c:dispBlanksAs val="zero"/>
    <c:showDLblsOverMax val="0"/>
  </c:chart>
  <c:spPr>
    <a:noFill/>
    <a:ln w="9525" cap="flat" cmpd="sng" algn="ctr">
      <a:noFill/>
      <a:round/>
    </a:ln>
    <a:effectLst/>
  </c:spPr>
  <c:txPr>
    <a:bodyPr/>
    <a:lstStyle/>
    <a:p>
      <a:pPr>
        <a:defRPr/>
      </a:pPr>
      <a:endParaRPr lang="zh-TW"/>
    </a:p>
  </c:txPr>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image" Target="../media/image42.jpeg"/><Relationship Id="rId4" Type="http://schemas.openxmlformats.org/officeDocument/2006/relationships/image" Target="../media/image45.jpg"/></Relationships>
</file>

<file path=ppt/diagrams/_rels/data3.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52.jpg"/><Relationship Id="rId1" Type="http://schemas.openxmlformats.org/officeDocument/2006/relationships/image" Target="../media/image51.jpg"/><Relationship Id="rId5" Type="http://schemas.openxmlformats.org/officeDocument/2006/relationships/image" Target="../media/image55.jpg"/><Relationship Id="rId4" Type="http://schemas.openxmlformats.org/officeDocument/2006/relationships/image" Target="../media/image54.jpg"/></Relationships>
</file>

<file path=ppt/diagrams/_rels/data6.xml.rels><?xml version="1.0" encoding="UTF-8" standalone="yes"?>
<Relationships xmlns="http://schemas.openxmlformats.org/package/2006/relationships"><Relationship Id="rId8" Type="http://schemas.openxmlformats.org/officeDocument/2006/relationships/image" Target="../media/image80.jpg"/><Relationship Id="rId3" Type="http://schemas.openxmlformats.org/officeDocument/2006/relationships/image" Target="../media/image75.jpeg"/><Relationship Id="rId7" Type="http://schemas.openxmlformats.org/officeDocument/2006/relationships/image" Target="../media/image79.jpeg"/><Relationship Id="rId2" Type="http://schemas.openxmlformats.org/officeDocument/2006/relationships/image" Target="../media/image74.png"/><Relationship Id="rId1" Type="http://schemas.openxmlformats.org/officeDocument/2006/relationships/image" Target="../media/image73.jpg"/><Relationship Id="rId6" Type="http://schemas.openxmlformats.org/officeDocument/2006/relationships/image" Target="../media/image78.jpg"/><Relationship Id="rId5" Type="http://schemas.openxmlformats.org/officeDocument/2006/relationships/image" Target="../media/image77.jpeg"/><Relationship Id="rId4" Type="http://schemas.openxmlformats.org/officeDocument/2006/relationships/image" Target="../media/image76.jpg"/></Relationships>
</file>

<file path=ppt/diagrams/_rels/drawing1.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image" Target="../media/image43.jpeg"/><Relationship Id="rId1" Type="http://schemas.openxmlformats.org/officeDocument/2006/relationships/image" Target="../media/image42.jpeg"/><Relationship Id="rId4" Type="http://schemas.openxmlformats.org/officeDocument/2006/relationships/image" Target="../media/image45.jpg"/></Relationships>
</file>

<file path=ppt/diagrams/_rels/drawing3.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image" Target="../media/image52.jpg"/><Relationship Id="rId1" Type="http://schemas.openxmlformats.org/officeDocument/2006/relationships/image" Target="../media/image51.jpg"/><Relationship Id="rId5" Type="http://schemas.openxmlformats.org/officeDocument/2006/relationships/image" Target="../media/image55.jpg"/><Relationship Id="rId4" Type="http://schemas.openxmlformats.org/officeDocument/2006/relationships/image" Target="../media/image54.jpg"/></Relationships>
</file>

<file path=ppt/diagrams/_rels/drawing6.xml.rels><?xml version="1.0" encoding="UTF-8" standalone="yes"?>
<Relationships xmlns="http://schemas.openxmlformats.org/package/2006/relationships"><Relationship Id="rId8" Type="http://schemas.openxmlformats.org/officeDocument/2006/relationships/image" Target="../media/image80.jpg"/><Relationship Id="rId3" Type="http://schemas.openxmlformats.org/officeDocument/2006/relationships/image" Target="../media/image75.jpeg"/><Relationship Id="rId7" Type="http://schemas.openxmlformats.org/officeDocument/2006/relationships/image" Target="../media/image79.jpeg"/><Relationship Id="rId2" Type="http://schemas.openxmlformats.org/officeDocument/2006/relationships/image" Target="../media/image74.png"/><Relationship Id="rId1" Type="http://schemas.openxmlformats.org/officeDocument/2006/relationships/image" Target="../media/image73.jpg"/><Relationship Id="rId6" Type="http://schemas.openxmlformats.org/officeDocument/2006/relationships/image" Target="../media/image78.jpg"/><Relationship Id="rId5" Type="http://schemas.openxmlformats.org/officeDocument/2006/relationships/image" Target="../media/image77.jpeg"/><Relationship Id="rId4" Type="http://schemas.openxmlformats.org/officeDocument/2006/relationships/image" Target="../media/image76.jpg"/></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34CEAE-9C18-44D5-BE2F-42AE0D1EA71B}" type="doc">
      <dgm:prSet loTypeId="urn:microsoft.com/office/officeart/2008/layout/PictureStrips" loCatId="list" qsTypeId="urn:microsoft.com/office/officeart/2005/8/quickstyle/simple5" qsCatId="simple" csTypeId="urn:microsoft.com/office/officeart/2005/8/colors/colorful4" csCatId="colorful" phldr="1"/>
      <dgm:spPr/>
    </dgm:pt>
    <dgm:pt modelId="{ADAE8BD6-0150-47E3-9809-F84CDB7A2849}">
      <dgm:prSet phldrT="[文字]" custT="1"/>
      <dgm:spPr>
        <a:solidFill>
          <a:schemeClr val="accent4">
            <a:lumMod val="60000"/>
            <a:lumOff val="40000"/>
            <a:alpha val="80000"/>
          </a:schemeClr>
        </a:solidFill>
      </dgm:spPr>
      <dgm:t>
        <a:bodyPr/>
        <a:lstStyle/>
        <a:p>
          <a:pPr algn="l"/>
          <a:r>
            <a:rPr lang="en-US" altLang="zh-TW" sz="2000" b="1" dirty="0"/>
            <a:t> Min-</a:t>
          </a:r>
          <a:r>
            <a:rPr lang="en-US" altLang="zh-TW" sz="2000" b="1" dirty="0" err="1"/>
            <a:t>Hsiung</a:t>
          </a:r>
          <a:r>
            <a:rPr lang="en-US" altLang="zh-TW" sz="2000" b="1" dirty="0"/>
            <a:t> Campus</a:t>
          </a:r>
        </a:p>
        <a:p>
          <a:pPr algn="l"/>
          <a:r>
            <a:rPr lang="en-US" altLang="zh-TW" sz="1400" b="0" dirty="0">
              <a:latin typeface="Verdana" panose="020B0604030504040204" pitchFamily="34" charset="0"/>
              <a:ea typeface="新細明體" panose="02020500000000000000" pitchFamily="18" charset="-120"/>
            </a:rPr>
            <a:t> </a:t>
          </a:r>
          <a:r>
            <a:rPr lang="en-US" altLang="zh-TW" sz="1200" b="0" dirty="0">
              <a:latin typeface="Verdana" panose="020B0604030504040204" pitchFamily="34" charset="0"/>
              <a:ea typeface="新細明體" panose="02020500000000000000" pitchFamily="18" charset="-120"/>
            </a:rPr>
            <a:t>- Teachers College</a:t>
          </a:r>
        </a:p>
        <a:p>
          <a:pPr algn="l"/>
          <a:r>
            <a:rPr lang="en-US" altLang="zh-TW" sz="1200" b="0" dirty="0">
              <a:latin typeface="Verdana" panose="020B0604030504040204" pitchFamily="34" charset="0"/>
              <a:ea typeface="新細明體" panose="02020500000000000000" pitchFamily="18" charset="-120"/>
            </a:rPr>
            <a:t> - College of Humanities and Arts</a:t>
          </a:r>
          <a:endParaRPr lang="zh-TW" altLang="en-US" sz="1200" b="1" dirty="0"/>
        </a:p>
      </dgm:t>
    </dgm:pt>
    <dgm:pt modelId="{FDCB65A2-B7A1-4324-BBED-BCFB31C62738}" type="parTrans" cxnId="{59F4DC8C-F26E-497A-9A41-37320DEFCD96}">
      <dgm:prSet/>
      <dgm:spPr/>
      <dgm:t>
        <a:bodyPr/>
        <a:lstStyle/>
        <a:p>
          <a:endParaRPr lang="zh-TW" altLang="en-US"/>
        </a:p>
      </dgm:t>
    </dgm:pt>
    <dgm:pt modelId="{D5954C76-771A-4F6F-B742-CB7981F080BE}" type="sibTrans" cxnId="{59F4DC8C-F26E-497A-9A41-37320DEFCD96}">
      <dgm:prSet/>
      <dgm:spPr/>
      <dgm:t>
        <a:bodyPr/>
        <a:lstStyle/>
        <a:p>
          <a:endParaRPr lang="zh-TW" altLang="en-US"/>
        </a:p>
      </dgm:t>
    </dgm:pt>
    <dgm:pt modelId="{D0395A15-625E-42A3-AD1F-5FBFE0BCE145}">
      <dgm:prSet phldrT="[文字]" custT="1"/>
      <dgm:spPr>
        <a:solidFill>
          <a:srgbClr val="7030A0">
            <a:alpha val="40000"/>
          </a:srgbClr>
        </a:solidFill>
      </dgm:spPr>
      <dgm:t>
        <a:bodyPr/>
        <a:lstStyle/>
        <a:p>
          <a:pPr algn="l"/>
          <a:r>
            <a:rPr lang="en-US" altLang="zh-TW" sz="2000" b="1" dirty="0" err="1"/>
            <a:t>Hsinming</a:t>
          </a:r>
          <a:r>
            <a:rPr lang="en-US" altLang="zh-TW" sz="2000" b="1" dirty="0"/>
            <a:t> Campus</a:t>
          </a:r>
        </a:p>
        <a:p>
          <a:pPr algn="l"/>
          <a:r>
            <a:rPr lang="en-US" altLang="zh-TW" sz="1400" dirty="0"/>
            <a:t>- College of Management</a:t>
          </a:r>
          <a:endParaRPr lang="zh-TW" altLang="en-US" sz="1400" dirty="0"/>
        </a:p>
      </dgm:t>
    </dgm:pt>
    <dgm:pt modelId="{40FF8509-6C39-403F-8A08-575D52D077CC}" type="parTrans" cxnId="{F822A741-202D-41BF-BF36-8A1C52A691EA}">
      <dgm:prSet/>
      <dgm:spPr/>
      <dgm:t>
        <a:bodyPr/>
        <a:lstStyle/>
        <a:p>
          <a:endParaRPr lang="zh-TW" altLang="en-US"/>
        </a:p>
      </dgm:t>
    </dgm:pt>
    <dgm:pt modelId="{791078F7-3F0C-4AAA-9F58-DFFE1F1365F7}" type="sibTrans" cxnId="{F822A741-202D-41BF-BF36-8A1C52A691EA}">
      <dgm:prSet/>
      <dgm:spPr/>
      <dgm:t>
        <a:bodyPr/>
        <a:lstStyle/>
        <a:p>
          <a:endParaRPr lang="zh-TW" altLang="en-US"/>
        </a:p>
      </dgm:t>
    </dgm:pt>
    <dgm:pt modelId="{AC3DDC69-B953-434C-BEF9-E19F4F85B678}">
      <dgm:prSet phldrT="[文字]" custT="1"/>
      <dgm:spPr>
        <a:solidFill>
          <a:srgbClr val="F40202">
            <a:alpha val="40000"/>
          </a:srgbClr>
        </a:solidFill>
      </dgm:spPr>
      <dgm:t>
        <a:bodyPr/>
        <a:lstStyle/>
        <a:p>
          <a:pPr algn="l"/>
          <a:r>
            <a:rPr lang="en-US" altLang="zh-TW" sz="2000" b="1" dirty="0"/>
            <a:t> </a:t>
          </a:r>
          <a:r>
            <a:rPr lang="en-US" altLang="zh-TW" sz="2000" b="1" dirty="0" err="1"/>
            <a:t>Lantan</a:t>
          </a:r>
          <a:r>
            <a:rPr lang="en-US" altLang="zh-TW" sz="2000" b="1" dirty="0"/>
            <a:t> Campus</a:t>
          </a:r>
        </a:p>
        <a:p>
          <a:pPr algn="l"/>
          <a:r>
            <a:rPr lang="en-US" altLang="zh-TW" sz="1400" dirty="0"/>
            <a:t> - College  of Science and Engineering</a:t>
          </a:r>
        </a:p>
        <a:p>
          <a:pPr algn="l"/>
          <a:r>
            <a:rPr lang="en-US" altLang="zh-TW" sz="1400" dirty="0"/>
            <a:t> - College of Agriculture</a:t>
          </a:r>
        </a:p>
        <a:p>
          <a:pPr algn="l"/>
          <a:r>
            <a:rPr lang="en-US" altLang="zh-TW" sz="1400" dirty="0"/>
            <a:t> - College of Life Sciences</a:t>
          </a:r>
          <a:endParaRPr lang="zh-TW" altLang="en-US" sz="1400" dirty="0"/>
        </a:p>
      </dgm:t>
    </dgm:pt>
    <dgm:pt modelId="{A4853CE4-E898-429D-8750-C9A735E634F2}" type="parTrans" cxnId="{D75133DC-8DDA-4755-8297-1D803AE094F7}">
      <dgm:prSet/>
      <dgm:spPr/>
      <dgm:t>
        <a:bodyPr/>
        <a:lstStyle/>
        <a:p>
          <a:endParaRPr lang="zh-TW" altLang="en-US"/>
        </a:p>
      </dgm:t>
    </dgm:pt>
    <dgm:pt modelId="{28B4A26B-1CC3-4A96-9694-D6875DACF2A2}" type="sibTrans" cxnId="{D75133DC-8DDA-4755-8297-1D803AE094F7}">
      <dgm:prSet/>
      <dgm:spPr/>
      <dgm:t>
        <a:bodyPr/>
        <a:lstStyle/>
        <a:p>
          <a:endParaRPr lang="zh-TW" altLang="en-US"/>
        </a:p>
      </dgm:t>
    </dgm:pt>
    <dgm:pt modelId="{24E2265A-6B86-4448-B845-14A0EC9D6D8A}">
      <dgm:prSet custT="1"/>
      <dgm:spPr>
        <a:solidFill>
          <a:schemeClr val="accent3">
            <a:lumMod val="75000"/>
            <a:alpha val="40000"/>
          </a:schemeClr>
        </a:solidFill>
      </dgm:spPr>
      <dgm:t>
        <a:bodyPr/>
        <a:lstStyle/>
        <a:p>
          <a:pPr algn="l"/>
          <a:r>
            <a:rPr lang="en-US" altLang="zh-TW" sz="2000" b="1" dirty="0"/>
            <a:t> </a:t>
          </a:r>
          <a:r>
            <a:rPr lang="en-US" altLang="zh-TW" sz="2000" b="1" dirty="0" err="1"/>
            <a:t>Linsen</a:t>
          </a:r>
          <a:r>
            <a:rPr lang="en-US" altLang="zh-TW" sz="2000" b="1" dirty="0"/>
            <a:t> Campus</a:t>
          </a:r>
        </a:p>
        <a:p>
          <a:pPr algn="l"/>
          <a:r>
            <a:rPr lang="en-US" altLang="zh-TW" sz="1200" b="0" dirty="0">
              <a:latin typeface="Verdana" panose="020B0604030504040204" pitchFamily="34" charset="0"/>
              <a:ea typeface="新細明體" panose="02020500000000000000" pitchFamily="18" charset="-120"/>
            </a:rPr>
            <a:t> - Teachers College Division</a:t>
          </a:r>
          <a:endParaRPr lang="zh-TW" altLang="en-US" sz="1200" b="0" dirty="0">
            <a:latin typeface="Verdana" panose="020B0604030504040204" pitchFamily="34" charset="0"/>
            <a:ea typeface="新細明體" panose="02020500000000000000" pitchFamily="18" charset="-120"/>
          </a:endParaRPr>
        </a:p>
      </dgm:t>
    </dgm:pt>
    <dgm:pt modelId="{AD173F60-4993-467C-87CD-1AFB2FB1AE2F}" type="parTrans" cxnId="{0505DB65-BE1C-4FE4-93F9-AFB5BAEC8C27}">
      <dgm:prSet/>
      <dgm:spPr/>
      <dgm:t>
        <a:bodyPr/>
        <a:lstStyle/>
        <a:p>
          <a:endParaRPr lang="zh-TW" altLang="en-US"/>
        </a:p>
      </dgm:t>
    </dgm:pt>
    <dgm:pt modelId="{5E1E00A7-9869-4BDA-B6C4-D4F9199DD5FE}" type="sibTrans" cxnId="{0505DB65-BE1C-4FE4-93F9-AFB5BAEC8C27}">
      <dgm:prSet/>
      <dgm:spPr/>
      <dgm:t>
        <a:bodyPr/>
        <a:lstStyle/>
        <a:p>
          <a:endParaRPr lang="zh-TW" altLang="en-US"/>
        </a:p>
      </dgm:t>
    </dgm:pt>
    <dgm:pt modelId="{C78E88FB-3AAC-4761-B0F7-086B119D9B26}" type="pres">
      <dgm:prSet presAssocID="{2434CEAE-9C18-44D5-BE2F-42AE0D1EA71B}" presName="Name0" presStyleCnt="0">
        <dgm:presLayoutVars>
          <dgm:dir/>
          <dgm:resizeHandles val="exact"/>
        </dgm:presLayoutVars>
      </dgm:prSet>
      <dgm:spPr/>
    </dgm:pt>
    <dgm:pt modelId="{4AEF2980-803F-49FC-B2EE-608F224A1A59}" type="pres">
      <dgm:prSet presAssocID="{ADAE8BD6-0150-47E3-9809-F84CDB7A2849}" presName="composite" presStyleCnt="0"/>
      <dgm:spPr/>
    </dgm:pt>
    <dgm:pt modelId="{89EC2C2B-EF19-4B84-BB1D-E46F99C29AFB}" type="pres">
      <dgm:prSet presAssocID="{ADAE8BD6-0150-47E3-9809-F84CDB7A2849}" presName="rect1" presStyleLbl="trAlignAcc1" presStyleIdx="0" presStyleCnt="4" custScaleX="105687">
        <dgm:presLayoutVars>
          <dgm:bulletEnabled val="1"/>
        </dgm:presLayoutVars>
      </dgm:prSet>
      <dgm:spPr/>
    </dgm:pt>
    <dgm:pt modelId="{B56677D0-30A4-4230-9BE0-80D9D17DD8E1}" type="pres">
      <dgm:prSet presAssocID="{ADAE8BD6-0150-47E3-9809-F84CDB7A2849}" presName="rect2" presStyleLbl="fgImgPlace1" presStyleIdx="0" presStyleCnt="4" custScaleX="90899" custScaleY="88308"/>
      <dgm:spPr>
        <a:blipFill>
          <a:blip xmlns:r="http://schemas.openxmlformats.org/officeDocument/2006/relationships" r:embed="rId1" cstate="print">
            <a:duotone>
              <a:schemeClr val="accent4">
                <a:hueOff val="0"/>
                <a:satOff val="0"/>
                <a:lumOff val="0"/>
                <a:alphaOff val="0"/>
                <a:shade val="20000"/>
                <a:satMod val="200000"/>
              </a:schemeClr>
              <a:schemeClr val="accent4">
                <a:hueOff val="0"/>
                <a:satOff val="0"/>
                <a:lumOff val="0"/>
                <a:alphaOff val="0"/>
                <a:tint val="12000"/>
                <a:satMod val="190000"/>
              </a:schemeClr>
            </a:duotone>
            <a:extLst>
              <a:ext uri="{28A0092B-C50C-407E-A947-70E740481C1C}">
                <a14:useLocalDpi xmlns:a14="http://schemas.microsoft.com/office/drawing/2010/main" val="0"/>
              </a:ext>
            </a:extLst>
          </a:blip>
          <a:srcRect/>
          <a:stretch>
            <a:fillRect l="-47000" r="-47000"/>
          </a:stretch>
        </a:blipFill>
      </dgm:spPr>
    </dgm:pt>
    <dgm:pt modelId="{09F45FBC-5D34-4AB1-B47D-0485D120F780}" type="pres">
      <dgm:prSet presAssocID="{D5954C76-771A-4F6F-B742-CB7981F080BE}" presName="sibTrans" presStyleCnt="0"/>
      <dgm:spPr/>
    </dgm:pt>
    <dgm:pt modelId="{0506B5EE-6EDF-47E0-8248-0726637A92DD}" type="pres">
      <dgm:prSet presAssocID="{24E2265A-6B86-4448-B845-14A0EC9D6D8A}" presName="composite" presStyleCnt="0"/>
      <dgm:spPr/>
    </dgm:pt>
    <dgm:pt modelId="{B17F3F61-BC15-4FE8-AFA9-8E72B07B71DF}" type="pres">
      <dgm:prSet presAssocID="{24E2265A-6B86-4448-B845-14A0EC9D6D8A}" presName="rect1" presStyleLbl="trAlignAcc1" presStyleIdx="1" presStyleCnt="4" custScaleX="104781">
        <dgm:presLayoutVars>
          <dgm:bulletEnabled val="1"/>
        </dgm:presLayoutVars>
      </dgm:prSet>
      <dgm:spPr/>
    </dgm:pt>
    <dgm:pt modelId="{50CAE262-AADE-4ADD-B734-00EBC693EFAE}" type="pres">
      <dgm:prSet presAssocID="{24E2265A-6B86-4448-B845-14A0EC9D6D8A}" presName="rect2" presStyleLbl="fgImgPlace1" presStyleIdx="1" presStyleCnt="4" custScaleX="94863" custScaleY="79120"/>
      <dgm:spPr>
        <a:blipFill>
          <a:blip xmlns:r="http://schemas.openxmlformats.org/officeDocument/2006/relationships" r:embed="rId2" cstate="print">
            <a:duotone>
              <a:schemeClr val="accent4">
                <a:hueOff val="3077474"/>
                <a:satOff val="-15063"/>
                <a:lumOff val="-1615"/>
                <a:alphaOff val="0"/>
                <a:shade val="20000"/>
                <a:satMod val="200000"/>
              </a:schemeClr>
              <a:schemeClr val="accent4">
                <a:hueOff val="3077474"/>
                <a:satOff val="-15063"/>
                <a:lumOff val="-1615"/>
                <a:alphaOff val="0"/>
                <a:tint val="12000"/>
                <a:satMod val="190000"/>
              </a:schemeClr>
            </a:duotone>
            <a:extLst>
              <a:ext uri="{28A0092B-C50C-407E-A947-70E740481C1C}">
                <a14:useLocalDpi xmlns:a14="http://schemas.microsoft.com/office/drawing/2010/main" val="0"/>
              </a:ext>
            </a:extLst>
          </a:blip>
          <a:srcRect/>
          <a:stretch>
            <a:fillRect l="-39000" r="-39000"/>
          </a:stretch>
        </a:blipFill>
      </dgm:spPr>
    </dgm:pt>
    <dgm:pt modelId="{04716D99-327D-405F-938B-FA9D4392B4FA}" type="pres">
      <dgm:prSet presAssocID="{5E1E00A7-9869-4BDA-B6C4-D4F9199DD5FE}" presName="sibTrans" presStyleCnt="0"/>
      <dgm:spPr/>
    </dgm:pt>
    <dgm:pt modelId="{49BA6080-3E21-485B-A7E3-E54183958019}" type="pres">
      <dgm:prSet presAssocID="{D0395A15-625E-42A3-AD1F-5FBFE0BCE145}" presName="composite" presStyleCnt="0"/>
      <dgm:spPr/>
    </dgm:pt>
    <dgm:pt modelId="{61449199-432B-482B-8C64-7B636D22535B}" type="pres">
      <dgm:prSet presAssocID="{D0395A15-625E-42A3-AD1F-5FBFE0BCE145}" presName="rect1" presStyleLbl="trAlignAcc1" presStyleIdx="2" presStyleCnt="4" custScaleX="99659" custLinFactNeighborX="1425" custLinFactNeighborY="37">
        <dgm:presLayoutVars>
          <dgm:bulletEnabled val="1"/>
        </dgm:presLayoutVars>
      </dgm:prSet>
      <dgm:spPr/>
    </dgm:pt>
    <dgm:pt modelId="{95D2CB8D-FA11-43DB-A186-C58CDCDBA127}" type="pres">
      <dgm:prSet presAssocID="{D0395A15-625E-42A3-AD1F-5FBFE0BCE145}" presName="rect2" presStyleLbl="fgImgPlace1" presStyleIdx="2" presStyleCnt="4" custScaleX="97727" custScaleY="87407"/>
      <dgm:spPr>
        <a:blipFill>
          <a:blip xmlns:r="http://schemas.openxmlformats.org/officeDocument/2006/relationships" r:embed="rId3" cstate="print">
            <a:duotone>
              <a:schemeClr val="accent4">
                <a:hueOff val="6154948"/>
                <a:satOff val="-30125"/>
                <a:lumOff val="-3231"/>
                <a:alphaOff val="0"/>
                <a:shade val="20000"/>
                <a:satMod val="200000"/>
              </a:schemeClr>
              <a:schemeClr val="accent4">
                <a:hueOff val="6154948"/>
                <a:satOff val="-30125"/>
                <a:lumOff val="-3231"/>
                <a:alphaOff val="0"/>
                <a:tint val="12000"/>
                <a:satMod val="190000"/>
              </a:schemeClr>
            </a:duotone>
            <a:extLst>
              <a:ext uri="{28A0092B-C50C-407E-A947-70E740481C1C}">
                <a14:useLocalDpi xmlns:a14="http://schemas.microsoft.com/office/drawing/2010/main" val="0"/>
              </a:ext>
            </a:extLst>
          </a:blip>
          <a:srcRect/>
          <a:stretch>
            <a:fillRect l="-39000" r="-39000"/>
          </a:stretch>
        </a:blipFill>
      </dgm:spPr>
    </dgm:pt>
    <dgm:pt modelId="{6A0E8F62-1AAC-4AB2-BCFD-088EBAE7D142}" type="pres">
      <dgm:prSet presAssocID="{791078F7-3F0C-4AAA-9F58-DFFE1F1365F7}" presName="sibTrans" presStyleCnt="0"/>
      <dgm:spPr/>
    </dgm:pt>
    <dgm:pt modelId="{CC2593F7-D989-413A-A4F3-4D61F7F38595}" type="pres">
      <dgm:prSet presAssocID="{AC3DDC69-B953-434C-BEF9-E19F4F85B678}" presName="composite" presStyleCnt="0"/>
      <dgm:spPr/>
    </dgm:pt>
    <dgm:pt modelId="{B77F5EAA-C162-4581-8AAC-E66D8C88B32C}" type="pres">
      <dgm:prSet presAssocID="{AC3DDC69-B953-434C-BEF9-E19F4F85B678}" presName="rect1" presStyleLbl="trAlignAcc1" presStyleIdx="3" presStyleCnt="4" custScaleX="104453">
        <dgm:presLayoutVars>
          <dgm:bulletEnabled val="1"/>
        </dgm:presLayoutVars>
      </dgm:prSet>
      <dgm:spPr/>
    </dgm:pt>
    <dgm:pt modelId="{E9D01D7D-6F8F-48E1-B29E-0530F14C8138}" type="pres">
      <dgm:prSet presAssocID="{AC3DDC69-B953-434C-BEF9-E19F4F85B678}" presName="rect2" presStyleLbl="fgImgPlace1" presStyleIdx="3" presStyleCnt="4" custScaleX="99456" custScaleY="85281"/>
      <dgm:spPr>
        <a:blipFill>
          <a:blip xmlns:r="http://schemas.openxmlformats.org/officeDocument/2006/relationships" r:embed="rId4">
            <a:duotone>
              <a:schemeClr val="accent4">
                <a:hueOff val="9232422"/>
                <a:satOff val="-45188"/>
                <a:lumOff val="-4846"/>
                <a:alphaOff val="0"/>
                <a:shade val="20000"/>
                <a:satMod val="200000"/>
              </a:schemeClr>
              <a:schemeClr val="accent4">
                <a:hueOff val="9232422"/>
                <a:satOff val="-45188"/>
                <a:lumOff val="-4846"/>
                <a:alphaOff val="0"/>
                <a:tint val="12000"/>
                <a:satMod val="190000"/>
              </a:schemeClr>
            </a:duotone>
            <a:extLst>
              <a:ext uri="{28A0092B-C50C-407E-A947-70E740481C1C}">
                <a14:useLocalDpi xmlns:a14="http://schemas.microsoft.com/office/drawing/2010/main" val="0"/>
              </a:ext>
            </a:extLst>
          </a:blip>
          <a:srcRect/>
          <a:stretch>
            <a:fillRect l="-46000" r="-46000"/>
          </a:stretch>
        </a:blipFill>
      </dgm:spPr>
    </dgm:pt>
  </dgm:ptLst>
  <dgm:cxnLst>
    <dgm:cxn modelId="{F822A741-202D-41BF-BF36-8A1C52A691EA}" srcId="{2434CEAE-9C18-44D5-BE2F-42AE0D1EA71B}" destId="{D0395A15-625E-42A3-AD1F-5FBFE0BCE145}" srcOrd="2" destOrd="0" parTransId="{40FF8509-6C39-403F-8A08-575D52D077CC}" sibTransId="{791078F7-3F0C-4AAA-9F58-DFFE1F1365F7}"/>
    <dgm:cxn modelId="{0505DB65-BE1C-4FE4-93F9-AFB5BAEC8C27}" srcId="{2434CEAE-9C18-44D5-BE2F-42AE0D1EA71B}" destId="{24E2265A-6B86-4448-B845-14A0EC9D6D8A}" srcOrd="1" destOrd="0" parTransId="{AD173F60-4993-467C-87CD-1AFB2FB1AE2F}" sibTransId="{5E1E00A7-9869-4BDA-B6C4-D4F9199DD5FE}"/>
    <dgm:cxn modelId="{C51A2958-7915-4F38-BDE4-346DD18D0F9B}" type="presOf" srcId="{ADAE8BD6-0150-47E3-9809-F84CDB7A2849}" destId="{89EC2C2B-EF19-4B84-BB1D-E46F99C29AFB}" srcOrd="0" destOrd="0" presId="urn:microsoft.com/office/officeart/2008/layout/PictureStrips"/>
    <dgm:cxn modelId="{0D6D6080-10FB-4B79-B087-A8A9A80E26B5}" type="presOf" srcId="{AC3DDC69-B953-434C-BEF9-E19F4F85B678}" destId="{B77F5EAA-C162-4581-8AAC-E66D8C88B32C}" srcOrd="0" destOrd="0" presId="urn:microsoft.com/office/officeart/2008/layout/PictureStrips"/>
    <dgm:cxn modelId="{11157989-D36F-49B9-B6C5-3C9FA0B86DCB}" type="presOf" srcId="{24E2265A-6B86-4448-B845-14A0EC9D6D8A}" destId="{B17F3F61-BC15-4FE8-AFA9-8E72B07B71DF}" srcOrd="0" destOrd="0" presId="urn:microsoft.com/office/officeart/2008/layout/PictureStrips"/>
    <dgm:cxn modelId="{59F4DC8C-F26E-497A-9A41-37320DEFCD96}" srcId="{2434CEAE-9C18-44D5-BE2F-42AE0D1EA71B}" destId="{ADAE8BD6-0150-47E3-9809-F84CDB7A2849}" srcOrd="0" destOrd="0" parTransId="{FDCB65A2-B7A1-4324-BBED-BCFB31C62738}" sibTransId="{D5954C76-771A-4F6F-B742-CB7981F080BE}"/>
    <dgm:cxn modelId="{E13DB3C3-B0EC-45B4-B723-64ED64CD1830}" type="presOf" srcId="{2434CEAE-9C18-44D5-BE2F-42AE0D1EA71B}" destId="{C78E88FB-3AAC-4761-B0F7-086B119D9B26}" srcOrd="0" destOrd="0" presId="urn:microsoft.com/office/officeart/2008/layout/PictureStrips"/>
    <dgm:cxn modelId="{4CB025D3-6E7A-4693-9305-8D1D7D3E8110}" type="presOf" srcId="{D0395A15-625E-42A3-AD1F-5FBFE0BCE145}" destId="{61449199-432B-482B-8C64-7B636D22535B}" srcOrd="0" destOrd="0" presId="urn:microsoft.com/office/officeart/2008/layout/PictureStrips"/>
    <dgm:cxn modelId="{D75133DC-8DDA-4755-8297-1D803AE094F7}" srcId="{2434CEAE-9C18-44D5-BE2F-42AE0D1EA71B}" destId="{AC3DDC69-B953-434C-BEF9-E19F4F85B678}" srcOrd="3" destOrd="0" parTransId="{A4853CE4-E898-429D-8750-C9A735E634F2}" sibTransId="{28B4A26B-1CC3-4A96-9694-D6875DACF2A2}"/>
    <dgm:cxn modelId="{4A18B2D1-32A4-4742-9276-62770215D3A8}" type="presParOf" srcId="{C78E88FB-3AAC-4761-B0F7-086B119D9B26}" destId="{4AEF2980-803F-49FC-B2EE-608F224A1A59}" srcOrd="0" destOrd="0" presId="urn:microsoft.com/office/officeart/2008/layout/PictureStrips"/>
    <dgm:cxn modelId="{16B3A386-08C9-4078-9C78-D41398919D33}" type="presParOf" srcId="{4AEF2980-803F-49FC-B2EE-608F224A1A59}" destId="{89EC2C2B-EF19-4B84-BB1D-E46F99C29AFB}" srcOrd="0" destOrd="0" presId="urn:microsoft.com/office/officeart/2008/layout/PictureStrips"/>
    <dgm:cxn modelId="{3E23D4F7-D9DB-4066-B0CC-A309E97AEB18}" type="presParOf" srcId="{4AEF2980-803F-49FC-B2EE-608F224A1A59}" destId="{B56677D0-30A4-4230-9BE0-80D9D17DD8E1}" srcOrd="1" destOrd="0" presId="urn:microsoft.com/office/officeart/2008/layout/PictureStrips"/>
    <dgm:cxn modelId="{904B5406-BB20-4E32-8392-9A9D48CD851A}" type="presParOf" srcId="{C78E88FB-3AAC-4761-B0F7-086B119D9B26}" destId="{09F45FBC-5D34-4AB1-B47D-0485D120F780}" srcOrd="1" destOrd="0" presId="urn:microsoft.com/office/officeart/2008/layout/PictureStrips"/>
    <dgm:cxn modelId="{2E930F1B-4D41-4EE2-8D28-A680B994DE10}" type="presParOf" srcId="{C78E88FB-3AAC-4761-B0F7-086B119D9B26}" destId="{0506B5EE-6EDF-47E0-8248-0726637A92DD}" srcOrd="2" destOrd="0" presId="urn:microsoft.com/office/officeart/2008/layout/PictureStrips"/>
    <dgm:cxn modelId="{4401BFB0-DB81-402F-890D-BBED878D0E17}" type="presParOf" srcId="{0506B5EE-6EDF-47E0-8248-0726637A92DD}" destId="{B17F3F61-BC15-4FE8-AFA9-8E72B07B71DF}" srcOrd="0" destOrd="0" presId="urn:microsoft.com/office/officeart/2008/layout/PictureStrips"/>
    <dgm:cxn modelId="{86EDC547-DE43-48D1-911A-C69C80C661CB}" type="presParOf" srcId="{0506B5EE-6EDF-47E0-8248-0726637A92DD}" destId="{50CAE262-AADE-4ADD-B734-00EBC693EFAE}" srcOrd="1" destOrd="0" presId="urn:microsoft.com/office/officeart/2008/layout/PictureStrips"/>
    <dgm:cxn modelId="{F46DEF00-E804-43B6-973E-4D193792626E}" type="presParOf" srcId="{C78E88FB-3AAC-4761-B0F7-086B119D9B26}" destId="{04716D99-327D-405F-938B-FA9D4392B4FA}" srcOrd="3" destOrd="0" presId="urn:microsoft.com/office/officeart/2008/layout/PictureStrips"/>
    <dgm:cxn modelId="{939B432D-2509-49FC-A3E8-3F814C13BAB1}" type="presParOf" srcId="{C78E88FB-3AAC-4761-B0F7-086B119D9B26}" destId="{49BA6080-3E21-485B-A7E3-E54183958019}" srcOrd="4" destOrd="0" presId="urn:microsoft.com/office/officeart/2008/layout/PictureStrips"/>
    <dgm:cxn modelId="{4742D1F1-5E09-4666-A3D3-1717EBABA001}" type="presParOf" srcId="{49BA6080-3E21-485B-A7E3-E54183958019}" destId="{61449199-432B-482B-8C64-7B636D22535B}" srcOrd="0" destOrd="0" presId="urn:microsoft.com/office/officeart/2008/layout/PictureStrips"/>
    <dgm:cxn modelId="{CBF865CF-EECC-4176-B792-E8A04951A78E}" type="presParOf" srcId="{49BA6080-3E21-485B-A7E3-E54183958019}" destId="{95D2CB8D-FA11-43DB-A186-C58CDCDBA127}" srcOrd="1" destOrd="0" presId="urn:microsoft.com/office/officeart/2008/layout/PictureStrips"/>
    <dgm:cxn modelId="{4FB58DCC-7602-405B-86A3-3D16623EC6DC}" type="presParOf" srcId="{C78E88FB-3AAC-4761-B0F7-086B119D9B26}" destId="{6A0E8F62-1AAC-4AB2-BCFD-088EBAE7D142}" srcOrd="5" destOrd="0" presId="urn:microsoft.com/office/officeart/2008/layout/PictureStrips"/>
    <dgm:cxn modelId="{1CDC0AEC-F93F-4FD6-A6F6-1AD16FFA3C00}" type="presParOf" srcId="{C78E88FB-3AAC-4761-B0F7-086B119D9B26}" destId="{CC2593F7-D989-413A-A4F3-4D61F7F38595}" srcOrd="6" destOrd="0" presId="urn:microsoft.com/office/officeart/2008/layout/PictureStrips"/>
    <dgm:cxn modelId="{7965065E-1D4A-4A13-9B1F-D477979A86B6}" type="presParOf" srcId="{CC2593F7-D989-413A-A4F3-4D61F7F38595}" destId="{B77F5EAA-C162-4581-8AAC-E66D8C88B32C}" srcOrd="0" destOrd="0" presId="urn:microsoft.com/office/officeart/2008/layout/PictureStrips"/>
    <dgm:cxn modelId="{B566A7D3-0F01-4E74-9F5C-8D61CE7EFEF3}" type="presParOf" srcId="{CC2593F7-D989-413A-A4F3-4D61F7F38595}" destId="{E9D01D7D-6F8F-48E1-B29E-0530F14C8138}" srcOrd="1" destOrd="0" presId="urn:microsoft.com/office/officeart/2008/layout/PictureStrips"/>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8D03C726-9B0F-41F3-9195-B0E9E1379623}" type="doc">
      <dgm:prSet loTypeId="urn:microsoft.com/office/officeart/2008/layout/VerticalCurvedList" loCatId="list" qsTypeId="urn:microsoft.com/office/officeart/2005/8/quickstyle/simple3" qsCatId="simple" csTypeId="urn:microsoft.com/office/officeart/2005/8/colors/colorful4" csCatId="colorful" phldr="1"/>
      <dgm:spPr/>
      <dgm:t>
        <a:bodyPr/>
        <a:lstStyle/>
        <a:p>
          <a:endParaRPr lang="zh-TW" altLang="en-US"/>
        </a:p>
      </dgm:t>
    </dgm:pt>
    <dgm:pt modelId="{6853A397-8C87-40B0-84DC-2091689D995D}">
      <dgm:prSet phldrT="[文字]"/>
      <dgm:spPr/>
      <dgm:t>
        <a:bodyPr/>
        <a:lstStyle/>
        <a:p>
          <a:r>
            <a:rPr lang="en-US" altLang="zh-TW" dirty="0">
              <a:ea typeface="新細明體" panose="02020500000000000000" pitchFamily="18" charset="-120"/>
            </a:rPr>
            <a:t>Counseling</a:t>
          </a:r>
          <a:endParaRPr lang="zh-TW" altLang="en-US" dirty="0"/>
        </a:p>
      </dgm:t>
    </dgm:pt>
    <dgm:pt modelId="{E0D1770B-9B65-4EF4-8CBA-23C52D21246A}" type="parTrans" cxnId="{025477E6-3A7A-4F17-87A7-4FEC03C7A014}">
      <dgm:prSet/>
      <dgm:spPr/>
      <dgm:t>
        <a:bodyPr/>
        <a:lstStyle/>
        <a:p>
          <a:endParaRPr lang="zh-TW" altLang="en-US"/>
        </a:p>
      </dgm:t>
    </dgm:pt>
    <dgm:pt modelId="{210A4754-19B0-4AD0-A57A-036CC59766D7}" type="sibTrans" cxnId="{025477E6-3A7A-4F17-87A7-4FEC03C7A014}">
      <dgm:prSet/>
      <dgm:spPr/>
      <dgm:t>
        <a:bodyPr/>
        <a:lstStyle/>
        <a:p>
          <a:endParaRPr lang="zh-TW" altLang="en-US"/>
        </a:p>
      </dgm:t>
    </dgm:pt>
    <dgm:pt modelId="{30D27C1E-A8A9-486C-8ECA-657E2AC0BDB8}">
      <dgm:prSet phldrT="[文字]"/>
      <dgm:spPr/>
      <dgm:t>
        <a:bodyPr/>
        <a:lstStyle/>
        <a:p>
          <a:r>
            <a:rPr lang="en-US" altLang="zh-TW" dirty="0">
              <a:ea typeface="新細明體" panose="02020500000000000000" pitchFamily="18" charset="-120"/>
            </a:rPr>
            <a:t>Physical Education, Health &amp;</a:t>
          </a:r>
          <a:r>
            <a:rPr lang="zh-TW" altLang="en-US" dirty="0">
              <a:ea typeface="新細明體" panose="02020500000000000000" pitchFamily="18" charset="-120"/>
            </a:rPr>
            <a:t>  </a:t>
          </a:r>
          <a:r>
            <a:rPr lang="en-US" altLang="zh-TW" dirty="0">
              <a:ea typeface="新細明體" panose="02020500000000000000" pitchFamily="18" charset="-120"/>
            </a:rPr>
            <a:t>Recreation</a:t>
          </a:r>
          <a:endParaRPr lang="zh-TW" altLang="en-US" dirty="0"/>
        </a:p>
      </dgm:t>
    </dgm:pt>
    <dgm:pt modelId="{ED4025E3-FBF2-4D5E-B2D0-1A937002791B}" type="parTrans" cxnId="{81AB194B-336F-4775-A74C-D83583617B93}">
      <dgm:prSet/>
      <dgm:spPr/>
      <dgm:t>
        <a:bodyPr/>
        <a:lstStyle/>
        <a:p>
          <a:endParaRPr lang="zh-TW" altLang="en-US"/>
        </a:p>
      </dgm:t>
    </dgm:pt>
    <dgm:pt modelId="{AB4D4B1C-0DFF-4D85-873D-922A107A50D7}" type="sibTrans" cxnId="{81AB194B-336F-4775-A74C-D83583617B93}">
      <dgm:prSet/>
      <dgm:spPr/>
      <dgm:t>
        <a:bodyPr/>
        <a:lstStyle/>
        <a:p>
          <a:endParaRPr lang="zh-TW" altLang="en-US"/>
        </a:p>
      </dgm:t>
    </dgm:pt>
    <dgm:pt modelId="{C9BE8EF1-DB35-44F7-A630-4E9D562E16DC}">
      <dgm:prSet phldrT="[文字]"/>
      <dgm:spPr/>
      <dgm:t>
        <a:bodyPr/>
        <a:lstStyle/>
        <a:p>
          <a:r>
            <a:rPr lang="en-US" altLang="zh-TW" dirty="0">
              <a:ea typeface="新細明體" panose="02020500000000000000" pitchFamily="18" charset="-120"/>
            </a:rPr>
            <a:t>Early Childhood Education</a:t>
          </a:r>
          <a:endParaRPr lang="zh-TW" altLang="en-US" dirty="0"/>
        </a:p>
      </dgm:t>
    </dgm:pt>
    <dgm:pt modelId="{6D359864-F575-46A3-9CF4-57C27B08B53D}" type="parTrans" cxnId="{6E756A93-A158-4EAE-8926-D3B0F7AD322B}">
      <dgm:prSet/>
      <dgm:spPr/>
      <dgm:t>
        <a:bodyPr/>
        <a:lstStyle/>
        <a:p>
          <a:endParaRPr lang="zh-TW" altLang="en-US"/>
        </a:p>
      </dgm:t>
    </dgm:pt>
    <dgm:pt modelId="{8EE19776-50EE-457F-8E9F-42FE34DB2C06}" type="sibTrans" cxnId="{6E756A93-A158-4EAE-8926-D3B0F7AD322B}">
      <dgm:prSet/>
      <dgm:spPr/>
      <dgm:t>
        <a:bodyPr/>
        <a:lstStyle/>
        <a:p>
          <a:endParaRPr lang="zh-TW" altLang="en-US"/>
        </a:p>
      </dgm:t>
    </dgm:pt>
    <dgm:pt modelId="{A4777E84-97FA-4FD7-BCFE-DA9E2C155691}">
      <dgm:prSet/>
      <dgm:spPr/>
      <dgm:t>
        <a:bodyPr/>
        <a:lstStyle/>
        <a:p>
          <a:r>
            <a:rPr lang="en-US" altLang="zh-TW" dirty="0">
              <a:ea typeface="新細明體" panose="02020500000000000000" pitchFamily="18" charset="-120"/>
            </a:rPr>
            <a:t>Special Education</a:t>
          </a:r>
          <a:endParaRPr lang="zh-TW" altLang="en-US" dirty="0"/>
        </a:p>
      </dgm:t>
    </dgm:pt>
    <dgm:pt modelId="{30C1B1CB-3703-45E9-BF7B-DBD42F4542CD}" type="parTrans" cxnId="{33E97D69-1A82-4FC5-ABE1-F354265045FB}">
      <dgm:prSet/>
      <dgm:spPr/>
      <dgm:t>
        <a:bodyPr/>
        <a:lstStyle/>
        <a:p>
          <a:endParaRPr lang="zh-TW" altLang="en-US"/>
        </a:p>
      </dgm:t>
    </dgm:pt>
    <dgm:pt modelId="{EAB59903-5FCD-4FC4-95C8-345B28053CC7}" type="sibTrans" cxnId="{33E97D69-1A82-4FC5-ABE1-F354265045FB}">
      <dgm:prSet/>
      <dgm:spPr/>
      <dgm:t>
        <a:bodyPr/>
        <a:lstStyle/>
        <a:p>
          <a:endParaRPr lang="zh-TW" altLang="en-US"/>
        </a:p>
      </dgm:t>
    </dgm:pt>
    <dgm:pt modelId="{4BB3AD41-B6B3-417E-922D-B361920FB43A}">
      <dgm:prSet/>
      <dgm:spPr/>
      <dgm:t>
        <a:bodyPr/>
        <a:lstStyle/>
        <a:p>
          <a:r>
            <a:rPr lang="en-US" altLang="zh-TW" dirty="0">
              <a:ea typeface="新細明體" panose="02020500000000000000" pitchFamily="18" charset="-120"/>
            </a:rPr>
            <a:t>Education</a:t>
          </a:r>
          <a:endParaRPr lang="zh-TW" altLang="en-US" dirty="0"/>
        </a:p>
      </dgm:t>
    </dgm:pt>
    <dgm:pt modelId="{B8C755BC-3133-4FF1-A7DD-64DD517EFCFF}" type="parTrans" cxnId="{D8664F04-C6C1-41EE-8A0B-5EFB50F472BE}">
      <dgm:prSet/>
      <dgm:spPr/>
      <dgm:t>
        <a:bodyPr/>
        <a:lstStyle/>
        <a:p>
          <a:endParaRPr lang="zh-TW" altLang="en-US"/>
        </a:p>
      </dgm:t>
    </dgm:pt>
    <dgm:pt modelId="{1809513D-F801-4A64-BFE1-086903A7BD9A}" type="sibTrans" cxnId="{D8664F04-C6C1-41EE-8A0B-5EFB50F472BE}">
      <dgm:prSet/>
      <dgm:spPr/>
      <dgm:t>
        <a:bodyPr/>
        <a:lstStyle/>
        <a:p>
          <a:endParaRPr lang="zh-TW" altLang="en-US"/>
        </a:p>
      </dgm:t>
    </dgm:pt>
    <dgm:pt modelId="{B1C209AB-882B-46FB-85FD-77A0F9A77E10}">
      <dgm:prSet/>
      <dgm:spPr/>
      <dgm:t>
        <a:bodyPr/>
        <a:lstStyle/>
        <a:p>
          <a:r>
            <a:rPr lang="en-US" altLang="zh-TW" dirty="0">
              <a:ea typeface="新細明體" panose="02020500000000000000" pitchFamily="18" charset="-120"/>
            </a:rPr>
            <a:t>E-Learning Design and Management</a:t>
          </a:r>
          <a:endParaRPr lang="zh-TW" altLang="en-US" dirty="0"/>
        </a:p>
      </dgm:t>
    </dgm:pt>
    <dgm:pt modelId="{009A6A9B-1CEB-4160-B506-909FC7DE14A2}" type="parTrans" cxnId="{29C20BDB-8BB7-42BE-B35E-9BD23B59A3E6}">
      <dgm:prSet/>
      <dgm:spPr/>
      <dgm:t>
        <a:bodyPr/>
        <a:lstStyle/>
        <a:p>
          <a:endParaRPr lang="zh-TW" altLang="en-US"/>
        </a:p>
      </dgm:t>
    </dgm:pt>
    <dgm:pt modelId="{43240129-C5DF-4AF2-9664-BFFA0249E728}" type="sibTrans" cxnId="{29C20BDB-8BB7-42BE-B35E-9BD23B59A3E6}">
      <dgm:prSet/>
      <dgm:spPr/>
      <dgm:t>
        <a:bodyPr/>
        <a:lstStyle/>
        <a:p>
          <a:endParaRPr lang="zh-TW" altLang="en-US"/>
        </a:p>
      </dgm:t>
    </dgm:pt>
    <dgm:pt modelId="{CCEC1BCD-BCD7-4F59-8008-329690AE1544}" type="pres">
      <dgm:prSet presAssocID="{8D03C726-9B0F-41F3-9195-B0E9E1379623}" presName="Name0" presStyleCnt="0">
        <dgm:presLayoutVars>
          <dgm:chMax val="7"/>
          <dgm:chPref val="7"/>
          <dgm:dir/>
        </dgm:presLayoutVars>
      </dgm:prSet>
      <dgm:spPr/>
    </dgm:pt>
    <dgm:pt modelId="{E841F0D9-2735-4307-B4AF-CD3A3849B731}" type="pres">
      <dgm:prSet presAssocID="{8D03C726-9B0F-41F3-9195-B0E9E1379623}" presName="Name1" presStyleCnt="0"/>
      <dgm:spPr/>
    </dgm:pt>
    <dgm:pt modelId="{BFBABEBD-21E8-4FA9-9D00-EB5C9D3834E7}" type="pres">
      <dgm:prSet presAssocID="{8D03C726-9B0F-41F3-9195-B0E9E1379623}" presName="cycle" presStyleCnt="0"/>
      <dgm:spPr/>
    </dgm:pt>
    <dgm:pt modelId="{F1579E7C-3650-4AD8-85D2-E9E98C665C49}" type="pres">
      <dgm:prSet presAssocID="{8D03C726-9B0F-41F3-9195-B0E9E1379623}" presName="srcNode" presStyleLbl="node1" presStyleIdx="0" presStyleCnt="6"/>
      <dgm:spPr/>
    </dgm:pt>
    <dgm:pt modelId="{F5F40985-DD23-4FBE-B308-9E6178139F07}" type="pres">
      <dgm:prSet presAssocID="{8D03C726-9B0F-41F3-9195-B0E9E1379623}" presName="conn" presStyleLbl="parChTrans1D2" presStyleIdx="0" presStyleCnt="1"/>
      <dgm:spPr/>
    </dgm:pt>
    <dgm:pt modelId="{3C64551F-60D4-47DD-A33D-93DECD53AAC0}" type="pres">
      <dgm:prSet presAssocID="{8D03C726-9B0F-41F3-9195-B0E9E1379623}" presName="extraNode" presStyleLbl="node1" presStyleIdx="0" presStyleCnt="6"/>
      <dgm:spPr/>
    </dgm:pt>
    <dgm:pt modelId="{E64FBFE9-D4D2-4094-9D57-698C983BD6D2}" type="pres">
      <dgm:prSet presAssocID="{8D03C726-9B0F-41F3-9195-B0E9E1379623}" presName="dstNode" presStyleLbl="node1" presStyleIdx="0" presStyleCnt="6"/>
      <dgm:spPr/>
    </dgm:pt>
    <dgm:pt modelId="{99912F55-5064-48A8-909D-AC6BA45618F4}" type="pres">
      <dgm:prSet presAssocID="{6853A397-8C87-40B0-84DC-2091689D995D}" presName="text_1" presStyleLbl="node1" presStyleIdx="0" presStyleCnt="6">
        <dgm:presLayoutVars>
          <dgm:bulletEnabled val="1"/>
        </dgm:presLayoutVars>
      </dgm:prSet>
      <dgm:spPr/>
    </dgm:pt>
    <dgm:pt modelId="{DD5CB67A-F877-4DB3-9037-998B0BFC41EA}" type="pres">
      <dgm:prSet presAssocID="{6853A397-8C87-40B0-84DC-2091689D995D}" presName="accent_1" presStyleCnt="0"/>
      <dgm:spPr/>
    </dgm:pt>
    <dgm:pt modelId="{E2E90FF0-5152-45F4-BBFF-F7E462A9C91C}" type="pres">
      <dgm:prSet presAssocID="{6853A397-8C87-40B0-84DC-2091689D995D}" presName="accentRepeatNode" presStyleLbl="solidFgAcc1" presStyleIdx="0" presStyleCnt="6"/>
      <dgm:spPr/>
    </dgm:pt>
    <dgm:pt modelId="{57A9796B-653E-4E72-B665-12147467A2A7}" type="pres">
      <dgm:prSet presAssocID="{30D27C1E-A8A9-486C-8ECA-657E2AC0BDB8}" presName="text_2" presStyleLbl="node1" presStyleIdx="1" presStyleCnt="6">
        <dgm:presLayoutVars>
          <dgm:bulletEnabled val="1"/>
        </dgm:presLayoutVars>
      </dgm:prSet>
      <dgm:spPr/>
    </dgm:pt>
    <dgm:pt modelId="{19877A74-04CF-4B8F-A393-222198FAC737}" type="pres">
      <dgm:prSet presAssocID="{30D27C1E-A8A9-486C-8ECA-657E2AC0BDB8}" presName="accent_2" presStyleCnt="0"/>
      <dgm:spPr/>
    </dgm:pt>
    <dgm:pt modelId="{D918FB54-70A9-485C-986E-07C3131B1AEB}" type="pres">
      <dgm:prSet presAssocID="{30D27C1E-A8A9-486C-8ECA-657E2AC0BDB8}" presName="accentRepeatNode" presStyleLbl="solidFgAcc1" presStyleIdx="1" presStyleCnt="6"/>
      <dgm:spPr/>
    </dgm:pt>
    <dgm:pt modelId="{6DA46BDF-7FE3-4A9C-BB28-01B09761DC73}" type="pres">
      <dgm:prSet presAssocID="{C9BE8EF1-DB35-44F7-A630-4E9D562E16DC}" presName="text_3" presStyleLbl="node1" presStyleIdx="2" presStyleCnt="6">
        <dgm:presLayoutVars>
          <dgm:bulletEnabled val="1"/>
        </dgm:presLayoutVars>
      </dgm:prSet>
      <dgm:spPr/>
    </dgm:pt>
    <dgm:pt modelId="{4B076D0B-8AF8-4647-BF6F-3A00D4D1025F}" type="pres">
      <dgm:prSet presAssocID="{C9BE8EF1-DB35-44F7-A630-4E9D562E16DC}" presName="accent_3" presStyleCnt="0"/>
      <dgm:spPr/>
    </dgm:pt>
    <dgm:pt modelId="{F5590577-B7C3-4499-95EA-72EB6FE82B7E}" type="pres">
      <dgm:prSet presAssocID="{C9BE8EF1-DB35-44F7-A630-4E9D562E16DC}" presName="accentRepeatNode" presStyleLbl="solidFgAcc1" presStyleIdx="2" presStyleCnt="6"/>
      <dgm:spPr/>
    </dgm:pt>
    <dgm:pt modelId="{5C02AB07-CDD1-488B-AFFD-8E1915B9C16E}" type="pres">
      <dgm:prSet presAssocID="{A4777E84-97FA-4FD7-BCFE-DA9E2C155691}" presName="text_4" presStyleLbl="node1" presStyleIdx="3" presStyleCnt="6">
        <dgm:presLayoutVars>
          <dgm:bulletEnabled val="1"/>
        </dgm:presLayoutVars>
      </dgm:prSet>
      <dgm:spPr/>
    </dgm:pt>
    <dgm:pt modelId="{D1E43CF6-7AEE-4282-A490-322CE769E660}" type="pres">
      <dgm:prSet presAssocID="{A4777E84-97FA-4FD7-BCFE-DA9E2C155691}" presName="accent_4" presStyleCnt="0"/>
      <dgm:spPr/>
    </dgm:pt>
    <dgm:pt modelId="{773C5E82-E985-47A4-B5B5-C788FCB97755}" type="pres">
      <dgm:prSet presAssocID="{A4777E84-97FA-4FD7-BCFE-DA9E2C155691}" presName="accentRepeatNode" presStyleLbl="solidFgAcc1" presStyleIdx="3" presStyleCnt="6"/>
      <dgm:spPr/>
    </dgm:pt>
    <dgm:pt modelId="{9DC1B971-1500-4ADE-B595-C9C2F37BF8BC}" type="pres">
      <dgm:prSet presAssocID="{4BB3AD41-B6B3-417E-922D-B361920FB43A}" presName="text_5" presStyleLbl="node1" presStyleIdx="4" presStyleCnt="6">
        <dgm:presLayoutVars>
          <dgm:bulletEnabled val="1"/>
        </dgm:presLayoutVars>
      </dgm:prSet>
      <dgm:spPr/>
    </dgm:pt>
    <dgm:pt modelId="{6D12FEBC-A532-4244-94B6-A2B8079804A5}" type="pres">
      <dgm:prSet presAssocID="{4BB3AD41-B6B3-417E-922D-B361920FB43A}" presName="accent_5" presStyleCnt="0"/>
      <dgm:spPr/>
    </dgm:pt>
    <dgm:pt modelId="{88D9F11B-8D66-4118-BC57-B586F9D18117}" type="pres">
      <dgm:prSet presAssocID="{4BB3AD41-B6B3-417E-922D-B361920FB43A}" presName="accentRepeatNode" presStyleLbl="solidFgAcc1" presStyleIdx="4" presStyleCnt="6"/>
      <dgm:spPr/>
    </dgm:pt>
    <dgm:pt modelId="{C4F5E8DD-83C4-4C98-B35C-E3090BBDDB59}" type="pres">
      <dgm:prSet presAssocID="{B1C209AB-882B-46FB-85FD-77A0F9A77E10}" presName="text_6" presStyleLbl="node1" presStyleIdx="5" presStyleCnt="6">
        <dgm:presLayoutVars>
          <dgm:bulletEnabled val="1"/>
        </dgm:presLayoutVars>
      </dgm:prSet>
      <dgm:spPr/>
    </dgm:pt>
    <dgm:pt modelId="{06562FFC-557F-423A-8C7A-A6695B0AE156}" type="pres">
      <dgm:prSet presAssocID="{B1C209AB-882B-46FB-85FD-77A0F9A77E10}" presName="accent_6" presStyleCnt="0"/>
      <dgm:spPr/>
    </dgm:pt>
    <dgm:pt modelId="{BE8BDC90-0848-4D62-9B11-81BD76D011F3}" type="pres">
      <dgm:prSet presAssocID="{B1C209AB-882B-46FB-85FD-77A0F9A77E10}" presName="accentRepeatNode" presStyleLbl="solidFgAcc1" presStyleIdx="5" presStyleCnt="6"/>
      <dgm:spPr/>
    </dgm:pt>
  </dgm:ptLst>
  <dgm:cxnLst>
    <dgm:cxn modelId="{D8664F04-C6C1-41EE-8A0B-5EFB50F472BE}" srcId="{8D03C726-9B0F-41F3-9195-B0E9E1379623}" destId="{4BB3AD41-B6B3-417E-922D-B361920FB43A}" srcOrd="4" destOrd="0" parTransId="{B8C755BC-3133-4FF1-A7DD-64DD517EFCFF}" sibTransId="{1809513D-F801-4A64-BFE1-086903A7BD9A}"/>
    <dgm:cxn modelId="{AC0FC307-C175-42CC-8496-BEE61D303FDD}" type="presOf" srcId="{30D27C1E-A8A9-486C-8ECA-657E2AC0BDB8}" destId="{57A9796B-653E-4E72-B665-12147467A2A7}" srcOrd="0" destOrd="0" presId="urn:microsoft.com/office/officeart/2008/layout/VerticalCurvedList"/>
    <dgm:cxn modelId="{9DCA0833-8D39-4FC5-9945-0324EEA97361}" type="presOf" srcId="{A4777E84-97FA-4FD7-BCFE-DA9E2C155691}" destId="{5C02AB07-CDD1-488B-AFFD-8E1915B9C16E}" srcOrd="0" destOrd="0" presId="urn:microsoft.com/office/officeart/2008/layout/VerticalCurvedList"/>
    <dgm:cxn modelId="{C1C82F48-1009-4714-8EAD-6D655A4050B4}" type="presOf" srcId="{210A4754-19B0-4AD0-A57A-036CC59766D7}" destId="{F5F40985-DD23-4FBE-B308-9E6178139F07}" srcOrd="0" destOrd="0" presId="urn:microsoft.com/office/officeart/2008/layout/VerticalCurvedList"/>
    <dgm:cxn modelId="{33E97D69-1A82-4FC5-ABE1-F354265045FB}" srcId="{8D03C726-9B0F-41F3-9195-B0E9E1379623}" destId="{A4777E84-97FA-4FD7-BCFE-DA9E2C155691}" srcOrd="3" destOrd="0" parTransId="{30C1B1CB-3703-45E9-BF7B-DBD42F4542CD}" sibTransId="{EAB59903-5FCD-4FC4-95C8-345B28053CC7}"/>
    <dgm:cxn modelId="{E0ABD94A-3BA2-495A-BEE2-67D44C82FDFB}" type="presOf" srcId="{8D03C726-9B0F-41F3-9195-B0E9E1379623}" destId="{CCEC1BCD-BCD7-4F59-8008-329690AE1544}" srcOrd="0" destOrd="0" presId="urn:microsoft.com/office/officeart/2008/layout/VerticalCurvedList"/>
    <dgm:cxn modelId="{81AB194B-336F-4775-A74C-D83583617B93}" srcId="{8D03C726-9B0F-41F3-9195-B0E9E1379623}" destId="{30D27C1E-A8A9-486C-8ECA-657E2AC0BDB8}" srcOrd="1" destOrd="0" parTransId="{ED4025E3-FBF2-4D5E-B2D0-1A937002791B}" sibTransId="{AB4D4B1C-0DFF-4D85-873D-922A107A50D7}"/>
    <dgm:cxn modelId="{342FD06C-5212-4641-BD3D-0D9169864FD1}" type="presOf" srcId="{C9BE8EF1-DB35-44F7-A630-4E9D562E16DC}" destId="{6DA46BDF-7FE3-4A9C-BB28-01B09761DC73}" srcOrd="0" destOrd="0" presId="urn:microsoft.com/office/officeart/2008/layout/VerticalCurvedList"/>
    <dgm:cxn modelId="{8D414981-1C5F-4C35-864D-06A4A9808677}" type="presOf" srcId="{B1C209AB-882B-46FB-85FD-77A0F9A77E10}" destId="{C4F5E8DD-83C4-4C98-B35C-E3090BBDDB59}" srcOrd="0" destOrd="0" presId="urn:microsoft.com/office/officeart/2008/layout/VerticalCurvedList"/>
    <dgm:cxn modelId="{B17CDB8D-B2C7-47C1-99E5-56A66FA9D368}" type="presOf" srcId="{6853A397-8C87-40B0-84DC-2091689D995D}" destId="{99912F55-5064-48A8-909D-AC6BA45618F4}" srcOrd="0" destOrd="0" presId="urn:microsoft.com/office/officeart/2008/layout/VerticalCurvedList"/>
    <dgm:cxn modelId="{6E756A93-A158-4EAE-8926-D3B0F7AD322B}" srcId="{8D03C726-9B0F-41F3-9195-B0E9E1379623}" destId="{C9BE8EF1-DB35-44F7-A630-4E9D562E16DC}" srcOrd="2" destOrd="0" parTransId="{6D359864-F575-46A3-9CF4-57C27B08B53D}" sibTransId="{8EE19776-50EE-457F-8E9F-42FE34DB2C06}"/>
    <dgm:cxn modelId="{29C20BDB-8BB7-42BE-B35E-9BD23B59A3E6}" srcId="{8D03C726-9B0F-41F3-9195-B0E9E1379623}" destId="{B1C209AB-882B-46FB-85FD-77A0F9A77E10}" srcOrd="5" destOrd="0" parTransId="{009A6A9B-1CEB-4160-B506-909FC7DE14A2}" sibTransId="{43240129-C5DF-4AF2-9664-BFFA0249E728}"/>
    <dgm:cxn modelId="{025477E6-3A7A-4F17-87A7-4FEC03C7A014}" srcId="{8D03C726-9B0F-41F3-9195-B0E9E1379623}" destId="{6853A397-8C87-40B0-84DC-2091689D995D}" srcOrd="0" destOrd="0" parTransId="{E0D1770B-9B65-4EF4-8CBA-23C52D21246A}" sibTransId="{210A4754-19B0-4AD0-A57A-036CC59766D7}"/>
    <dgm:cxn modelId="{63C050F8-2A3F-442A-A8E1-52B3E9286E1F}" type="presOf" srcId="{4BB3AD41-B6B3-417E-922D-B361920FB43A}" destId="{9DC1B971-1500-4ADE-B595-C9C2F37BF8BC}" srcOrd="0" destOrd="0" presId="urn:microsoft.com/office/officeart/2008/layout/VerticalCurvedList"/>
    <dgm:cxn modelId="{CCFC00EC-8995-4A3B-B61D-9F99F9B11435}" type="presParOf" srcId="{CCEC1BCD-BCD7-4F59-8008-329690AE1544}" destId="{E841F0D9-2735-4307-B4AF-CD3A3849B731}" srcOrd="0" destOrd="0" presId="urn:microsoft.com/office/officeart/2008/layout/VerticalCurvedList"/>
    <dgm:cxn modelId="{81C88459-0D4E-4050-8D2B-86986709D25F}" type="presParOf" srcId="{E841F0D9-2735-4307-B4AF-CD3A3849B731}" destId="{BFBABEBD-21E8-4FA9-9D00-EB5C9D3834E7}" srcOrd="0" destOrd="0" presId="urn:microsoft.com/office/officeart/2008/layout/VerticalCurvedList"/>
    <dgm:cxn modelId="{B3A06679-5EC0-4108-B9C1-C1F4EFFF7507}" type="presParOf" srcId="{BFBABEBD-21E8-4FA9-9D00-EB5C9D3834E7}" destId="{F1579E7C-3650-4AD8-85D2-E9E98C665C49}" srcOrd="0" destOrd="0" presId="urn:microsoft.com/office/officeart/2008/layout/VerticalCurvedList"/>
    <dgm:cxn modelId="{746BDF01-98A9-4326-AA39-91926BC14028}" type="presParOf" srcId="{BFBABEBD-21E8-4FA9-9D00-EB5C9D3834E7}" destId="{F5F40985-DD23-4FBE-B308-9E6178139F07}" srcOrd="1" destOrd="0" presId="urn:microsoft.com/office/officeart/2008/layout/VerticalCurvedList"/>
    <dgm:cxn modelId="{17F2A740-1ABA-41A1-AC72-F02CD91A4C86}" type="presParOf" srcId="{BFBABEBD-21E8-4FA9-9D00-EB5C9D3834E7}" destId="{3C64551F-60D4-47DD-A33D-93DECD53AAC0}" srcOrd="2" destOrd="0" presId="urn:microsoft.com/office/officeart/2008/layout/VerticalCurvedList"/>
    <dgm:cxn modelId="{C873C3E6-1615-4023-9002-00A2815F9CC4}" type="presParOf" srcId="{BFBABEBD-21E8-4FA9-9D00-EB5C9D3834E7}" destId="{E64FBFE9-D4D2-4094-9D57-698C983BD6D2}" srcOrd="3" destOrd="0" presId="urn:microsoft.com/office/officeart/2008/layout/VerticalCurvedList"/>
    <dgm:cxn modelId="{B3F17E01-2EDE-460E-95C9-44ACB55CD2FB}" type="presParOf" srcId="{E841F0D9-2735-4307-B4AF-CD3A3849B731}" destId="{99912F55-5064-48A8-909D-AC6BA45618F4}" srcOrd="1" destOrd="0" presId="urn:microsoft.com/office/officeart/2008/layout/VerticalCurvedList"/>
    <dgm:cxn modelId="{02DCF498-B2DE-4C79-AF4A-FF7E685298CF}" type="presParOf" srcId="{E841F0D9-2735-4307-B4AF-CD3A3849B731}" destId="{DD5CB67A-F877-4DB3-9037-998B0BFC41EA}" srcOrd="2" destOrd="0" presId="urn:microsoft.com/office/officeart/2008/layout/VerticalCurvedList"/>
    <dgm:cxn modelId="{CBA0D906-044B-4B30-9DF3-4DBA189B4070}" type="presParOf" srcId="{DD5CB67A-F877-4DB3-9037-998B0BFC41EA}" destId="{E2E90FF0-5152-45F4-BBFF-F7E462A9C91C}" srcOrd="0" destOrd="0" presId="urn:microsoft.com/office/officeart/2008/layout/VerticalCurvedList"/>
    <dgm:cxn modelId="{08553F5A-586C-45AB-BB81-E3F97921B306}" type="presParOf" srcId="{E841F0D9-2735-4307-B4AF-CD3A3849B731}" destId="{57A9796B-653E-4E72-B665-12147467A2A7}" srcOrd="3" destOrd="0" presId="urn:microsoft.com/office/officeart/2008/layout/VerticalCurvedList"/>
    <dgm:cxn modelId="{4B9BD9E9-AB51-415C-886A-49177CC42E1A}" type="presParOf" srcId="{E841F0D9-2735-4307-B4AF-CD3A3849B731}" destId="{19877A74-04CF-4B8F-A393-222198FAC737}" srcOrd="4" destOrd="0" presId="urn:microsoft.com/office/officeart/2008/layout/VerticalCurvedList"/>
    <dgm:cxn modelId="{12B6EBD2-B299-48BA-A76D-6392E586B096}" type="presParOf" srcId="{19877A74-04CF-4B8F-A393-222198FAC737}" destId="{D918FB54-70A9-485C-986E-07C3131B1AEB}" srcOrd="0" destOrd="0" presId="urn:microsoft.com/office/officeart/2008/layout/VerticalCurvedList"/>
    <dgm:cxn modelId="{7724F6C7-F959-4221-B141-3A7F47912327}" type="presParOf" srcId="{E841F0D9-2735-4307-B4AF-CD3A3849B731}" destId="{6DA46BDF-7FE3-4A9C-BB28-01B09761DC73}" srcOrd="5" destOrd="0" presId="urn:microsoft.com/office/officeart/2008/layout/VerticalCurvedList"/>
    <dgm:cxn modelId="{237CADA0-46FB-4172-BCCC-4EAFE378429F}" type="presParOf" srcId="{E841F0D9-2735-4307-B4AF-CD3A3849B731}" destId="{4B076D0B-8AF8-4647-BF6F-3A00D4D1025F}" srcOrd="6" destOrd="0" presId="urn:microsoft.com/office/officeart/2008/layout/VerticalCurvedList"/>
    <dgm:cxn modelId="{BE847B7E-1F73-4D8A-956A-882BD7558C6F}" type="presParOf" srcId="{4B076D0B-8AF8-4647-BF6F-3A00D4D1025F}" destId="{F5590577-B7C3-4499-95EA-72EB6FE82B7E}" srcOrd="0" destOrd="0" presId="urn:microsoft.com/office/officeart/2008/layout/VerticalCurvedList"/>
    <dgm:cxn modelId="{379812BA-9274-4948-ACC6-9A09D7982AB8}" type="presParOf" srcId="{E841F0D9-2735-4307-B4AF-CD3A3849B731}" destId="{5C02AB07-CDD1-488B-AFFD-8E1915B9C16E}" srcOrd="7" destOrd="0" presId="urn:microsoft.com/office/officeart/2008/layout/VerticalCurvedList"/>
    <dgm:cxn modelId="{379D75E8-4220-4F83-8EBF-F2EAC22EEAA7}" type="presParOf" srcId="{E841F0D9-2735-4307-B4AF-CD3A3849B731}" destId="{D1E43CF6-7AEE-4282-A490-322CE769E660}" srcOrd="8" destOrd="0" presId="urn:microsoft.com/office/officeart/2008/layout/VerticalCurvedList"/>
    <dgm:cxn modelId="{32C94AAF-7381-4DCB-AD7E-4425BC135202}" type="presParOf" srcId="{D1E43CF6-7AEE-4282-A490-322CE769E660}" destId="{773C5E82-E985-47A4-B5B5-C788FCB97755}" srcOrd="0" destOrd="0" presId="urn:microsoft.com/office/officeart/2008/layout/VerticalCurvedList"/>
    <dgm:cxn modelId="{EC5520EC-E113-4329-97A0-25BF29D2D44C}" type="presParOf" srcId="{E841F0D9-2735-4307-B4AF-CD3A3849B731}" destId="{9DC1B971-1500-4ADE-B595-C9C2F37BF8BC}" srcOrd="9" destOrd="0" presId="urn:microsoft.com/office/officeart/2008/layout/VerticalCurvedList"/>
    <dgm:cxn modelId="{2E560B53-BBD5-4A96-9C39-EAA57E775D28}" type="presParOf" srcId="{E841F0D9-2735-4307-B4AF-CD3A3849B731}" destId="{6D12FEBC-A532-4244-94B6-A2B8079804A5}" srcOrd="10" destOrd="0" presId="urn:microsoft.com/office/officeart/2008/layout/VerticalCurvedList"/>
    <dgm:cxn modelId="{6A13A904-7BD2-4B45-B18C-5A4D494B624E}" type="presParOf" srcId="{6D12FEBC-A532-4244-94B6-A2B8079804A5}" destId="{88D9F11B-8D66-4118-BC57-B586F9D18117}" srcOrd="0" destOrd="0" presId="urn:microsoft.com/office/officeart/2008/layout/VerticalCurvedList"/>
    <dgm:cxn modelId="{7148C0FD-9162-4D68-B80A-1C625181B09D}" type="presParOf" srcId="{E841F0D9-2735-4307-B4AF-CD3A3849B731}" destId="{C4F5E8DD-83C4-4C98-B35C-E3090BBDDB59}" srcOrd="11" destOrd="0" presId="urn:microsoft.com/office/officeart/2008/layout/VerticalCurvedList"/>
    <dgm:cxn modelId="{BAD78828-E59E-4AEA-8961-E0AE2A725BB9}" type="presParOf" srcId="{E841F0D9-2735-4307-B4AF-CD3A3849B731}" destId="{06562FFC-557F-423A-8C7A-A6695B0AE156}" srcOrd="12" destOrd="0" presId="urn:microsoft.com/office/officeart/2008/layout/VerticalCurvedList"/>
    <dgm:cxn modelId="{0A0261A6-4C5B-42AF-B0E1-23C58160B67C}" type="presParOf" srcId="{06562FFC-557F-423A-8C7A-A6695B0AE156}" destId="{BE8BDC90-0848-4D62-9B11-81BD76D011F3}" srcOrd="0" destOrd="0" presId="urn:microsoft.com/office/officeart/2008/layout/VerticalCurved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322368A-611A-4261-A613-95F1BFD0ABA2}" type="doc">
      <dgm:prSet loTypeId="urn:microsoft.com/office/officeart/2005/8/layout/pList1" loCatId="list" qsTypeId="urn:microsoft.com/office/officeart/2005/8/quickstyle/3d6" qsCatId="3D" csTypeId="urn:microsoft.com/office/officeart/2005/8/colors/colorful4" csCatId="colorful" phldr="1"/>
      <dgm:spPr/>
      <dgm:t>
        <a:bodyPr/>
        <a:lstStyle/>
        <a:p>
          <a:endParaRPr lang="zh-TW" altLang="en-US"/>
        </a:p>
      </dgm:t>
    </dgm:pt>
    <dgm:pt modelId="{BF962D82-99D3-444F-AD74-FC2BF4FCF2E0}">
      <dgm:prSet phldrT="[文字]"/>
      <dgm:spPr/>
      <dgm:t>
        <a:bodyPr/>
        <a:lstStyle/>
        <a:p>
          <a:r>
            <a:rPr lang="en-US" altLang="zh-TW" b="1" dirty="0"/>
            <a:t>Chinese Literature</a:t>
          </a:r>
          <a:endParaRPr lang="zh-TW" altLang="en-US" b="1" dirty="0"/>
        </a:p>
      </dgm:t>
    </dgm:pt>
    <dgm:pt modelId="{538EE949-F29E-4054-8B7A-F0173BE291C5}" type="parTrans" cxnId="{022D6748-833E-474E-977F-2FF24944F953}">
      <dgm:prSet/>
      <dgm:spPr/>
      <dgm:t>
        <a:bodyPr/>
        <a:lstStyle/>
        <a:p>
          <a:endParaRPr lang="zh-TW" altLang="en-US"/>
        </a:p>
      </dgm:t>
    </dgm:pt>
    <dgm:pt modelId="{779CC59C-837D-4DE2-A5E0-C077CD36DE8F}" type="sibTrans" cxnId="{022D6748-833E-474E-977F-2FF24944F953}">
      <dgm:prSet/>
      <dgm:spPr/>
      <dgm:t>
        <a:bodyPr/>
        <a:lstStyle/>
        <a:p>
          <a:endParaRPr lang="zh-TW" altLang="en-US"/>
        </a:p>
      </dgm:t>
    </dgm:pt>
    <dgm:pt modelId="{9CC48761-150A-4FE3-B8F5-9EE509C330F9}">
      <dgm:prSet phldrT="[文字]"/>
      <dgm:spPr/>
      <dgm:t>
        <a:bodyPr/>
        <a:lstStyle/>
        <a:p>
          <a:r>
            <a:rPr lang="en-US" altLang="zh-TW" b="1" dirty="0"/>
            <a:t>Foreign Languages</a:t>
          </a:r>
          <a:endParaRPr lang="zh-TW" altLang="en-US" b="1" dirty="0"/>
        </a:p>
      </dgm:t>
    </dgm:pt>
    <dgm:pt modelId="{D35F38B4-A17C-447B-9BB2-957C3568835C}" type="parTrans" cxnId="{5D20FEBA-020A-4DB4-9D69-ED442B67F3D7}">
      <dgm:prSet/>
      <dgm:spPr/>
      <dgm:t>
        <a:bodyPr/>
        <a:lstStyle/>
        <a:p>
          <a:endParaRPr lang="zh-TW" altLang="en-US"/>
        </a:p>
      </dgm:t>
    </dgm:pt>
    <dgm:pt modelId="{5A0623D0-42E6-4933-BAD8-B1D06FF439AA}" type="sibTrans" cxnId="{5D20FEBA-020A-4DB4-9D69-ED442B67F3D7}">
      <dgm:prSet/>
      <dgm:spPr/>
      <dgm:t>
        <a:bodyPr/>
        <a:lstStyle/>
        <a:p>
          <a:endParaRPr lang="zh-TW" altLang="en-US"/>
        </a:p>
      </dgm:t>
    </dgm:pt>
    <dgm:pt modelId="{BCCCFA15-D569-424A-BA1B-518911069BB3}">
      <dgm:prSet phldrT="[文字]"/>
      <dgm:spPr/>
      <dgm:t>
        <a:bodyPr/>
        <a:lstStyle/>
        <a:p>
          <a:r>
            <a:rPr lang="en-US" altLang="zh-TW" b="1" dirty="0"/>
            <a:t>Applied History</a:t>
          </a:r>
          <a:endParaRPr lang="zh-TW" altLang="en-US" b="1" dirty="0"/>
        </a:p>
      </dgm:t>
    </dgm:pt>
    <dgm:pt modelId="{D6DE39FA-8567-4A0E-8DFA-2E67F67A278E}" type="parTrans" cxnId="{07C1EEC5-A38A-4A56-A616-DD0D9E575959}">
      <dgm:prSet/>
      <dgm:spPr/>
      <dgm:t>
        <a:bodyPr/>
        <a:lstStyle/>
        <a:p>
          <a:endParaRPr lang="zh-TW" altLang="en-US"/>
        </a:p>
      </dgm:t>
    </dgm:pt>
    <dgm:pt modelId="{AAC2701D-2DD0-48B4-AE9E-AFD79CA61494}" type="sibTrans" cxnId="{07C1EEC5-A38A-4A56-A616-DD0D9E575959}">
      <dgm:prSet/>
      <dgm:spPr/>
      <dgm:t>
        <a:bodyPr/>
        <a:lstStyle/>
        <a:p>
          <a:endParaRPr lang="zh-TW" altLang="en-US"/>
        </a:p>
      </dgm:t>
    </dgm:pt>
    <dgm:pt modelId="{F4C8DDD9-7E81-4A54-B664-0A89FF1C6A30}">
      <dgm:prSet phldrT="[文字]"/>
      <dgm:spPr/>
      <dgm:t>
        <a:bodyPr/>
        <a:lstStyle/>
        <a:p>
          <a:r>
            <a:rPr lang="en-US" altLang="zh-TW" b="1" dirty="0"/>
            <a:t>Music</a:t>
          </a:r>
          <a:endParaRPr lang="zh-TW" altLang="en-US" b="1" dirty="0"/>
        </a:p>
      </dgm:t>
    </dgm:pt>
    <dgm:pt modelId="{F8B98B26-C383-4782-8727-CF362667D02D}" type="parTrans" cxnId="{6D01B70C-974F-4B65-A795-60DB25E76E13}">
      <dgm:prSet/>
      <dgm:spPr/>
      <dgm:t>
        <a:bodyPr/>
        <a:lstStyle/>
        <a:p>
          <a:endParaRPr lang="zh-TW" altLang="en-US"/>
        </a:p>
      </dgm:t>
    </dgm:pt>
    <dgm:pt modelId="{85A20CF3-2336-4FD5-9F25-55153EFA3529}" type="sibTrans" cxnId="{6D01B70C-974F-4B65-A795-60DB25E76E13}">
      <dgm:prSet/>
      <dgm:spPr/>
      <dgm:t>
        <a:bodyPr/>
        <a:lstStyle/>
        <a:p>
          <a:endParaRPr lang="zh-TW" altLang="en-US"/>
        </a:p>
      </dgm:t>
    </dgm:pt>
    <dgm:pt modelId="{A31B6CC7-F906-4788-8BC6-4E79D80F734B}">
      <dgm:prSet/>
      <dgm:spPr/>
      <dgm:t>
        <a:bodyPr/>
        <a:lstStyle/>
        <a:p>
          <a:r>
            <a:rPr lang="en-US" altLang="zh-TW" b="1" dirty="0"/>
            <a:t>Visual Arts</a:t>
          </a:r>
          <a:endParaRPr lang="zh-TW" altLang="en-US" b="1" dirty="0"/>
        </a:p>
      </dgm:t>
    </dgm:pt>
    <dgm:pt modelId="{F9D24AFF-833F-416E-925C-9EF3C6E4631E}" type="parTrans" cxnId="{38372398-B866-4AA3-81A0-1B96CFF15735}">
      <dgm:prSet/>
      <dgm:spPr/>
      <dgm:t>
        <a:bodyPr/>
        <a:lstStyle/>
        <a:p>
          <a:endParaRPr lang="zh-TW" altLang="en-US"/>
        </a:p>
      </dgm:t>
    </dgm:pt>
    <dgm:pt modelId="{A72AE05A-9239-4101-9DD9-99ECE4425062}" type="sibTrans" cxnId="{38372398-B866-4AA3-81A0-1B96CFF15735}">
      <dgm:prSet/>
      <dgm:spPr/>
      <dgm:t>
        <a:bodyPr/>
        <a:lstStyle/>
        <a:p>
          <a:endParaRPr lang="zh-TW" altLang="en-US"/>
        </a:p>
      </dgm:t>
    </dgm:pt>
    <dgm:pt modelId="{1555DA83-D929-4B43-99D8-F4ACA4FC371C}" type="pres">
      <dgm:prSet presAssocID="{9322368A-611A-4261-A613-95F1BFD0ABA2}" presName="Name0" presStyleCnt="0">
        <dgm:presLayoutVars>
          <dgm:dir/>
          <dgm:resizeHandles val="exact"/>
        </dgm:presLayoutVars>
      </dgm:prSet>
      <dgm:spPr/>
    </dgm:pt>
    <dgm:pt modelId="{C8D7AA4F-1E11-46C5-8895-E2C0A0449F56}" type="pres">
      <dgm:prSet presAssocID="{BF962D82-99D3-444F-AD74-FC2BF4FCF2E0}" presName="compNode" presStyleCnt="0"/>
      <dgm:spPr/>
    </dgm:pt>
    <dgm:pt modelId="{FB99F421-7730-4011-A7B7-E92984AA37CD}" type="pres">
      <dgm:prSet presAssocID="{BF962D82-99D3-444F-AD74-FC2BF4FCF2E0}" presName="pictRect" presStyleLbl="node1" presStyleIdx="0" presStyleCnt="5"/>
      <dgm:spPr>
        <a:blipFill>
          <a:blip xmlns:r="http://schemas.openxmlformats.org/officeDocument/2006/relationships" r:embed="rId1"/>
          <a:stretch>
            <a:fillRect t="-33000" b="-33000"/>
          </a:stretch>
        </a:blipFill>
      </dgm:spPr>
    </dgm:pt>
    <dgm:pt modelId="{C0E8371D-F60A-41C4-9D1C-0ADEAEC1F6A5}" type="pres">
      <dgm:prSet presAssocID="{BF962D82-99D3-444F-AD74-FC2BF4FCF2E0}" presName="textRect" presStyleLbl="revTx" presStyleIdx="0" presStyleCnt="5">
        <dgm:presLayoutVars>
          <dgm:bulletEnabled val="1"/>
        </dgm:presLayoutVars>
      </dgm:prSet>
      <dgm:spPr/>
    </dgm:pt>
    <dgm:pt modelId="{116C6AED-B4AF-4672-832A-856EA7CE238A}" type="pres">
      <dgm:prSet presAssocID="{779CC59C-837D-4DE2-A5E0-C077CD36DE8F}" presName="sibTrans" presStyleLbl="sibTrans2D1" presStyleIdx="0" presStyleCnt="0"/>
      <dgm:spPr/>
    </dgm:pt>
    <dgm:pt modelId="{C19478F4-D411-4CE4-A292-CEB5EBEDDAA4}" type="pres">
      <dgm:prSet presAssocID="{9CC48761-150A-4FE3-B8F5-9EE509C330F9}" presName="compNode" presStyleCnt="0"/>
      <dgm:spPr/>
    </dgm:pt>
    <dgm:pt modelId="{C627725A-4394-49B5-9A47-874689EF6D06}" type="pres">
      <dgm:prSet presAssocID="{9CC48761-150A-4FE3-B8F5-9EE509C330F9}" presName="pictRect" presStyleLbl="node1" presStyleIdx="1" presStyleCnt="5"/>
      <dgm:spPr>
        <a:blipFill>
          <a:blip xmlns:r="http://schemas.openxmlformats.org/officeDocument/2006/relationships" r:embed="rId2"/>
          <a:srcRect/>
          <a:stretch>
            <a:fillRect t="-33000" b="-33000"/>
          </a:stretch>
        </a:blipFill>
      </dgm:spPr>
    </dgm:pt>
    <dgm:pt modelId="{AB3894BD-0914-472E-89B5-33DB00917C8C}" type="pres">
      <dgm:prSet presAssocID="{9CC48761-150A-4FE3-B8F5-9EE509C330F9}" presName="textRect" presStyleLbl="revTx" presStyleIdx="1" presStyleCnt="5">
        <dgm:presLayoutVars>
          <dgm:bulletEnabled val="1"/>
        </dgm:presLayoutVars>
      </dgm:prSet>
      <dgm:spPr/>
    </dgm:pt>
    <dgm:pt modelId="{56DBF6AD-E8CA-47E4-9C59-39FAE4F73351}" type="pres">
      <dgm:prSet presAssocID="{5A0623D0-42E6-4933-BAD8-B1D06FF439AA}" presName="sibTrans" presStyleLbl="sibTrans2D1" presStyleIdx="0" presStyleCnt="0"/>
      <dgm:spPr/>
    </dgm:pt>
    <dgm:pt modelId="{CCCE4DA5-2D1F-4AD2-A90F-C4257F092E3C}" type="pres">
      <dgm:prSet presAssocID="{BCCCFA15-D569-424A-BA1B-518911069BB3}" presName="compNode" presStyleCnt="0"/>
      <dgm:spPr/>
    </dgm:pt>
    <dgm:pt modelId="{6A039735-4181-47FE-BB73-44FA86EDB8C1}" type="pres">
      <dgm:prSet presAssocID="{BCCCFA15-D569-424A-BA1B-518911069BB3}" presName="pictRect" presStyleLbl="node1" presStyleIdx="2" presStyleCnt="5" custLinFactNeighborX="4233" custLinFactNeighborY="-1871"/>
      <dgm:spPr>
        <a:blipFill>
          <a:blip xmlns:r="http://schemas.openxmlformats.org/officeDocument/2006/relationships" r:embed="rId3"/>
          <a:stretch>
            <a:fillRect t="-33000" b="-33000"/>
          </a:stretch>
        </a:blipFill>
      </dgm:spPr>
    </dgm:pt>
    <dgm:pt modelId="{9629D65A-08A8-409A-B5B2-F90456EFF041}" type="pres">
      <dgm:prSet presAssocID="{BCCCFA15-D569-424A-BA1B-518911069BB3}" presName="textRect" presStyleLbl="revTx" presStyleIdx="2" presStyleCnt="5">
        <dgm:presLayoutVars>
          <dgm:bulletEnabled val="1"/>
        </dgm:presLayoutVars>
      </dgm:prSet>
      <dgm:spPr/>
    </dgm:pt>
    <dgm:pt modelId="{BEC9B84B-2C36-4AD5-A250-E40B3BB8E083}" type="pres">
      <dgm:prSet presAssocID="{AAC2701D-2DD0-48B4-AE9E-AFD79CA61494}" presName="sibTrans" presStyleLbl="sibTrans2D1" presStyleIdx="0" presStyleCnt="0"/>
      <dgm:spPr/>
    </dgm:pt>
    <dgm:pt modelId="{A51B9F6D-B5A9-44DE-AF6F-6590A48C99AE}" type="pres">
      <dgm:prSet presAssocID="{F4C8DDD9-7E81-4A54-B664-0A89FF1C6A30}" presName="compNode" presStyleCnt="0"/>
      <dgm:spPr/>
    </dgm:pt>
    <dgm:pt modelId="{A15E40F7-09C4-497D-9515-33C02FCD1036}" type="pres">
      <dgm:prSet presAssocID="{F4C8DDD9-7E81-4A54-B664-0A89FF1C6A30}" presName="pictRect" presStyleLbl="node1" presStyleIdx="3" presStyleCnt="5"/>
      <dgm:spPr>
        <a:blipFill>
          <a:blip xmlns:r="http://schemas.openxmlformats.org/officeDocument/2006/relationships" r:embed="rId4"/>
          <a:stretch>
            <a:fillRect/>
          </a:stretch>
        </a:blipFill>
      </dgm:spPr>
    </dgm:pt>
    <dgm:pt modelId="{60DCFC0C-A0CD-4C62-B87C-5445F38047C2}" type="pres">
      <dgm:prSet presAssocID="{F4C8DDD9-7E81-4A54-B664-0A89FF1C6A30}" presName="textRect" presStyleLbl="revTx" presStyleIdx="3" presStyleCnt="5">
        <dgm:presLayoutVars>
          <dgm:bulletEnabled val="1"/>
        </dgm:presLayoutVars>
      </dgm:prSet>
      <dgm:spPr/>
    </dgm:pt>
    <dgm:pt modelId="{C380C258-136B-4118-B158-DC7655AF9168}" type="pres">
      <dgm:prSet presAssocID="{85A20CF3-2336-4FD5-9F25-55153EFA3529}" presName="sibTrans" presStyleLbl="sibTrans2D1" presStyleIdx="0" presStyleCnt="0"/>
      <dgm:spPr/>
    </dgm:pt>
    <dgm:pt modelId="{63FB3AF5-78FB-47AB-888D-60EBB0DA0234}" type="pres">
      <dgm:prSet presAssocID="{A31B6CC7-F906-4788-8BC6-4E79D80F734B}" presName="compNode" presStyleCnt="0"/>
      <dgm:spPr/>
    </dgm:pt>
    <dgm:pt modelId="{74A8C6A5-85E6-4F30-A3EA-24F445871BA1}" type="pres">
      <dgm:prSet presAssocID="{A31B6CC7-F906-4788-8BC6-4E79D80F734B}" presName="pictRect" presStyleLbl="node1" presStyleIdx="4" presStyleCnt="5"/>
      <dgm:spPr>
        <a:blipFill>
          <a:blip xmlns:r="http://schemas.openxmlformats.org/officeDocument/2006/relationships" r:embed="rId5"/>
          <a:stretch>
            <a:fillRect t="-33000" b="-33000"/>
          </a:stretch>
        </a:blipFill>
      </dgm:spPr>
    </dgm:pt>
    <dgm:pt modelId="{1165E2DD-E2F9-4AC9-83BA-7D4556557C2F}" type="pres">
      <dgm:prSet presAssocID="{A31B6CC7-F906-4788-8BC6-4E79D80F734B}" presName="textRect" presStyleLbl="revTx" presStyleIdx="4" presStyleCnt="5">
        <dgm:presLayoutVars>
          <dgm:bulletEnabled val="1"/>
        </dgm:presLayoutVars>
      </dgm:prSet>
      <dgm:spPr/>
    </dgm:pt>
  </dgm:ptLst>
  <dgm:cxnLst>
    <dgm:cxn modelId="{6D01B70C-974F-4B65-A795-60DB25E76E13}" srcId="{9322368A-611A-4261-A613-95F1BFD0ABA2}" destId="{F4C8DDD9-7E81-4A54-B664-0A89FF1C6A30}" srcOrd="3" destOrd="0" parTransId="{F8B98B26-C383-4782-8727-CF362667D02D}" sibTransId="{85A20CF3-2336-4FD5-9F25-55153EFA3529}"/>
    <dgm:cxn modelId="{C09C6065-FFB5-4CB5-8869-3098EB64175C}" type="presOf" srcId="{F4C8DDD9-7E81-4A54-B664-0A89FF1C6A30}" destId="{60DCFC0C-A0CD-4C62-B87C-5445F38047C2}" srcOrd="0" destOrd="0" presId="urn:microsoft.com/office/officeart/2005/8/layout/pList1"/>
    <dgm:cxn modelId="{022D6748-833E-474E-977F-2FF24944F953}" srcId="{9322368A-611A-4261-A613-95F1BFD0ABA2}" destId="{BF962D82-99D3-444F-AD74-FC2BF4FCF2E0}" srcOrd="0" destOrd="0" parTransId="{538EE949-F29E-4054-8B7A-F0173BE291C5}" sibTransId="{779CC59C-837D-4DE2-A5E0-C077CD36DE8F}"/>
    <dgm:cxn modelId="{F1D2E26D-E870-4F24-B46E-EBC47079751F}" type="presOf" srcId="{AAC2701D-2DD0-48B4-AE9E-AFD79CA61494}" destId="{BEC9B84B-2C36-4AD5-A250-E40B3BB8E083}" srcOrd="0" destOrd="0" presId="urn:microsoft.com/office/officeart/2005/8/layout/pList1"/>
    <dgm:cxn modelId="{51867658-A25B-464F-9A7C-CC20C8A266DD}" type="presOf" srcId="{779CC59C-837D-4DE2-A5E0-C077CD36DE8F}" destId="{116C6AED-B4AF-4672-832A-856EA7CE238A}" srcOrd="0" destOrd="0" presId="urn:microsoft.com/office/officeart/2005/8/layout/pList1"/>
    <dgm:cxn modelId="{6E32A07F-DB73-432E-90B3-E21426C49B84}" type="presOf" srcId="{A31B6CC7-F906-4788-8BC6-4E79D80F734B}" destId="{1165E2DD-E2F9-4AC9-83BA-7D4556557C2F}" srcOrd="0" destOrd="0" presId="urn:microsoft.com/office/officeart/2005/8/layout/pList1"/>
    <dgm:cxn modelId="{790F5E85-DDB1-416A-A79C-6320A4CCC575}" type="presOf" srcId="{85A20CF3-2336-4FD5-9F25-55153EFA3529}" destId="{C380C258-136B-4118-B158-DC7655AF9168}" srcOrd="0" destOrd="0" presId="urn:microsoft.com/office/officeart/2005/8/layout/pList1"/>
    <dgm:cxn modelId="{852DCC85-7290-4FAC-B3E4-D77CAA6ECE89}" type="presOf" srcId="{9322368A-611A-4261-A613-95F1BFD0ABA2}" destId="{1555DA83-D929-4B43-99D8-F4ACA4FC371C}" srcOrd="0" destOrd="0" presId="urn:microsoft.com/office/officeart/2005/8/layout/pList1"/>
    <dgm:cxn modelId="{38372398-B866-4AA3-81A0-1B96CFF15735}" srcId="{9322368A-611A-4261-A613-95F1BFD0ABA2}" destId="{A31B6CC7-F906-4788-8BC6-4E79D80F734B}" srcOrd="4" destOrd="0" parTransId="{F9D24AFF-833F-416E-925C-9EF3C6E4631E}" sibTransId="{A72AE05A-9239-4101-9DD9-99ECE4425062}"/>
    <dgm:cxn modelId="{42F662A9-6F39-4680-810D-59D605D2BF44}" type="presOf" srcId="{BF962D82-99D3-444F-AD74-FC2BF4FCF2E0}" destId="{C0E8371D-F60A-41C4-9D1C-0ADEAEC1F6A5}" srcOrd="0" destOrd="0" presId="urn:microsoft.com/office/officeart/2005/8/layout/pList1"/>
    <dgm:cxn modelId="{5D20FEBA-020A-4DB4-9D69-ED442B67F3D7}" srcId="{9322368A-611A-4261-A613-95F1BFD0ABA2}" destId="{9CC48761-150A-4FE3-B8F5-9EE509C330F9}" srcOrd="1" destOrd="0" parTransId="{D35F38B4-A17C-447B-9BB2-957C3568835C}" sibTransId="{5A0623D0-42E6-4933-BAD8-B1D06FF439AA}"/>
    <dgm:cxn modelId="{07C1EEC5-A38A-4A56-A616-DD0D9E575959}" srcId="{9322368A-611A-4261-A613-95F1BFD0ABA2}" destId="{BCCCFA15-D569-424A-BA1B-518911069BB3}" srcOrd="2" destOrd="0" parTransId="{D6DE39FA-8567-4A0E-8DFA-2E67F67A278E}" sibTransId="{AAC2701D-2DD0-48B4-AE9E-AFD79CA61494}"/>
    <dgm:cxn modelId="{F5B787F6-5F94-4E7F-8581-E763A5BE0828}" type="presOf" srcId="{5A0623D0-42E6-4933-BAD8-B1D06FF439AA}" destId="{56DBF6AD-E8CA-47E4-9C59-39FAE4F73351}" srcOrd="0" destOrd="0" presId="urn:microsoft.com/office/officeart/2005/8/layout/pList1"/>
    <dgm:cxn modelId="{A65610FC-4EC5-4058-9FE1-F6A1ABF57645}" type="presOf" srcId="{9CC48761-150A-4FE3-B8F5-9EE509C330F9}" destId="{AB3894BD-0914-472E-89B5-33DB00917C8C}" srcOrd="0" destOrd="0" presId="urn:microsoft.com/office/officeart/2005/8/layout/pList1"/>
    <dgm:cxn modelId="{E1A379FF-4F70-4156-ACDE-717D51C90263}" type="presOf" srcId="{BCCCFA15-D569-424A-BA1B-518911069BB3}" destId="{9629D65A-08A8-409A-B5B2-F90456EFF041}" srcOrd="0" destOrd="0" presId="urn:microsoft.com/office/officeart/2005/8/layout/pList1"/>
    <dgm:cxn modelId="{E8404FE0-10A8-4156-AA66-5C3F47A2A77B}" type="presParOf" srcId="{1555DA83-D929-4B43-99D8-F4ACA4FC371C}" destId="{C8D7AA4F-1E11-46C5-8895-E2C0A0449F56}" srcOrd="0" destOrd="0" presId="urn:microsoft.com/office/officeart/2005/8/layout/pList1"/>
    <dgm:cxn modelId="{C63FDFDD-E2DE-4092-A4A4-A3D3EFF8C2CE}" type="presParOf" srcId="{C8D7AA4F-1E11-46C5-8895-E2C0A0449F56}" destId="{FB99F421-7730-4011-A7B7-E92984AA37CD}" srcOrd="0" destOrd="0" presId="urn:microsoft.com/office/officeart/2005/8/layout/pList1"/>
    <dgm:cxn modelId="{E31C3117-CF99-469D-A0EF-10D40DD2D26B}" type="presParOf" srcId="{C8D7AA4F-1E11-46C5-8895-E2C0A0449F56}" destId="{C0E8371D-F60A-41C4-9D1C-0ADEAEC1F6A5}" srcOrd="1" destOrd="0" presId="urn:microsoft.com/office/officeart/2005/8/layout/pList1"/>
    <dgm:cxn modelId="{79EF79FC-B845-4897-A791-AD4747BE1564}" type="presParOf" srcId="{1555DA83-D929-4B43-99D8-F4ACA4FC371C}" destId="{116C6AED-B4AF-4672-832A-856EA7CE238A}" srcOrd="1" destOrd="0" presId="urn:microsoft.com/office/officeart/2005/8/layout/pList1"/>
    <dgm:cxn modelId="{3E46ECEE-69DC-42C7-93A4-8A0A28CFA3BA}" type="presParOf" srcId="{1555DA83-D929-4B43-99D8-F4ACA4FC371C}" destId="{C19478F4-D411-4CE4-A292-CEB5EBEDDAA4}" srcOrd="2" destOrd="0" presId="urn:microsoft.com/office/officeart/2005/8/layout/pList1"/>
    <dgm:cxn modelId="{CAC30F69-BF14-4DA1-8968-6FC38BE599CE}" type="presParOf" srcId="{C19478F4-D411-4CE4-A292-CEB5EBEDDAA4}" destId="{C627725A-4394-49B5-9A47-874689EF6D06}" srcOrd="0" destOrd="0" presId="urn:microsoft.com/office/officeart/2005/8/layout/pList1"/>
    <dgm:cxn modelId="{36C82969-2933-4011-8659-45D33CB78E93}" type="presParOf" srcId="{C19478F4-D411-4CE4-A292-CEB5EBEDDAA4}" destId="{AB3894BD-0914-472E-89B5-33DB00917C8C}" srcOrd="1" destOrd="0" presId="urn:microsoft.com/office/officeart/2005/8/layout/pList1"/>
    <dgm:cxn modelId="{9186648A-3107-454D-8ECB-D38C322FD695}" type="presParOf" srcId="{1555DA83-D929-4B43-99D8-F4ACA4FC371C}" destId="{56DBF6AD-E8CA-47E4-9C59-39FAE4F73351}" srcOrd="3" destOrd="0" presId="urn:microsoft.com/office/officeart/2005/8/layout/pList1"/>
    <dgm:cxn modelId="{E60D30E7-F6CC-4D88-9F16-6C5782310DA9}" type="presParOf" srcId="{1555DA83-D929-4B43-99D8-F4ACA4FC371C}" destId="{CCCE4DA5-2D1F-4AD2-A90F-C4257F092E3C}" srcOrd="4" destOrd="0" presId="urn:microsoft.com/office/officeart/2005/8/layout/pList1"/>
    <dgm:cxn modelId="{25F6E3BF-EB48-41DC-85EC-2DA84FC4FD83}" type="presParOf" srcId="{CCCE4DA5-2D1F-4AD2-A90F-C4257F092E3C}" destId="{6A039735-4181-47FE-BB73-44FA86EDB8C1}" srcOrd="0" destOrd="0" presId="urn:microsoft.com/office/officeart/2005/8/layout/pList1"/>
    <dgm:cxn modelId="{0881BA9D-2887-4E35-96E7-F605A44D0BAC}" type="presParOf" srcId="{CCCE4DA5-2D1F-4AD2-A90F-C4257F092E3C}" destId="{9629D65A-08A8-409A-B5B2-F90456EFF041}" srcOrd="1" destOrd="0" presId="urn:microsoft.com/office/officeart/2005/8/layout/pList1"/>
    <dgm:cxn modelId="{EDBE3CF8-A5DF-4CF6-86DD-D6A64F478CE8}" type="presParOf" srcId="{1555DA83-D929-4B43-99D8-F4ACA4FC371C}" destId="{BEC9B84B-2C36-4AD5-A250-E40B3BB8E083}" srcOrd="5" destOrd="0" presId="urn:microsoft.com/office/officeart/2005/8/layout/pList1"/>
    <dgm:cxn modelId="{D67A153B-32B4-432E-8106-A5BEE8E1A79A}" type="presParOf" srcId="{1555DA83-D929-4B43-99D8-F4ACA4FC371C}" destId="{A51B9F6D-B5A9-44DE-AF6F-6590A48C99AE}" srcOrd="6" destOrd="0" presId="urn:microsoft.com/office/officeart/2005/8/layout/pList1"/>
    <dgm:cxn modelId="{9CC2E6BC-1A2C-4FE2-A6AA-B090AC817C8F}" type="presParOf" srcId="{A51B9F6D-B5A9-44DE-AF6F-6590A48C99AE}" destId="{A15E40F7-09C4-497D-9515-33C02FCD1036}" srcOrd="0" destOrd="0" presId="urn:microsoft.com/office/officeart/2005/8/layout/pList1"/>
    <dgm:cxn modelId="{3890E237-C027-4E44-B642-65D4F9D25E01}" type="presParOf" srcId="{A51B9F6D-B5A9-44DE-AF6F-6590A48C99AE}" destId="{60DCFC0C-A0CD-4C62-B87C-5445F38047C2}" srcOrd="1" destOrd="0" presId="urn:microsoft.com/office/officeart/2005/8/layout/pList1"/>
    <dgm:cxn modelId="{9B62DA55-B90A-4852-B303-FF380DAA0C77}" type="presParOf" srcId="{1555DA83-D929-4B43-99D8-F4ACA4FC371C}" destId="{C380C258-136B-4118-B158-DC7655AF9168}" srcOrd="7" destOrd="0" presId="urn:microsoft.com/office/officeart/2005/8/layout/pList1"/>
    <dgm:cxn modelId="{6C8367F6-5579-4BF4-8EEE-1A6B0437EB0C}" type="presParOf" srcId="{1555DA83-D929-4B43-99D8-F4ACA4FC371C}" destId="{63FB3AF5-78FB-47AB-888D-60EBB0DA0234}" srcOrd="8" destOrd="0" presId="urn:microsoft.com/office/officeart/2005/8/layout/pList1"/>
    <dgm:cxn modelId="{848819AA-D4BD-4DA4-9576-F5CDDBA2AF0A}" type="presParOf" srcId="{63FB3AF5-78FB-47AB-888D-60EBB0DA0234}" destId="{74A8C6A5-85E6-4F30-A3EA-24F445871BA1}" srcOrd="0" destOrd="0" presId="urn:microsoft.com/office/officeart/2005/8/layout/pList1"/>
    <dgm:cxn modelId="{9D02CE13-7219-4386-94EB-7FCD0D60E16C}" type="presParOf" srcId="{63FB3AF5-78FB-47AB-888D-60EBB0DA0234}" destId="{1165E2DD-E2F9-4AC9-83BA-7D4556557C2F}" srcOrd="1" destOrd="0" presId="urn:microsoft.com/office/officeart/2005/8/layout/p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8053E1E-2B3B-4391-A4CA-74E99BE911B5}" type="doc">
      <dgm:prSet loTypeId="urn:microsoft.com/office/officeart/2005/8/layout/venn1" loCatId="relationship" qsTypeId="urn:microsoft.com/office/officeart/2005/8/quickstyle/simple1" qsCatId="simple" csTypeId="urn:microsoft.com/office/officeart/2005/8/colors/accent2_3" csCatId="accent2" phldr="1"/>
      <dgm:spPr/>
      <dgm:t>
        <a:bodyPr/>
        <a:lstStyle/>
        <a:p>
          <a:endParaRPr lang="zh-TW" altLang="en-US"/>
        </a:p>
      </dgm:t>
    </dgm:pt>
    <dgm:pt modelId="{7B5E3186-38A5-4926-8D59-D8584F0816E4}">
      <dgm:prSet/>
      <dgm:spPr/>
      <dgm:t>
        <a:bodyPr/>
        <a:lstStyle/>
        <a:p>
          <a:pPr rtl="0"/>
          <a:r>
            <a:rPr lang="en-US" dirty="0"/>
            <a:t>The College  integrates humanities and arts. It is committed to teaching, research, application and development of both theory and activity. </a:t>
          </a:r>
          <a:endParaRPr lang="zh-TW" dirty="0"/>
        </a:p>
      </dgm:t>
    </dgm:pt>
    <dgm:pt modelId="{95AFB679-2798-49B1-9B1F-1B0F522CA482}" type="parTrans" cxnId="{F80B912D-CFAA-4D59-A80B-2818EF885605}">
      <dgm:prSet/>
      <dgm:spPr/>
      <dgm:t>
        <a:bodyPr/>
        <a:lstStyle/>
        <a:p>
          <a:endParaRPr lang="zh-TW" altLang="en-US"/>
        </a:p>
      </dgm:t>
    </dgm:pt>
    <dgm:pt modelId="{37DF8E72-13A5-4FBA-915B-FB45BB8A5A84}" type="sibTrans" cxnId="{F80B912D-CFAA-4D59-A80B-2818EF885605}">
      <dgm:prSet/>
      <dgm:spPr/>
      <dgm:t>
        <a:bodyPr/>
        <a:lstStyle/>
        <a:p>
          <a:endParaRPr lang="zh-TW" altLang="en-US"/>
        </a:p>
      </dgm:t>
    </dgm:pt>
    <dgm:pt modelId="{7106C079-E018-4F84-A830-D9E35D63511B}" type="pres">
      <dgm:prSet presAssocID="{78053E1E-2B3B-4391-A4CA-74E99BE911B5}" presName="compositeShape" presStyleCnt="0">
        <dgm:presLayoutVars>
          <dgm:chMax val="7"/>
          <dgm:dir/>
          <dgm:resizeHandles val="exact"/>
        </dgm:presLayoutVars>
      </dgm:prSet>
      <dgm:spPr/>
    </dgm:pt>
    <dgm:pt modelId="{6D989AAE-2331-4702-9894-6D8433F8A647}" type="pres">
      <dgm:prSet presAssocID="{7B5E3186-38A5-4926-8D59-D8584F0816E4}" presName="circ1TxSh" presStyleLbl="vennNode1" presStyleIdx="0" presStyleCnt="1" custScaleY="100031"/>
      <dgm:spPr/>
    </dgm:pt>
  </dgm:ptLst>
  <dgm:cxnLst>
    <dgm:cxn modelId="{1C5D3F11-D753-4A35-B10B-60870AFECB55}" type="presOf" srcId="{78053E1E-2B3B-4391-A4CA-74E99BE911B5}" destId="{7106C079-E018-4F84-A830-D9E35D63511B}" srcOrd="0" destOrd="0" presId="urn:microsoft.com/office/officeart/2005/8/layout/venn1"/>
    <dgm:cxn modelId="{F80B912D-CFAA-4D59-A80B-2818EF885605}" srcId="{78053E1E-2B3B-4391-A4CA-74E99BE911B5}" destId="{7B5E3186-38A5-4926-8D59-D8584F0816E4}" srcOrd="0" destOrd="0" parTransId="{95AFB679-2798-49B1-9B1F-1B0F522CA482}" sibTransId="{37DF8E72-13A5-4FBA-915B-FB45BB8A5A84}"/>
    <dgm:cxn modelId="{6A0AA441-0BE1-4B20-8F1F-D267B27EE4CC}" type="presOf" srcId="{7B5E3186-38A5-4926-8D59-D8584F0816E4}" destId="{6D989AAE-2331-4702-9894-6D8433F8A647}" srcOrd="0" destOrd="0" presId="urn:microsoft.com/office/officeart/2005/8/layout/venn1"/>
    <dgm:cxn modelId="{67204276-9F50-4420-A172-75860B9FA8D2}" type="presParOf" srcId="{7106C079-E018-4F84-A830-D9E35D63511B}" destId="{6D989AAE-2331-4702-9894-6D8433F8A647}" srcOrd="0" destOrd="0" presId="urn:microsoft.com/office/officeart/2005/8/layout/venn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B687DC-CE97-46B0-B421-CBE44DED7E7C}" type="doc">
      <dgm:prSet loTypeId="urn:microsoft.com/office/officeart/2005/8/layout/vList2" loCatId="list" qsTypeId="urn:microsoft.com/office/officeart/2005/8/quickstyle/simple1" qsCatId="simple" csTypeId="urn:microsoft.com/office/officeart/2005/8/colors/accent2_4" csCatId="accent2" phldr="1"/>
      <dgm:spPr/>
      <dgm:t>
        <a:bodyPr/>
        <a:lstStyle/>
        <a:p>
          <a:endParaRPr lang="zh-TW" altLang="en-US"/>
        </a:p>
      </dgm:t>
    </dgm:pt>
    <dgm:pt modelId="{C14192BA-DBE4-45FE-BDC7-66CBE3D5A90E}">
      <dgm:prSet custT="1"/>
      <dgm:spPr/>
      <dgm:t>
        <a:bodyPr/>
        <a:lstStyle/>
        <a:p>
          <a:pPr rtl="0"/>
          <a:r>
            <a:rPr lang="en-US" sz="2800" b="1" dirty="0"/>
            <a:t>Department</a:t>
          </a:r>
          <a:r>
            <a:rPr lang="zh-TW" sz="2800" b="1" dirty="0"/>
            <a:t> </a:t>
          </a:r>
          <a:r>
            <a:rPr lang="en-US" sz="2800" b="1" dirty="0"/>
            <a:t>of…</a:t>
          </a:r>
          <a:endParaRPr lang="zh-TW" sz="2800" dirty="0"/>
        </a:p>
      </dgm:t>
    </dgm:pt>
    <dgm:pt modelId="{701F5EDB-5FF6-4D17-B47A-742CE82782DF}" type="parTrans" cxnId="{7BFF0F2F-C8C1-4611-9130-2C17944C1C56}">
      <dgm:prSet/>
      <dgm:spPr/>
      <dgm:t>
        <a:bodyPr/>
        <a:lstStyle/>
        <a:p>
          <a:endParaRPr lang="zh-TW" altLang="en-US"/>
        </a:p>
      </dgm:t>
    </dgm:pt>
    <dgm:pt modelId="{91C30BAF-24B8-4DE0-A592-72D2937E8FC4}" type="sibTrans" cxnId="{7BFF0F2F-C8C1-4611-9130-2C17944C1C56}">
      <dgm:prSet/>
      <dgm:spPr/>
      <dgm:t>
        <a:bodyPr/>
        <a:lstStyle/>
        <a:p>
          <a:endParaRPr lang="zh-TW" altLang="en-US"/>
        </a:p>
      </dgm:t>
    </dgm:pt>
    <dgm:pt modelId="{32A922EF-EA91-4CE7-85DA-F2161C3B86FE}">
      <dgm:prSet/>
      <dgm:spPr/>
      <dgm:t>
        <a:bodyPr/>
        <a:lstStyle/>
        <a:p>
          <a:pPr rtl="0"/>
          <a:r>
            <a:rPr lang="en-US" dirty="0">
              <a:solidFill>
                <a:schemeClr val="tx1">
                  <a:lumMod val="50000"/>
                </a:schemeClr>
              </a:solidFill>
            </a:rPr>
            <a:t>Business Administration</a:t>
          </a:r>
          <a:endParaRPr lang="zh-TW" dirty="0">
            <a:solidFill>
              <a:schemeClr val="tx1">
                <a:lumMod val="50000"/>
              </a:schemeClr>
            </a:solidFill>
          </a:endParaRPr>
        </a:p>
      </dgm:t>
    </dgm:pt>
    <dgm:pt modelId="{38B7DBB1-C994-4151-A02A-B66BC801D53E}" type="parTrans" cxnId="{970C49AE-03E5-4A64-957B-1650E5DA2213}">
      <dgm:prSet/>
      <dgm:spPr/>
      <dgm:t>
        <a:bodyPr/>
        <a:lstStyle/>
        <a:p>
          <a:endParaRPr lang="zh-TW" altLang="en-US"/>
        </a:p>
      </dgm:t>
    </dgm:pt>
    <dgm:pt modelId="{2D9D51BB-90D1-4462-AB9D-323DD1A7BABA}" type="sibTrans" cxnId="{970C49AE-03E5-4A64-957B-1650E5DA2213}">
      <dgm:prSet/>
      <dgm:spPr/>
      <dgm:t>
        <a:bodyPr/>
        <a:lstStyle/>
        <a:p>
          <a:endParaRPr lang="zh-TW" altLang="en-US"/>
        </a:p>
      </dgm:t>
    </dgm:pt>
    <dgm:pt modelId="{418F27BE-35DF-42A1-B0DE-6AC43FCD7C0E}">
      <dgm:prSet/>
      <dgm:spPr/>
      <dgm:t>
        <a:bodyPr/>
        <a:lstStyle/>
        <a:p>
          <a:pPr rtl="0"/>
          <a:r>
            <a:rPr lang="en-US" dirty="0">
              <a:solidFill>
                <a:schemeClr val="tx1">
                  <a:lumMod val="50000"/>
                </a:schemeClr>
              </a:solidFill>
            </a:rPr>
            <a:t>Banking and Finance</a:t>
          </a:r>
          <a:endParaRPr lang="zh-TW" dirty="0">
            <a:solidFill>
              <a:schemeClr val="tx1">
                <a:lumMod val="50000"/>
              </a:schemeClr>
            </a:solidFill>
          </a:endParaRPr>
        </a:p>
      </dgm:t>
    </dgm:pt>
    <dgm:pt modelId="{45B7B779-B7B9-4C97-A10D-534A7D5CF60C}" type="parTrans" cxnId="{9F305965-9DBB-406E-BD33-5C1662BB663B}">
      <dgm:prSet/>
      <dgm:spPr/>
      <dgm:t>
        <a:bodyPr/>
        <a:lstStyle/>
        <a:p>
          <a:endParaRPr lang="zh-TW" altLang="en-US"/>
        </a:p>
      </dgm:t>
    </dgm:pt>
    <dgm:pt modelId="{9F367762-12B4-440B-9C35-CD63218E3BB2}" type="sibTrans" cxnId="{9F305965-9DBB-406E-BD33-5C1662BB663B}">
      <dgm:prSet/>
      <dgm:spPr/>
      <dgm:t>
        <a:bodyPr/>
        <a:lstStyle/>
        <a:p>
          <a:endParaRPr lang="zh-TW" altLang="en-US"/>
        </a:p>
      </dgm:t>
    </dgm:pt>
    <dgm:pt modelId="{3A5504B3-19A4-48F3-96B7-25A744DFFD02}">
      <dgm:prSet/>
      <dgm:spPr/>
      <dgm:t>
        <a:bodyPr/>
        <a:lstStyle/>
        <a:p>
          <a:pPr rtl="0"/>
          <a:r>
            <a:rPr lang="en-US" dirty="0">
              <a:solidFill>
                <a:schemeClr val="tx1">
                  <a:lumMod val="50000"/>
                </a:schemeClr>
              </a:solidFill>
            </a:rPr>
            <a:t>Applied Economics</a:t>
          </a:r>
          <a:endParaRPr lang="zh-TW" dirty="0">
            <a:solidFill>
              <a:schemeClr val="tx1">
                <a:lumMod val="50000"/>
              </a:schemeClr>
            </a:solidFill>
          </a:endParaRPr>
        </a:p>
      </dgm:t>
    </dgm:pt>
    <dgm:pt modelId="{DD9589DF-6476-48F0-A0F6-A7C5C17E623D}" type="parTrans" cxnId="{57CB360C-A207-4436-B2DC-83B805CA7411}">
      <dgm:prSet/>
      <dgm:spPr/>
      <dgm:t>
        <a:bodyPr/>
        <a:lstStyle/>
        <a:p>
          <a:endParaRPr lang="zh-TW" altLang="en-US"/>
        </a:p>
      </dgm:t>
    </dgm:pt>
    <dgm:pt modelId="{4DDFCF35-B834-4E5A-85DC-48D386C4D409}" type="sibTrans" cxnId="{57CB360C-A207-4436-B2DC-83B805CA7411}">
      <dgm:prSet/>
      <dgm:spPr/>
      <dgm:t>
        <a:bodyPr/>
        <a:lstStyle/>
        <a:p>
          <a:endParaRPr lang="zh-TW" altLang="en-US"/>
        </a:p>
      </dgm:t>
    </dgm:pt>
    <dgm:pt modelId="{AF5835CC-736A-4D13-A1FD-02FB2FBDD187}">
      <dgm:prSet/>
      <dgm:spPr/>
      <dgm:t>
        <a:bodyPr/>
        <a:lstStyle/>
        <a:p>
          <a:pPr rtl="0"/>
          <a:r>
            <a:rPr lang="en-US" dirty="0">
              <a:solidFill>
                <a:schemeClr val="tx1">
                  <a:lumMod val="50000"/>
                </a:schemeClr>
              </a:solidFill>
            </a:rPr>
            <a:t>Bio-industry and Agribusiness Administration</a:t>
          </a:r>
          <a:endParaRPr lang="zh-TW" dirty="0">
            <a:solidFill>
              <a:schemeClr val="tx1">
                <a:lumMod val="50000"/>
              </a:schemeClr>
            </a:solidFill>
          </a:endParaRPr>
        </a:p>
      </dgm:t>
    </dgm:pt>
    <dgm:pt modelId="{BF1E3F0C-1772-4EB4-A575-B421606D3220}" type="parTrans" cxnId="{1A62E552-C334-4DC2-BDE6-42675AD10238}">
      <dgm:prSet/>
      <dgm:spPr/>
      <dgm:t>
        <a:bodyPr/>
        <a:lstStyle/>
        <a:p>
          <a:endParaRPr lang="zh-TW" altLang="en-US"/>
        </a:p>
      </dgm:t>
    </dgm:pt>
    <dgm:pt modelId="{90F20A57-48F6-4449-BAD2-A65BBF60F9DA}" type="sibTrans" cxnId="{1A62E552-C334-4DC2-BDE6-42675AD10238}">
      <dgm:prSet/>
      <dgm:spPr/>
      <dgm:t>
        <a:bodyPr/>
        <a:lstStyle/>
        <a:p>
          <a:endParaRPr lang="zh-TW" altLang="en-US"/>
        </a:p>
      </dgm:t>
    </dgm:pt>
    <dgm:pt modelId="{D4F6AA99-F26F-4CEA-90FE-9A43F6BFF3E3}">
      <dgm:prSet/>
      <dgm:spPr/>
      <dgm:t>
        <a:bodyPr/>
        <a:lstStyle/>
        <a:p>
          <a:pPr rtl="0"/>
          <a:r>
            <a:rPr lang="en-US" dirty="0">
              <a:solidFill>
                <a:schemeClr val="tx1">
                  <a:lumMod val="50000"/>
                </a:schemeClr>
              </a:solidFill>
            </a:rPr>
            <a:t>Management Information Systems</a:t>
          </a:r>
          <a:endParaRPr lang="zh-TW" dirty="0">
            <a:solidFill>
              <a:schemeClr val="tx1">
                <a:lumMod val="50000"/>
              </a:schemeClr>
            </a:solidFill>
          </a:endParaRPr>
        </a:p>
      </dgm:t>
    </dgm:pt>
    <dgm:pt modelId="{CF7DFAF0-AE11-4ED6-8B6E-06B4163F86A8}" type="parTrans" cxnId="{B649D685-C0E7-4624-9BF4-DA7F34C54FA1}">
      <dgm:prSet/>
      <dgm:spPr/>
      <dgm:t>
        <a:bodyPr/>
        <a:lstStyle/>
        <a:p>
          <a:endParaRPr lang="zh-TW" altLang="en-US"/>
        </a:p>
      </dgm:t>
    </dgm:pt>
    <dgm:pt modelId="{AC5C3D6E-03E8-4343-AF6A-59D7918FF436}" type="sibTrans" cxnId="{B649D685-C0E7-4624-9BF4-DA7F34C54FA1}">
      <dgm:prSet/>
      <dgm:spPr/>
      <dgm:t>
        <a:bodyPr/>
        <a:lstStyle/>
        <a:p>
          <a:endParaRPr lang="zh-TW" altLang="en-US"/>
        </a:p>
      </dgm:t>
    </dgm:pt>
    <dgm:pt modelId="{CD166093-643E-4E50-9ABB-6767255D5DDD}">
      <dgm:prSet/>
      <dgm:spPr/>
      <dgm:t>
        <a:bodyPr/>
        <a:lstStyle/>
        <a:p>
          <a:pPr rtl="0"/>
          <a:r>
            <a:rPr lang="en-US" dirty="0">
              <a:solidFill>
                <a:schemeClr val="tx1">
                  <a:lumMod val="50000"/>
                </a:schemeClr>
              </a:solidFill>
            </a:rPr>
            <a:t>Marketing and Logistics/Transportation</a:t>
          </a:r>
          <a:endParaRPr lang="zh-TW" dirty="0">
            <a:solidFill>
              <a:schemeClr val="tx1">
                <a:lumMod val="50000"/>
              </a:schemeClr>
            </a:solidFill>
          </a:endParaRPr>
        </a:p>
      </dgm:t>
    </dgm:pt>
    <dgm:pt modelId="{488326CE-4617-43B4-8EA9-59225D95122A}" type="parTrans" cxnId="{63D1887C-D4A4-43AF-A107-7387963B5164}">
      <dgm:prSet/>
      <dgm:spPr/>
      <dgm:t>
        <a:bodyPr/>
        <a:lstStyle/>
        <a:p>
          <a:endParaRPr lang="zh-TW" altLang="en-US"/>
        </a:p>
      </dgm:t>
    </dgm:pt>
    <dgm:pt modelId="{0B1862F0-486B-4026-9A15-D3C269BA4E62}" type="sibTrans" cxnId="{63D1887C-D4A4-43AF-A107-7387963B5164}">
      <dgm:prSet/>
      <dgm:spPr/>
      <dgm:t>
        <a:bodyPr/>
        <a:lstStyle/>
        <a:p>
          <a:endParaRPr lang="zh-TW" altLang="en-US"/>
        </a:p>
      </dgm:t>
    </dgm:pt>
    <dgm:pt modelId="{E4C45F92-9918-4795-AFF4-9D9CC9ACD89D}">
      <dgm:prSet custT="1"/>
      <dgm:spPr/>
      <dgm:t>
        <a:bodyPr/>
        <a:lstStyle/>
        <a:p>
          <a:pPr rtl="0"/>
          <a:r>
            <a:rPr lang="en-US" sz="2800" dirty="0">
              <a:solidFill>
                <a:schemeClr val="tx1">
                  <a:lumMod val="50000"/>
                </a:schemeClr>
              </a:solidFill>
            </a:rPr>
            <a:t>Programs</a:t>
          </a:r>
          <a:endParaRPr lang="zh-TW" sz="2800" dirty="0">
            <a:solidFill>
              <a:schemeClr val="tx1">
                <a:lumMod val="50000"/>
              </a:schemeClr>
            </a:solidFill>
          </a:endParaRPr>
        </a:p>
      </dgm:t>
    </dgm:pt>
    <dgm:pt modelId="{D9B09F50-5A43-4339-9DB7-C7D9DA62BCAD}" type="parTrans" cxnId="{C42C27EA-33AA-45A9-8BEE-77253D387374}">
      <dgm:prSet/>
      <dgm:spPr/>
      <dgm:t>
        <a:bodyPr/>
        <a:lstStyle/>
        <a:p>
          <a:endParaRPr lang="zh-TW" altLang="en-US"/>
        </a:p>
      </dgm:t>
    </dgm:pt>
    <dgm:pt modelId="{6B50960E-BCBD-4927-8A1A-6522D21E76FB}" type="sibTrans" cxnId="{C42C27EA-33AA-45A9-8BEE-77253D387374}">
      <dgm:prSet/>
      <dgm:spPr/>
      <dgm:t>
        <a:bodyPr/>
        <a:lstStyle/>
        <a:p>
          <a:endParaRPr lang="zh-TW" altLang="en-US"/>
        </a:p>
      </dgm:t>
    </dgm:pt>
    <dgm:pt modelId="{9BC6DC47-6C87-4B63-8F13-41BC4738AEE0}">
      <dgm:prSet/>
      <dgm:spPr/>
      <dgm:t>
        <a:bodyPr/>
        <a:lstStyle/>
        <a:p>
          <a:pPr rtl="0"/>
          <a:r>
            <a:rPr lang="en-US" i="1" dirty="0">
              <a:solidFill>
                <a:schemeClr val="tx1">
                  <a:lumMod val="50000"/>
                </a:schemeClr>
              </a:solidFill>
            </a:rPr>
            <a:t>Graduate Institute of Recreation,</a:t>
          </a:r>
          <a:r>
            <a:rPr lang="zh-TW" altLang="en-US" i="1" dirty="0">
              <a:solidFill>
                <a:schemeClr val="tx1">
                  <a:lumMod val="50000"/>
                </a:schemeClr>
              </a:solidFill>
            </a:rPr>
            <a:t> </a:t>
          </a:r>
          <a:r>
            <a:rPr lang="en-US" i="1" dirty="0">
              <a:solidFill>
                <a:schemeClr val="tx1">
                  <a:lumMod val="50000"/>
                </a:schemeClr>
              </a:solidFill>
            </a:rPr>
            <a:t>Tourism,</a:t>
          </a:r>
          <a:r>
            <a:rPr lang="zh-TW" i="1" dirty="0">
              <a:solidFill>
                <a:schemeClr val="tx1">
                  <a:lumMod val="50000"/>
                </a:schemeClr>
              </a:solidFill>
            </a:rPr>
            <a:t> </a:t>
          </a:r>
          <a:r>
            <a:rPr lang="en-US" i="1" dirty="0">
              <a:solidFill>
                <a:schemeClr val="tx1">
                  <a:lumMod val="50000"/>
                </a:schemeClr>
              </a:solidFill>
            </a:rPr>
            <a:t>and Hospitality Management</a:t>
          </a:r>
          <a:endParaRPr lang="zh-TW" dirty="0">
            <a:solidFill>
              <a:schemeClr val="tx1">
                <a:lumMod val="50000"/>
              </a:schemeClr>
            </a:solidFill>
          </a:endParaRPr>
        </a:p>
      </dgm:t>
    </dgm:pt>
    <dgm:pt modelId="{9F487990-0F23-4FD2-B2DC-15EF4812FBE8}" type="parTrans" cxnId="{CE4165AA-8111-416D-87CE-29CF93E89B18}">
      <dgm:prSet/>
      <dgm:spPr/>
      <dgm:t>
        <a:bodyPr/>
        <a:lstStyle/>
        <a:p>
          <a:endParaRPr lang="zh-TW" altLang="en-US"/>
        </a:p>
      </dgm:t>
    </dgm:pt>
    <dgm:pt modelId="{22A35642-B4D2-4A81-AF51-918AAE99AB40}" type="sibTrans" cxnId="{CE4165AA-8111-416D-87CE-29CF93E89B18}">
      <dgm:prSet/>
      <dgm:spPr/>
      <dgm:t>
        <a:bodyPr/>
        <a:lstStyle/>
        <a:p>
          <a:endParaRPr lang="zh-TW" altLang="en-US"/>
        </a:p>
      </dgm:t>
    </dgm:pt>
    <dgm:pt modelId="{AF2EAEBB-4FA5-41DA-964C-4137A68A82B3}">
      <dgm:prSet/>
      <dgm:spPr/>
      <dgm:t>
        <a:bodyPr/>
        <a:lstStyle/>
        <a:p>
          <a:pPr rtl="0"/>
          <a:r>
            <a:rPr lang="en-US" i="1" dirty="0">
              <a:solidFill>
                <a:schemeClr val="tx1">
                  <a:lumMod val="50000"/>
                </a:schemeClr>
              </a:solidFill>
            </a:rPr>
            <a:t>Global Master Program of Tourism and Management</a:t>
          </a:r>
          <a:endParaRPr lang="zh-TW" dirty="0">
            <a:solidFill>
              <a:schemeClr val="tx1">
                <a:lumMod val="50000"/>
              </a:schemeClr>
            </a:solidFill>
          </a:endParaRPr>
        </a:p>
      </dgm:t>
    </dgm:pt>
    <dgm:pt modelId="{3FB3D282-7F2D-4142-8D50-C4B640D1C40A}" type="parTrans" cxnId="{199B2B12-3CDA-4B53-886A-17EF3768229C}">
      <dgm:prSet/>
      <dgm:spPr/>
      <dgm:t>
        <a:bodyPr/>
        <a:lstStyle/>
        <a:p>
          <a:endParaRPr lang="zh-TW" altLang="en-US"/>
        </a:p>
      </dgm:t>
    </dgm:pt>
    <dgm:pt modelId="{3E095681-88F5-49D9-BD80-92FDD86AF143}" type="sibTrans" cxnId="{199B2B12-3CDA-4B53-886A-17EF3768229C}">
      <dgm:prSet/>
      <dgm:spPr/>
      <dgm:t>
        <a:bodyPr/>
        <a:lstStyle/>
        <a:p>
          <a:endParaRPr lang="zh-TW" altLang="en-US"/>
        </a:p>
      </dgm:t>
    </dgm:pt>
    <dgm:pt modelId="{005AEEA0-4226-49D4-A4AB-953B7FC5ACFF}">
      <dgm:prSet/>
      <dgm:spPr/>
      <dgm:t>
        <a:bodyPr/>
        <a:lstStyle/>
        <a:p>
          <a:pPr rtl="0"/>
          <a:r>
            <a:rPr lang="en-US" i="1" dirty="0">
              <a:solidFill>
                <a:schemeClr val="tx1">
                  <a:lumMod val="50000"/>
                </a:schemeClr>
              </a:solidFill>
            </a:rPr>
            <a:t>EMBA Program</a:t>
          </a:r>
          <a:endParaRPr lang="zh-TW" dirty="0">
            <a:solidFill>
              <a:schemeClr val="tx1">
                <a:lumMod val="50000"/>
              </a:schemeClr>
            </a:solidFill>
          </a:endParaRPr>
        </a:p>
      </dgm:t>
    </dgm:pt>
    <dgm:pt modelId="{855B5F25-88AD-43A8-80CE-4089665D6DB5}" type="parTrans" cxnId="{F646576A-EEDE-4B76-B5EA-7FC93D3B20B5}">
      <dgm:prSet/>
      <dgm:spPr/>
      <dgm:t>
        <a:bodyPr/>
        <a:lstStyle/>
        <a:p>
          <a:endParaRPr lang="zh-TW" altLang="en-US"/>
        </a:p>
      </dgm:t>
    </dgm:pt>
    <dgm:pt modelId="{FD8EF129-FA8E-4BAC-9D35-D3FB92BF616F}" type="sibTrans" cxnId="{F646576A-EEDE-4B76-B5EA-7FC93D3B20B5}">
      <dgm:prSet/>
      <dgm:spPr/>
      <dgm:t>
        <a:bodyPr/>
        <a:lstStyle/>
        <a:p>
          <a:endParaRPr lang="zh-TW" altLang="en-US"/>
        </a:p>
      </dgm:t>
    </dgm:pt>
    <dgm:pt modelId="{5D721492-DDCC-4BED-8CD3-8F537764DEB0}" type="pres">
      <dgm:prSet presAssocID="{01B687DC-CE97-46B0-B421-CBE44DED7E7C}" presName="linear" presStyleCnt="0">
        <dgm:presLayoutVars>
          <dgm:animLvl val="lvl"/>
          <dgm:resizeHandles val="exact"/>
        </dgm:presLayoutVars>
      </dgm:prSet>
      <dgm:spPr/>
    </dgm:pt>
    <dgm:pt modelId="{EA37501A-F381-45BC-BDEB-F3BF420BDC67}" type="pres">
      <dgm:prSet presAssocID="{C14192BA-DBE4-45FE-BDC7-66CBE3D5A90E}" presName="parentText" presStyleLbl="node1" presStyleIdx="0" presStyleCnt="2" custLinFactNeighborX="613" custLinFactNeighborY="-3308">
        <dgm:presLayoutVars>
          <dgm:chMax val="0"/>
          <dgm:bulletEnabled val="1"/>
        </dgm:presLayoutVars>
      </dgm:prSet>
      <dgm:spPr/>
    </dgm:pt>
    <dgm:pt modelId="{4DD6CEC8-F9F9-481B-AEB2-34D0A0AE17DD}" type="pres">
      <dgm:prSet presAssocID="{C14192BA-DBE4-45FE-BDC7-66CBE3D5A90E}" presName="childText" presStyleLbl="revTx" presStyleIdx="0" presStyleCnt="2">
        <dgm:presLayoutVars>
          <dgm:bulletEnabled val="1"/>
        </dgm:presLayoutVars>
      </dgm:prSet>
      <dgm:spPr/>
    </dgm:pt>
    <dgm:pt modelId="{78DC3395-521F-487F-B842-EABEEA177EC4}" type="pres">
      <dgm:prSet presAssocID="{E4C45F92-9918-4795-AFF4-9D9CC9ACD89D}" presName="parentText" presStyleLbl="node1" presStyleIdx="1" presStyleCnt="2">
        <dgm:presLayoutVars>
          <dgm:chMax val="0"/>
          <dgm:bulletEnabled val="1"/>
        </dgm:presLayoutVars>
      </dgm:prSet>
      <dgm:spPr/>
    </dgm:pt>
    <dgm:pt modelId="{C04A989E-688F-462D-AAD9-E172CED4C2E4}" type="pres">
      <dgm:prSet presAssocID="{E4C45F92-9918-4795-AFF4-9D9CC9ACD89D}" presName="childText" presStyleLbl="revTx" presStyleIdx="1" presStyleCnt="2">
        <dgm:presLayoutVars>
          <dgm:bulletEnabled val="1"/>
        </dgm:presLayoutVars>
      </dgm:prSet>
      <dgm:spPr/>
    </dgm:pt>
  </dgm:ptLst>
  <dgm:cxnLst>
    <dgm:cxn modelId="{57CB360C-A207-4436-B2DC-83B805CA7411}" srcId="{C14192BA-DBE4-45FE-BDC7-66CBE3D5A90E}" destId="{3A5504B3-19A4-48F3-96B7-25A744DFFD02}" srcOrd="2" destOrd="0" parTransId="{DD9589DF-6476-48F0-A0F6-A7C5C17E623D}" sibTransId="{4DDFCF35-B834-4E5A-85DC-48D386C4D409}"/>
    <dgm:cxn modelId="{2535390D-6F9C-4103-9CF1-EF9E2400B287}" type="presOf" srcId="{9BC6DC47-6C87-4B63-8F13-41BC4738AEE0}" destId="{C04A989E-688F-462D-AAD9-E172CED4C2E4}" srcOrd="0" destOrd="0" presId="urn:microsoft.com/office/officeart/2005/8/layout/vList2"/>
    <dgm:cxn modelId="{3EEDFE0D-9F57-4601-B4DB-CD22EB610EC5}" type="presOf" srcId="{01B687DC-CE97-46B0-B421-CBE44DED7E7C}" destId="{5D721492-DDCC-4BED-8CD3-8F537764DEB0}" srcOrd="0" destOrd="0" presId="urn:microsoft.com/office/officeart/2005/8/layout/vList2"/>
    <dgm:cxn modelId="{7557C210-7664-4520-B230-FB85CD2A133C}" type="presOf" srcId="{E4C45F92-9918-4795-AFF4-9D9CC9ACD89D}" destId="{78DC3395-521F-487F-B842-EABEEA177EC4}" srcOrd="0" destOrd="0" presId="urn:microsoft.com/office/officeart/2005/8/layout/vList2"/>
    <dgm:cxn modelId="{199B2B12-3CDA-4B53-886A-17EF3768229C}" srcId="{E4C45F92-9918-4795-AFF4-9D9CC9ACD89D}" destId="{AF2EAEBB-4FA5-41DA-964C-4137A68A82B3}" srcOrd="1" destOrd="0" parTransId="{3FB3D282-7F2D-4142-8D50-C4B640D1C40A}" sibTransId="{3E095681-88F5-49D9-BD80-92FDD86AF143}"/>
    <dgm:cxn modelId="{8403ED13-E9EC-423F-A4E5-E78BA5C12DD0}" type="presOf" srcId="{3A5504B3-19A4-48F3-96B7-25A744DFFD02}" destId="{4DD6CEC8-F9F9-481B-AEB2-34D0A0AE17DD}" srcOrd="0" destOrd="2" presId="urn:microsoft.com/office/officeart/2005/8/layout/vList2"/>
    <dgm:cxn modelId="{1A49C92D-52DA-4F2B-9E06-5E328B941269}" type="presOf" srcId="{CD166093-643E-4E50-9ABB-6767255D5DDD}" destId="{4DD6CEC8-F9F9-481B-AEB2-34D0A0AE17DD}" srcOrd="0" destOrd="5" presId="urn:microsoft.com/office/officeart/2005/8/layout/vList2"/>
    <dgm:cxn modelId="{7BFF0F2F-C8C1-4611-9130-2C17944C1C56}" srcId="{01B687DC-CE97-46B0-B421-CBE44DED7E7C}" destId="{C14192BA-DBE4-45FE-BDC7-66CBE3D5A90E}" srcOrd="0" destOrd="0" parTransId="{701F5EDB-5FF6-4D17-B47A-742CE82782DF}" sibTransId="{91C30BAF-24B8-4DE0-A592-72D2937E8FC4}"/>
    <dgm:cxn modelId="{9F305965-9DBB-406E-BD33-5C1662BB663B}" srcId="{C14192BA-DBE4-45FE-BDC7-66CBE3D5A90E}" destId="{418F27BE-35DF-42A1-B0DE-6AC43FCD7C0E}" srcOrd="1" destOrd="0" parTransId="{45B7B779-B7B9-4C97-A10D-534A7D5CF60C}" sibTransId="{9F367762-12B4-440B-9C35-CD63218E3BB2}"/>
    <dgm:cxn modelId="{F646576A-EEDE-4B76-B5EA-7FC93D3B20B5}" srcId="{E4C45F92-9918-4795-AFF4-9D9CC9ACD89D}" destId="{005AEEA0-4226-49D4-A4AB-953B7FC5ACFF}" srcOrd="2" destOrd="0" parTransId="{855B5F25-88AD-43A8-80CE-4089665D6DB5}" sibTransId="{FD8EF129-FA8E-4BAC-9D35-D3FB92BF616F}"/>
    <dgm:cxn modelId="{1A62E552-C334-4DC2-BDE6-42675AD10238}" srcId="{C14192BA-DBE4-45FE-BDC7-66CBE3D5A90E}" destId="{AF5835CC-736A-4D13-A1FD-02FB2FBDD187}" srcOrd="3" destOrd="0" parTransId="{BF1E3F0C-1772-4EB4-A575-B421606D3220}" sibTransId="{90F20A57-48F6-4449-BAD2-A65BBF60F9DA}"/>
    <dgm:cxn modelId="{63D1887C-D4A4-43AF-A107-7387963B5164}" srcId="{C14192BA-DBE4-45FE-BDC7-66CBE3D5A90E}" destId="{CD166093-643E-4E50-9ABB-6767255D5DDD}" srcOrd="5" destOrd="0" parTransId="{488326CE-4617-43B4-8EA9-59225D95122A}" sibTransId="{0B1862F0-486B-4026-9A15-D3C269BA4E62}"/>
    <dgm:cxn modelId="{B649D685-C0E7-4624-9BF4-DA7F34C54FA1}" srcId="{C14192BA-DBE4-45FE-BDC7-66CBE3D5A90E}" destId="{D4F6AA99-F26F-4CEA-90FE-9A43F6BFF3E3}" srcOrd="4" destOrd="0" parTransId="{CF7DFAF0-AE11-4ED6-8B6E-06B4163F86A8}" sibTransId="{AC5C3D6E-03E8-4343-AF6A-59D7918FF436}"/>
    <dgm:cxn modelId="{57A5CF98-4499-4B0C-9B05-C5AFAD854213}" type="presOf" srcId="{C14192BA-DBE4-45FE-BDC7-66CBE3D5A90E}" destId="{EA37501A-F381-45BC-BDEB-F3BF420BDC67}" srcOrd="0" destOrd="0" presId="urn:microsoft.com/office/officeart/2005/8/layout/vList2"/>
    <dgm:cxn modelId="{CE4165AA-8111-416D-87CE-29CF93E89B18}" srcId="{E4C45F92-9918-4795-AFF4-9D9CC9ACD89D}" destId="{9BC6DC47-6C87-4B63-8F13-41BC4738AEE0}" srcOrd="0" destOrd="0" parTransId="{9F487990-0F23-4FD2-B2DC-15EF4812FBE8}" sibTransId="{22A35642-B4D2-4A81-AF51-918AAE99AB40}"/>
    <dgm:cxn modelId="{970C49AE-03E5-4A64-957B-1650E5DA2213}" srcId="{C14192BA-DBE4-45FE-BDC7-66CBE3D5A90E}" destId="{32A922EF-EA91-4CE7-85DA-F2161C3B86FE}" srcOrd="0" destOrd="0" parTransId="{38B7DBB1-C994-4151-A02A-B66BC801D53E}" sibTransId="{2D9D51BB-90D1-4462-AB9D-323DD1A7BABA}"/>
    <dgm:cxn modelId="{9FDB2FAF-1248-4FD9-866F-A095941AD002}" type="presOf" srcId="{32A922EF-EA91-4CE7-85DA-F2161C3B86FE}" destId="{4DD6CEC8-F9F9-481B-AEB2-34D0A0AE17DD}" srcOrd="0" destOrd="0" presId="urn:microsoft.com/office/officeart/2005/8/layout/vList2"/>
    <dgm:cxn modelId="{77A0FBBB-E584-4982-A491-095169732012}" type="presOf" srcId="{AF5835CC-736A-4D13-A1FD-02FB2FBDD187}" destId="{4DD6CEC8-F9F9-481B-AEB2-34D0A0AE17DD}" srcOrd="0" destOrd="3" presId="urn:microsoft.com/office/officeart/2005/8/layout/vList2"/>
    <dgm:cxn modelId="{284E96C3-DEC9-4E7B-A2C2-37D26C3048BD}" type="presOf" srcId="{D4F6AA99-F26F-4CEA-90FE-9A43F6BFF3E3}" destId="{4DD6CEC8-F9F9-481B-AEB2-34D0A0AE17DD}" srcOrd="0" destOrd="4" presId="urn:microsoft.com/office/officeart/2005/8/layout/vList2"/>
    <dgm:cxn modelId="{36786ECE-AB7B-4B38-B011-E6C20FDA2349}" type="presOf" srcId="{005AEEA0-4226-49D4-A4AB-953B7FC5ACFF}" destId="{C04A989E-688F-462D-AAD9-E172CED4C2E4}" srcOrd="0" destOrd="2" presId="urn:microsoft.com/office/officeart/2005/8/layout/vList2"/>
    <dgm:cxn modelId="{FECF44E6-3CAC-4D5F-AA6D-256FE1C5D180}" type="presOf" srcId="{AF2EAEBB-4FA5-41DA-964C-4137A68A82B3}" destId="{C04A989E-688F-462D-AAD9-E172CED4C2E4}" srcOrd="0" destOrd="1" presId="urn:microsoft.com/office/officeart/2005/8/layout/vList2"/>
    <dgm:cxn modelId="{C42C27EA-33AA-45A9-8BEE-77253D387374}" srcId="{01B687DC-CE97-46B0-B421-CBE44DED7E7C}" destId="{E4C45F92-9918-4795-AFF4-9D9CC9ACD89D}" srcOrd="1" destOrd="0" parTransId="{D9B09F50-5A43-4339-9DB7-C7D9DA62BCAD}" sibTransId="{6B50960E-BCBD-4927-8A1A-6522D21E76FB}"/>
    <dgm:cxn modelId="{78E8ADF5-7653-42A3-B7EB-0A451F494445}" type="presOf" srcId="{418F27BE-35DF-42A1-B0DE-6AC43FCD7C0E}" destId="{4DD6CEC8-F9F9-481B-AEB2-34D0A0AE17DD}" srcOrd="0" destOrd="1" presId="urn:microsoft.com/office/officeart/2005/8/layout/vList2"/>
    <dgm:cxn modelId="{2C4C71DF-D96F-4BD8-8EDF-0308DCF68A92}" type="presParOf" srcId="{5D721492-DDCC-4BED-8CD3-8F537764DEB0}" destId="{EA37501A-F381-45BC-BDEB-F3BF420BDC67}" srcOrd="0" destOrd="0" presId="urn:microsoft.com/office/officeart/2005/8/layout/vList2"/>
    <dgm:cxn modelId="{C0838701-AD69-4EA3-ABDF-A2F56C2A8572}" type="presParOf" srcId="{5D721492-DDCC-4BED-8CD3-8F537764DEB0}" destId="{4DD6CEC8-F9F9-481B-AEB2-34D0A0AE17DD}" srcOrd="1" destOrd="0" presId="urn:microsoft.com/office/officeart/2005/8/layout/vList2"/>
    <dgm:cxn modelId="{9AF254E6-536A-4B01-A5D3-1FFA7E9E13BE}" type="presParOf" srcId="{5D721492-DDCC-4BED-8CD3-8F537764DEB0}" destId="{78DC3395-521F-487F-B842-EABEEA177EC4}" srcOrd="2" destOrd="0" presId="urn:microsoft.com/office/officeart/2005/8/layout/vList2"/>
    <dgm:cxn modelId="{12DEE9A8-C5F9-4600-B5C5-72337DC791A5}" type="presParOf" srcId="{5D721492-DDCC-4BED-8CD3-8F537764DEB0}" destId="{C04A989E-688F-462D-AAD9-E172CED4C2E4}" srcOrd="3"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4D91CBE-ADB8-4338-BEC8-5E4899033B08}" type="doc">
      <dgm:prSet loTypeId="urn:microsoft.com/office/officeart/2008/layout/PictureStrips" loCatId="list" qsTypeId="urn:microsoft.com/office/officeart/2005/8/quickstyle/simple1" qsCatId="simple" csTypeId="urn:microsoft.com/office/officeart/2005/8/colors/accent1_2" csCatId="accent1" phldr="1"/>
      <dgm:spPr/>
      <dgm:t>
        <a:bodyPr/>
        <a:lstStyle/>
        <a:p>
          <a:endParaRPr lang="zh-TW" altLang="en-US"/>
        </a:p>
      </dgm:t>
    </dgm:pt>
    <dgm:pt modelId="{0E882F39-BD14-4960-AD44-375DB71CAF4C}">
      <dgm:prSet phldrT="[文字]"/>
      <dgm:spPr/>
      <dgm:t>
        <a:bodyPr/>
        <a:lstStyle/>
        <a:p>
          <a:r>
            <a:rPr lang="en-US" altLang="zh-TW" dirty="0" err="1">
              <a:solidFill>
                <a:schemeClr val="bg1"/>
              </a:solidFill>
            </a:rPr>
            <a:t>Electrophysics</a:t>
          </a:r>
          <a:endParaRPr lang="zh-TW" altLang="en-US" dirty="0"/>
        </a:p>
      </dgm:t>
    </dgm:pt>
    <dgm:pt modelId="{F1A17CB8-DC40-4D0B-AA1F-C14F6C1C874B}" type="parTrans" cxnId="{36DF9A91-36F3-4BF2-B1DF-78131FFC9972}">
      <dgm:prSet/>
      <dgm:spPr/>
      <dgm:t>
        <a:bodyPr/>
        <a:lstStyle/>
        <a:p>
          <a:endParaRPr lang="zh-TW" altLang="en-US"/>
        </a:p>
      </dgm:t>
    </dgm:pt>
    <dgm:pt modelId="{2DA306A0-2C7B-40C8-B545-09A7616B5EB4}" type="sibTrans" cxnId="{36DF9A91-36F3-4BF2-B1DF-78131FFC9972}">
      <dgm:prSet/>
      <dgm:spPr/>
      <dgm:t>
        <a:bodyPr/>
        <a:lstStyle/>
        <a:p>
          <a:endParaRPr lang="zh-TW" altLang="en-US"/>
        </a:p>
      </dgm:t>
    </dgm:pt>
    <dgm:pt modelId="{AC2146B4-C7C3-41AA-A409-47038104CD74}">
      <dgm:prSet phldrT="[文字]"/>
      <dgm:spPr/>
      <dgm:t>
        <a:bodyPr/>
        <a:lstStyle/>
        <a:p>
          <a:r>
            <a:rPr lang="en-US" altLang="zh-TW" dirty="0">
              <a:solidFill>
                <a:schemeClr val="bg1"/>
              </a:solidFill>
            </a:rPr>
            <a:t>Applied Chemistry</a:t>
          </a:r>
          <a:endParaRPr lang="zh-TW" altLang="en-US" dirty="0"/>
        </a:p>
      </dgm:t>
    </dgm:pt>
    <dgm:pt modelId="{59C4169C-9FA3-46B9-A570-BD13FDE244E2}" type="parTrans" cxnId="{4CBF5AF7-F578-4BA9-9EFE-944AC9AC09CF}">
      <dgm:prSet/>
      <dgm:spPr/>
      <dgm:t>
        <a:bodyPr/>
        <a:lstStyle/>
        <a:p>
          <a:endParaRPr lang="zh-TW" altLang="en-US"/>
        </a:p>
      </dgm:t>
    </dgm:pt>
    <dgm:pt modelId="{F6BB9D52-CB00-48AC-B89A-99C2A639D5AF}" type="sibTrans" cxnId="{4CBF5AF7-F578-4BA9-9EFE-944AC9AC09CF}">
      <dgm:prSet/>
      <dgm:spPr/>
      <dgm:t>
        <a:bodyPr/>
        <a:lstStyle/>
        <a:p>
          <a:endParaRPr lang="zh-TW" altLang="en-US"/>
        </a:p>
      </dgm:t>
    </dgm:pt>
    <dgm:pt modelId="{F3EA8648-C64D-4272-BAE0-B6D1AF14D0F8}">
      <dgm:prSet phldrT="[文字]"/>
      <dgm:spPr/>
      <dgm:t>
        <a:bodyPr/>
        <a:lstStyle/>
        <a:p>
          <a:r>
            <a:rPr lang="en-US" altLang="zh-TW" dirty="0">
              <a:solidFill>
                <a:schemeClr val="bg1"/>
              </a:solidFill>
            </a:rPr>
            <a:t>Applied Mathematics</a:t>
          </a:r>
          <a:endParaRPr lang="zh-TW" altLang="en-US" dirty="0"/>
        </a:p>
      </dgm:t>
    </dgm:pt>
    <dgm:pt modelId="{928223EA-DBF7-41C0-8B88-D98FF7BD16F7}" type="parTrans" cxnId="{0C7D435C-20E7-4CD2-BC95-8ED366070FE7}">
      <dgm:prSet/>
      <dgm:spPr/>
      <dgm:t>
        <a:bodyPr/>
        <a:lstStyle/>
        <a:p>
          <a:endParaRPr lang="zh-TW" altLang="en-US"/>
        </a:p>
      </dgm:t>
    </dgm:pt>
    <dgm:pt modelId="{A3DDE033-F1AB-4566-BF99-1B996B964F2F}" type="sibTrans" cxnId="{0C7D435C-20E7-4CD2-BC95-8ED366070FE7}">
      <dgm:prSet/>
      <dgm:spPr/>
      <dgm:t>
        <a:bodyPr/>
        <a:lstStyle/>
        <a:p>
          <a:endParaRPr lang="zh-TW" altLang="en-US"/>
        </a:p>
      </dgm:t>
    </dgm:pt>
    <dgm:pt modelId="{1662458B-7C47-48B4-8849-FDCC9484AA60}">
      <dgm:prSet/>
      <dgm:spPr/>
      <dgm:t>
        <a:bodyPr/>
        <a:lstStyle/>
        <a:p>
          <a:r>
            <a:rPr lang="en-US" altLang="zh-TW" dirty="0" err="1">
              <a:solidFill>
                <a:schemeClr val="bg1"/>
              </a:solidFill>
            </a:rPr>
            <a:t>Biomechatronic</a:t>
          </a:r>
          <a:r>
            <a:rPr lang="en-US" altLang="zh-TW" dirty="0">
              <a:solidFill>
                <a:schemeClr val="bg1"/>
              </a:solidFill>
            </a:rPr>
            <a:t> Engineering</a:t>
          </a:r>
          <a:endParaRPr lang="zh-TW" altLang="en-US" dirty="0"/>
        </a:p>
      </dgm:t>
    </dgm:pt>
    <dgm:pt modelId="{2B7A5F5F-1AF1-4768-96A5-FD49649D1B7C}" type="parTrans" cxnId="{248430B4-2C3A-48B8-A17A-E736400E0836}">
      <dgm:prSet/>
      <dgm:spPr/>
      <dgm:t>
        <a:bodyPr/>
        <a:lstStyle/>
        <a:p>
          <a:endParaRPr lang="zh-TW" altLang="en-US"/>
        </a:p>
      </dgm:t>
    </dgm:pt>
    <dgm:pt modelId="{7115D5D3-9249-4E3A-BB4B-7BF9446F506B}" type="sibTrans" cxnId="{248430B4-2C3A-48B8-A17A-E736400E0836}">
      <dgm:prSet/>
      <dgm:spPr/>
      <dgm:t>
        <a:bodyPr/>
        <a:lstStyle/>
        <a:p>
          <a:endParaRPr lang="zh-TW" altLang="en-US"/>
        </a:p>
      </dgm:t>
    </dgm:pt>
    <dgm:pt modelId="{77CC7E0E-97D7-41C9-9E38-C1D693EAF9D2}">
      <dgm:prSet/>
      <dgm:spPr/>
      <dgm:t>
        <a:bodyPr/>
        <a:lstStyle/>
        <a:p>
          <a:r>
            <a:rPr lang="en-US" altLang="zh-TW" dirty="0">
              <a:solidFill>
                <a:schemeClr val="bg1"/>
              </a:solidFill>
            </a:rPr>
            <a:t>Civil and Water Resources Engineering</a:t>
          </a:r>
          <a:endParaRPr lang="zh-TW" altLang="en-US" dirty="0"/>
        </a:p>
      </dgm:t>
    </dgm:pt>
    <dgm:pt modelId="{E33ED25E-F6AE-411E-8889-CA9F73575E14}" type="parTrans" cxnId="{6C2B563B-5A25-491C-AC05-C619B8159717}">
      <dgm:prSet/>
      <dgm:spPr/>
      <dgm:t>
        <a:bodyPr/>
        <a:lstStyle/>
        <a:p>
          <a:endParaRPr lang="zh-TW" altLang="en-US"/>
        </a:p>
      </dgm:t>
    </dgm:pt>
    <dgm:pt modelId="{45B05FB5-66A3-4620-B8C9-50DC8AF2CD9E}" type="sibTrans" cxnId="{6C2B563B-5A25-491C-AC05-C619B8159717}">
      <dgm:prSet/>
      <dgm:spPr/>
      <dgm:t>
        <a:bodyPr/>
        <a:lstStyle/>
        <a:p>
          <a:endParaRPr lang="zh-TW" altLang="en-US"/>
        </a:p>
      </dgm:t>
    </dgm:pt>
    <dgm:pt modelId="{21AE02A0-7090-4A6A-8D10-66E083034D20}">
      <dgm:prSet/>
      <dgm:spPr/>
      <dgm:t>
        <a:bodyPr/>
        <a:lstStyle/>
        <a:p>
          <a:r>
            <a:rPr lang="en-US" altLang="zh-TW" dirty="0">
              <a:solidFill>
                <a:schemeClr val="bg1"/>
              </a:solidFill>
            </a:rPr>
            <a:t>Computer Science and Information Engineering</a:t>
          </a:r>
          <a:endParaRPr lang="zh-TW" altLang="en-US" dirty="0">
            <a:solidFill>
              <a:schemeClr val="bg1"/>
            </a:solidFill>
          </a:endParaRPr>
        </a:p>
      </dgm:t>
    </dgm:pt>
    <dgm:pt modelId="{026550C6-060D-4A05-B4F0-B66479823737}" type="parTrans" cxnId="{C28D8C56-717F-4B5E-8A48-5FB00CFA818C}">
      <dgm:prSet/>
      <dgm:spPr/>
      <dgm:t>
        <a:bodyPr/>
        <a:lstStyle/>
        <a:p>
          <a:endParaRPr lang="zh-TW" altLang="en-US"/>
        </a:p>
      </dgm:t>
    </dgm:pt>
    <dgm:pt modelId="{67F19F80-A515-4D01-A337-0CB37546AE46}" type="sibTrans" cxnId="{C28D8C56-717F-4B5E-8A48-5FB00CFA818C}">
      <dgm:prSet/>
      <dgm:spPr/>
      <dgm:t>
        <a:bodyPr/>
        <a:lstStyle/>
        <a:p>
          <a:endParaRPr lang="zh-TW" altLang="en-US"/>
        </a:p>
      </dgm:t>
    </dgm:pt>
    <dgm:pt modelId="{F07CCFA5-E753-4F89-869D-B9136E6545EE}">
      <dgm:prSet/>
      <dgm:spPr/>
      <dgm:t>
        <a:bodyPr/>
        <a:lstStyle/>
        <a:p>
          <a:r>
            <a:rPr lang="en-US" altLang="zh-TW" dirty="0">
              <a:solidFill>
                <a:schemeClr val="bg1"/>
              </a:solidFill>
            </a:rPr>
            <a:t>Electrical Engineering</a:t>
          </a:r>
          <a:endParaRPr lang="zh-TW" altLang="en-US" dirty="0"/>
        </a:p>
      </dgm:t>
    </dgm:pt>
    <dgm:pt modelId="{E4A155E7-6798-44C1-A0E1-4AA35B0DA15C}" type="parTrans" cxnId="{61754942-442C-4216-B20E-4FC4D49CB7DF}">
      <dgm:prSet/>
      <dgm:spPr/>
      <dgm:t>
        <a:bodyPr/>
        <a:lstStyle/>
        <a:p>
          <a:endParaRPr lang="zh-TW" altLang="en-US"/>
        </a:p>
      </dgm:t>
    </dgm:pt>
    <dgm:pt modelId="{48E85A5B-460C-40A8-920B-8B2BC4511AE0}" type="sibTrans" cxnId="{61754942-442C-4216-B20E-4FC4D49CB7DF}">
      <dgm:prSet/>
      <dgm:spPr/>
      <dgm:t>
        <a:bodyPr/>
        <a:lstStyle/>
        <a:p>
          <a:endParaRPr lang="zh-TW" altLang="en-US"/>
        </a:p>
      </dgm:t>
    </dgm:pt>
    <dgm:pt modelId="{DB4AEFFF-CE5B-418C-B77D-1B1FABB34A85}">
      <dgm:prSet/>
      <dgm:spPr/>
      <dgm:t>
        <a:bodyPr/>
        <a:lstStyle/>
        <a:p>
          <a:r>
            <a:rPr lang="en-US" altLang="zh-TW" dirty="0">
              <a:solidFill>
                <a:schemeClr val="bg1"/>
              </a:solidFill>
            </a:rPr>
            <a:t>Mechanical and Energy Engineering</a:t>
          </a:r>
          <a:endParaRPr lang="zh-TW" altLang="en-US" dirty="0"/>
        </a:p>
      </dgm:t>
    </dgm:pt>
    <dgm:pt modelId="{ACFBF326-DD46-41B3-BB99-EC2AD1BE6872}" type="parTrans" cxnId="{A5CC3E0A-F6FA-427B-947F-66382BDA8751}">
      <dgm:prSet/>
      <dgm:spPr/>
      <dgm:t>
        <a:bodyPr/>
        <a:lstStyle/>
        <a:p>
          <a:endParaRPr lang="zh-TW" altLang="en-US"/>
        </a:p>
      </dgm:t>
    </dgm:pt>
    <dgm:pt modelId="{C6DB1924-CFBC-476A-B966-DDA4342AE4E3}" type="sibTrans" cxnId="{A5CC3E0A-F6FA-427B-947F-66382BDA8751}">
      <dgm:prSet/>
      <dgm:spPr/>
      <dgm:t>
        <a:bodyPr/>
        <a:lstStyle/>
        <a:p>
          <a:endParaRPr lang="zh-TW" altLang="en-US"/>
        </a:p>
      </dgm:t>
    </dgm:pt>
    <dgm:pt modelId="{D648640C-394D-4C0B-B237-A836929D29A1}" type="pres">
      <dgm:prSet presAssocID="{44D91CBE-ADB8-4338-BEC8-5E4899033B08}" presName="Name0" presStyleCnt="0">
        <dgm:presLayoutVars>
          <dgm:dir/>
          <dgm:resizeHandles val="exact"/>
        </dgm:presLayoutVars>
      </dgm:prSet>
      <dgm:spPr/>
    </dgm:pt>
    <dgm:pt modelId="{51BD5F1B-3F3C-4E50-AA52-2D5D7A791EF8}" type="pres">
      <dgm:prSet presAssocID="{0E882F39-BD14-4960-AD44-375DB71CAF4C}" presName="composite" presStyleCnt="0"/>
      <dgm:spPr/>
    </dgm:pt>
    <dgm:pt modelId="{6FB9A1D7-7A93-4BE0-B54B-57EDCE21BF7D}" type="pres">
      <dgm:prSet presAssocID="{0E882F39-BD14-4960-AD44-375DB71CAF4C}" presName="rect1" presStyleLbl="trAlignAcc1" presStyleIdx="0" presStyleCnt="8" custScaleX="118441">
        <dgm:presLayoutVars>
          <dgm:bulletEnabled val="1"/>
        </dgm:presLayoutVars>
      </dgm:prSet>
      <dgm:spPr/>
    </dgm:pt>
    <dgm:pt modelId="{3D2FAD8A-1589-4291-83B9-71ECDF090400}" type="pres">
      <dgm:prSet presAssocID="{0E882F39-BD14-4960-AD44-375DB71CAF4C}" presName="rect2" presStyleLbl="fgImgPlace1" presStyleIdx="0" presStyleCnt="8" custLinFactNeighborX="-92672"/>
      <dgm:spPr>
        <a:blipFill>
          <a:blip xmlns:r="http://schemas.openxmlformats.org/officeDocument/2006/relationships" r:embed="rId1">
            <a:extLst>
              <a:ext uri="{28A0092B-C50C-407E-A947-70E740481C1C}">
                <a14:useLocalDpi xmlns:a14="http://schemas.microsoft.com/office/drawing/2010/main" val="0"/>
              </a:ext>
            </a:extLst>
          </a:blip>
          <a:srcRect/>
          <a:stretch>
            <a:fillRect l="-50000" r="-50000"/>
          </a:stretch>
        </a:blipFill>
      </dgm:spPr>
    </dgm:pt>
    <dgm:pt modelId="{3FDBD0B1-0E29-4941-91FB-B4DE2AF19266}" type="pres">
      <dgm:prSet presAssocID="{2DA306A0-2C7B-40C8-B545-09A7616B5EB4}" presName="sibTrans" presStyleCnt="0"/>
      <dgm:spPr/>
    </dgm:pt>
    <dgm:pt modelId="{E02ADCBA-52EF-40B8-9C3D-720018CA8043}" type="pres">
      <dgm:prSet presAssocID="{AC2146B4-C7C3-41AA-A409-47038104CD74}" presName="composite" presStyleCnt="0"/>
      <dgm:spPr/>
    </dgm:pt>
    <dgm:pt modelId="{6B11216F-083E-4D9A-BCA6-25ACC8F56641}" type="pres">
      <dgm:prSet presAssocID="{AC2146B4-C7C3-41AA-A409-47038104CD74}" presName="rect1" presStyleLbl="trAlignAcc1" presStyleIdx="1" presStyleCnt="8" custScaleX="115429" custLinFactNeighborX="23522">
        <dgm:presLayoutVars>
          <dgm:bulletEnabled val="1"/>
        </dgm:presLayoutVars>
      </dgm:prSet>
      <dgm:spPr/>
    </dgm:pt>
    <dgm:pt modelId="{B30B7360-1B92-4058-8E89-873280A6539C}" type="pres">
      <dgm:prSet presAssocID="{AC2146B4-C7C3-41AA-A409-47038104CD74}" presName="rect2" presStyleLbl="fgImgPlace1" presStyleIdx="1" presStyleCnt="8" custLinFactNeighborX="55198" custLinFactNeighborY="5821"/>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8000" r="-8000"/>
          </a:stretch>
        </a:blipFill>
      </dgm:spPr>
    </dgm:pt>
    <dgm:pt modelId="{A9330454-7E19-4D19-BF0D-E9D24E65E378}" type="pres">
      <dgm:prSet presAssocID="{F6BB9D52-CB00-48AC-B89A-99C2A639D5AF}" presName="sibTrans" presStyleCnt="0"/>
      <dgm:spPr/>
    </dgm:pt>
    <dgm:pt modelId="{125D1465-3B03-4844-AB8D-CF1C4CEF2236}" type="pres">
      <dgm:prSet presAssocID="{F3EA8648-C64D-4272-BAE0-B6D1AF14D0F8}" presName="composite" presStyleCnt="0"/>
      <dgm:spPr/>
    </dgm:pt>
    <dgm:pt modelId="{4EC5A858-B121-473B-A803-896628BE534A}" type="pres">
      <dgm:prSet presAssocID="{F3EA8648-C64D-4272-BAE0-B6D1AF14D0F8}" presName="rect1" presStyleLbl="trAlignAcc1" presStyleIdx="2" presStyleCnt="8" custScaleX="118441">
        <dgm:presLayoutVars>
          <dgm:bulletEnabled val="1"/>
        </dgm:presLayoutVars>
      </dgm:prSet>
      <dgm:spPr/>
    </dgm:pt>
    <dgm:pt modelId="{D3732357-9DF9-4540-8CF0-C07323AAFE27}" type="pres">
      <dgm:prSet presAssocID="{F3EA8648-C64D-4272-BAE0-B6D1AF14D0F8}" presName="rect2" presStyleLbl="fgImgPlace1" presStyleIdx="2" presStyleCnt="8" custLinFactNeighborX="-92672"/>
      <dgm:spPr>
        <a:blipFill>
          <a:blip xmlns:r="http://schemas.openxmlformats.org/officeDocument/2006/relationships" r:embed="rId3" cstate="print">
            <a:extLst>
              <a:ext uri="{28A0092B-C50C-407E-A947-70E740481C1C}">
                <a14:useLocalDpi xmlns:a14="http://schemas.microsoft.com/office/drawing/2010/main" val="0"/>
              </a:ext>
            </a:extLst>
          </a:blip>
          <a:srcRect/>
          <a:stretch>
            <a:fillRect l="-25000" r="-25000"/>
          </a:stretch>
        </a:blipFill>
      </dgm:spPr>
    </dgm:pt>
    <dgm:pt modelId="{DBEC69EC-7A0B-4A2B-9377-DF75B4CDE1AC}" type="pres">
      <dgm:prSet presAssocID="{A3DDE033-F1AB-4566-BF99-1B996B964F2F}" presName="sibTrans" presStyleCnt="0"/>
      <dgm:spPr/>
    </dgm:pt>
    <dgm:pt modelId="{B10CAB6F-900B-4C1F-9644-135AB2A41029}" type="pres">
      <dgm:prSet presAssocID="{1662458B-7C47-48B4-8849-FDCC9484AA60}" presName="composite" presStyleCnt="0"/>
      <dgm:spPr/>
    </dgm:pt>
    <dgm:pt modelId="{5B29E66D-E63C-4CD8-B12C-3C342103630A}" type="pres">
      <dgm:prSet presAssocID="{1662458B-7C47-48B4-8849-FDCC9484AA60}" presName="rect1" presStyleLbl="trAlignAcc1" presStyleIdx="3" presStyleCnt="8" custScaleX="115429" custLinFactNeighborX="23522">
        <dgm:presLayoutVars>
          <dgm:bulletEnabled val="1"/>
        </dgm:presLayoutVars>
      </dgm:prSet>
      <dgm:spPr/>
    </dgm:pt>
    <dgm:pt modelId="{7500FAC4-8827-4D8E-81BF-8BB27935DF60}" type="pres">
      <dgm:prSet presAssocID="{1662458B-7C47-48B4-8849-FDCC9484AA60}" presName="rect2" presStyleLbl="fgImgPlace1" presStyleIdx="3" presStyleCnt="8" custLinFactNeighborX="55198" custLinFactNeighborY="5821"/>
      <dgm:spPr>
        <a:blipFill>
          <a:blip xmlns:r="http://schemas.openxmlformats.org/officeDocument/2006/relationships" r:embed="rId4">
            <a:extLst>
              <a:ext uri="{28A0092B-C50C-407E-A947-70E740481C1C}">
                <a14:useLocalDpi xmlns:a14="http://schemas.microsoft.com/office/drawing/2010/main" val="0"/>
              </a:ext>
            </a:extLst>
          </a:blip>
          <a:srcRect/>
          <a:stretch>
            <a:fillRect l="-50000" r="-50000"/>
          </a:stretch>
        </a:blipFill>
      </dgm:spPr>
    </dgm:pt>
    <dgm:pt modelId="{5C5DDEEE-B38D-4FCF-9CE8-812B60DB3F27}" type="pres">
      <dgm:prSet presAssocID="{7115D5D3-9249-4E3A-BB4B-7BF9446F506B}" presName="sibTrans" presStyleCnt="0"/>
      <dgm:spPr/>
    </dgm:pt>
    <dgm:pt modelId="{CCA95DAC-AC1A-4B1F-B36C-7056B01A1BAC}" type="pres">
      <dgm:prSet presAssocID="{77CC7E0E-97D7-41C9-9E38-C1D693EAF9D2}" presName="composite" presStyleCnt="0"/>
      <dgm:spPr/>
    </dgm:pt>
    <dgm:pt modelId="{9B7EB1C0-4480-4F93-A087-971C5C00B9B0}" type="pres">
      <dgm:prSet presAssocID="{77CC7E0E-97D7-41C9-9E38-C1D693EAF9D2}" presName="rect1" presStyleLbl="trAlignAcc1" presStyleIdx="4" presStyleCnt="8" custScaleX="118441">
        <dgm:presLayoutVars>
          <dgm:bulletEnabled val="1"/>
        </dgm:presLayoutVars>
      </dgm:prSet>
      <dgm:spPr/>
    </dgm:pt>
    <dgm:pt modelId="{95B2895B-F8B8-43B8-9392-CABC9F139EEE}" type="pres">
      <dgm:prSet presAssocID="{77CC7E0E-97D7-41C9-9E38-C1D693EAF9D2}" presName="rect2" presStyleLbl="fgImgPlace1" presStyleIdx="4" presStyleCnt="8" custLinFactNeighborX="-92672"/>
      <dgm:spPr>
        <a:blipFill>
          <a:blip xmlns:r="http://schemas.openxmlformats.org/officeDocument/2006/relationships" r:embed="rId5" cstate="print">
            <a:extLst>
              <a:ext uri="{28A0092B-C50C-407E-A947-70E740481C1C}">
                <a14:useLocalDpi xmlns:a14="http://schemas.microsoft.com/office/drawing/2010/main" val="0"/>
              </a:ext>
            </a:extLst>
          </a:blip>
          <a:srcRect/>
          <a:stretch>
            <a:fillRect l="-56000" r="-56000"/>
          </a:stretch>
        </a:blipFill>
      </dgm:spPr>
    </dgm:pt>
    <dgm:pt modelId="{BAE62150-5A30-4568-B90E-F19FEF402652}" type="pres">
      <dgm:prSet presAssocID="{45B05FB5-66A3-4620-B8C9-50DC8AF2CD9E}" presName="sibTrans" presStyleCnt="0"/>
      <dgm:spPr/>
    </dgm:pt>
    <dgm:pt modelId="{4740F52C-43F4-4D6F-B186-00D73B31372B}" type="pres">
      <dgm:prSet presAssocID="{21AE02A0-7090-4A6A-8D10-66E083034D20}" presName="composite" presStyleCnt="0"/>
      <dgm:spPr/>
    </dgm:pt>
    <dgm:pt modelId="{EFD0FE41-A7FC-4A9E-96A9-DCD70673619B}" type="pres">
      <dgm:prSet presAssocID="{21AE02A0-7090-4A6A-8D10-66E083034D20}" presName="rect1" presStyleLbl="trAlignAcc1" presStyleIdx="5" presStyleCnt="8" custScaleX="115429" custLinFactNeighborX="23522">
        <dgm:presLayoutVars>
          <dgm:bulletEnabled val="1"/>
        </dgm:presLayoutVars>
      </dgm:prSet>
      <dgm:spPr/>
    </dgm:pt>
    <dgm:pt modelId="{E92ECB03-4458-4A71-9483-391A111419C0}" type="pres">
      <dgm:prSet presAssocID="{21AE02A0-7090-4A6A-8D10-66E083034D20}" presName="rect2" presStyleLbl="fgImgPlace1" presStyleIdx="5" presStyleCnt="8" custLinFactNeighborX="55198" custLinFactNeighborY="5821"/>
      <dgm:spPr>
        <a:blipFill>
          <a:blip xmlns:r="http://schemas.openxmlformats.org/officeDocument/2006/relationships" r:embed="rId6">
            <a:extLst>
              <a:ext uri="{28A0092B-C50C-407E-A947-70E740481C1C}">
                <a14:useLocalDpi xmlns:a14="http://schemas.microsoft.com/office/drawing/2010/main" val="0"/>
              </a:ext>
            </a:extLst>
          </a:blip>
          <a:srcRect/>
          <a:stretch>
            <a:fillRect l="-27000" r="-27000"/>
          </a:stretch>
        </a:blipFill>
      </dgm:spPr>
    </dgm:pt>
    <dgm:pt modelId="{CDF7DFDD-6408-4D20-8044-E57F226D4F76}" type="pres">
      <dgm:prSet presAssocID="{67F19F80-A515-4D01-A337-0CB37546AE46}" presName="sibTrans" presStyleCnt="0"/>
      <dgm:spPr/>
    </dgm:pt>
    <dgm:pt modelId="{D362961D-B7B6-498B-8C16-94E345EF1AA0}" type="pres">
      <dgm:prSet presAssocID="{F07CCFA5-E753-4F89-869D-B9136E6545EE}" presName="composite" presStyleCnt="0"/>
      <dgm:spPr/>
    </dgm:pt>
    <dgm:pt modelId="{578CABCB-31A4-494D-ACE0-71BD3F3676B6}" type="pres">
      <dgm:prSet presAssocID="{F07CCFA5-E753-4F89-869D-B9136E6545EE}" presName="rect1" presStyleLbl="trAlignAcc1" presStyleIdx="6" presStyleCnt="8" custScaleX="118441">
        <dgm:presLayoutVars>
          <dgm:bulletEnabled val="1"/>
        </dgm:presLayoutVars>
      </dgm:prSet>
      <dgm:spPr/>
    </dgm:pt>
    <dgm:pt modelId="{06022838-9923-462F-A067-BAFD96A3D805}" type="pres">
      <dgm:prSet presAssocID="{F07CCFA5-E753-4F89-869D-B9136E6545EE}" presName="rect2" presStyleLbl="fgImgPlace1" presStyleIdx="6" presStyleCnt="8" custLinFactNeighborX="-92672"/>
      <dgm:spPr>
        <a:blipFill>
          <a:blip xmlns:r="http://schemas.openxmlformats.org/officeDocument/2006/relationships" r:embed="rId7" cstate="print">
            <a:extLst>
              <a:ext uri="{28A0092B-C50C-407E-A947-70E740481C1C}">
                <a14:useLocalDpi xmlns:a14="http://schemas.microsoft.com/office/drawing/2010/main" val="0"/>
              </a:ext>
            </a:extLst>
          </a:blip>
          <a:srcRect/>
          <a:stretch>
            <a:fillRect l="-50000" r="-50000"/>
          </a:stretch>
        </a:blipFill>
      </dgm:spPr>
    </dgm:pt>
    <dgm:pt modelId="{BF77663B-F1D0-4F94-A80A-1B5F1066FFB3}" type="pres">
      <dgm:prSet presAssocID="{48E85A5B-460C-40A8-920B-8B2BC4511AE0}" presName="sibTrans" presStyleCnt="0"/>
      <dgm:spPr/>
    </dgm:pt>
    <dgm:pt modelId="{D5AFA14A-1E36-4175-B693-11C9AE98EE3E}" type="pres">
      <dgm:prSet presAssocID="{DB4AEFFF-CE5B-418C-B77D-1B1FABB34A85}" presName="composite" presStyleCnt="0"/>
      <dgm:spPr/>
    </dgm:pt>
    <dgm:pt modelId="{5949E35A-F2BE-4ED0-8257-47B86A869751}" type="pres">
      <dgm:prSet presAssocID="{DB4AEFFF-CE5B-418C-B77D-1B1FABB34A85}" presName="rect1" presStyleLbl="trAlignAcc1" presStyleIdx="7" presStyleCnt="8" custScaleX="115429" custLinFactNeighborX="23522">
        <dgm:presLayoutVars>
          <dgm:bulletEnabled val="1"/>
        </dgm:presLayoutVars>
      </dgm:prSet>
      <dgm:spPr/>
    </dgm:pt>
    <dgm:pt modelId="{F54235CB-479B-411A-A741-A0C61E7130E3}" type="pres">
      <dgm:prSet presAssocID="{DB4AEFFF-CE5B-418C-B77D-1B1FABB34A85}" presName="rect2" presStyleLbl="fgImgPlace1" presStyleIdx="7" presStyleCnt="8" custLinFactNeighborX="55198" custLinFactNeighborY="5821"/>
      <dgm:spPr>
        <a:blipFill>
          <a:blip xmlns:r="http://schemas.openxmlformats.org/officeDocument/2006/relationships" r:embed="rId8">
            <a:extLst>
              <a:ext uri="{28A0092B-C50C-407E-A947-70E740481C1C}">
                <a14:useLocalDpi xmlns:a14="http://schemas.microsoft.com/office/drawing/2010/main" val="0"/>
              </a:ext>
            </a:extLst>
          </a:blip>
          <a:srcRect/>
          <a:stretch>
            <a:fillRect l="-50000" r="-50000"/>
          </a:stretch>
        </a:blipFill>
      </dgm:spPr>
    </dgm:pt>
  </dgm:ptLst>
  <dgm:cxnLst>
    <dgm:cxn modelId="{A5CC3E0A-F6FA-427B-947F-66382BDA8751}" srcId="{44D91CBE-ADB8-4338-BEC8-5E4899033B08}" destId="{DB4AEFFF-CE5B-418C-B77D-1B1FABB34A85}" srcOrd="7" destOrd="0" parTransId="{ACFBF326-DD46-41B3-BB99-EC2AD1BE6872}" sibTransId="{C6DB1924-CFBC-476A-B966-DDA4342AE4E3}"/>
    <dgm:cxn modelId="{341E830B-A7BB-43A4-BF89-58EEE3F5BD9C}" type="presOf" srcId="{AC2146B4-C7C3-41AA-A409-47038104CD74}" destId="{6B11216F-083E-4D9A-BCA6-25ACC8F56641}" srcOrd="0" destOrd="0" presId="urn:microsoft.com/office/officeart/2008/layout/PictureStrips"/>
    <dgm:cxn modelId="{4A01B80C-00AB-427F-9D9B-154E0573CF60}" type="presOf" srcId="{DB4AEFFF-CE5B-418C-B77D-1B1FABB34A85}" destId="{5949E35A-F2BE-4ED0-8257-47B86A869751}" srcOrd="0" destOrd="0" presId="urn:microsoft.com/office/officeart/2008/layout/PictureStrips"/>
    <dgm:cxn modelId="{BFACB60E-3BC1-48DE-9FA5-1D348646179A}" type="presOf" srcId="{21AE02A0-7090-4A6A-8D10-66E083034D20}" destId="{EFD0FE41-A7FC-4A9E-96A9-DCD70673619B}" srcOrd="0" destOrd="0" presId="urn:microsoft.com/office/officeart/2008/layout/PictureStrips"/>
    <dgm:cxn modelId="{2EBBE219-22AE-432C-87AE-9E237FDA06C7}" type="presOf" srcId="{1662458B-7C47-48B4-8849-FDCC9484AA60}" destId="{5B29E66D-E63C-4CD8-B12C-3C342103630A}" srcOrd="0" destOrd="0" presId="urn:microsoft.com/office/officeart/2008/layout/PictureStrips"/>
    <dgm:cxn modelId="{6C2B563B-5A25-491C-AC05-C619B8159717}" srcId="{44D91CBE-ADB8-4338-BEC8-5E4899033B08}" destId="{77CC7E0E-97D7-41C9-9E38-C1D693EAF9D2}" srcOrd="4" destOrd="0" parTransId="{E33ED25E-F6AE-411E-8889-CA9F73575E14}" sibTransId="{45B05FB5-66A3-4620-B8C9-50DC8AF2CD9E}"/>
    <dgm:cxn modelId="{0C7D435C-20E7-4CD2-BC95-8ED366070FE7}" srcId="{44D91CBE-ADB8-4338-BEC8-5E4899033B08}" destId="{F3EA8648-C64D-4272-BAE0-B6D1AF14D0F8}" srcOrd="2" destOrd="0" parTransId="{928223EA-DBF7-41C0-8B88-D98FF7BD16F7}" sibTransId="{A3DDE033-F1AB-4566-BF99-1B996B964F2F}"/>
    <dgm:cxn modelId="{61754942-442C-4216-B20E-4FC4D49CB7DF}" srcId="{44D91CBE-ADB8-4338-BEC8-5E4899033B08}" destId="{F07CCFA5-E753-4F89-869D-B9136E6545EE}" srcOrd="6" destOrd="0" parTransId="{E4A155E7-6798-44C1-A0E1-4AA35B0DA15C}" sibTransId="{48E85A5B-460C-40A8-920B-8B2BC4511AE0}"/>
    <dgm:cxn modelId="{EB347554-05B9-4493-B964-248C9A586989}" type="presOf" srcId="{0E882F39-BD14-4960-AD44-375DB71CAF4C}" destId="{6FB9A1D7-7A93-4BE0-B54B-57EDCE21BF7D}" srcOrd="0" destOrd="0" presId="urn:microsoft.com/office/officeart/2008/layout/PictureStrips"/>
    <dgm:cxn modelId="{C28D8C56-717F-4B5E-8A48-5FB00CFA818C}" srcId="{44D91CBE-ADB8-4338-BEC8-5E4899033B08}" destId="{21AE02A0-7090-4A6A-8D10-66E083034D20}" srcOrd="5" destOrd="0" parTransId="{026550C6-060D-4A05-B4F0-B66479823737}" sibTransId="{67F19F80-A515-4D01-A337-0CB37546AE46}"/>
    <dgm:cxn modelId="{AA9FAF58-5DE1-4EAC-9F04-9624417FBBC4}" type="presOf" srcId="{F3EA8648-C64D-4272-BAE0-B6D1AF14D0F8}" destId="{4EC5A858-B121-473B-A803-896628BE534A}" srcOrd="0" destOrd="0" presId="urn:microsoft.com/office/officeart/2008/layout/PictureStrips"/>
    <dgm:cxn modelId="{36DF9A91-36F3-4BF2-B1DF-78131FFC9972}" srcId="{44D91CBE-ADB8-4338-BEC8-5E4899033B08}" destId="{0E882F39-BD14-4960-AD44-375DB71CAF4C}" srcOrd="0" destOrd="0" parTransId="{F1A17CB8-DC40-4D0B-AA1F-C14F6C1C874B}" sibTransId="{2DA306A0-2C7B-40C8-B545-09A7616B5EB4}"/>
    <dgm:cxn modelId="{74CBF699-0659-4952-92A2-0AC227782CFC}" type="presOf" srcId="{F07CCFA5-E753-4F89-869D-B9136E6545EE}" destId="{578CABCB-31A4-494D-ACE0-71BD3F3676B6}" srcOrd="0" destOrd="0" presId="urn:microsoft.com/office/officeart/2008/layout/PictureStrips"/>
    <dgm:cxn modelId="{103C37B0-1086-465B-80A6-28A486EB5436}" type="presOf" srcId="{77CC7E0E-97D7-41C9-9E38-C1D693EAF9D2}" destId="{9B7EB1C0-4480-4F93-A087-971C5C00B9B0}" srcOrd="0" destOrd="0" presId="urn:microsoft.com/office/officeart/2008/layout/PictureStrips"/>
    <dgm:cxn modelId="{248430B4-2C3A-48B8-A17A-E736400E0836}" srcId="{44D91CBE-ADB8-4338-BEC8-5E4899033B08}" destId="{1662458B-7C47-48B4-8849-FDCC9484AA60}" srcOrd="3" destOrd="0" parTransId="{2B7A5F5F-1AF1-4768-96A5-FD49649D1B7C}" sibTransId="{7115D5D3-9249-4E3A-BB4B-7BF9446F506B}"/>
    <dgm:cxn modelId="{3F651BCD-AB95-439F-A751-879F1A6A57C1}" type="presOf" srcId="{44D91CBE-ADB8-4338-BEC8-5E4899033B08}" destId="{D648640C-394D-4C0B-B237-A836929D29A1}" srcOrd="0" destOrd="0" presId="urn:microsoft.com/office/officeart/2008/layout/PictureStrips"/>
    <dgm:cxn modelId="{4CBF5AF7-F578-4BA9-9EFE-944AC9AC09CF}" srcId="{44D91CBE-ADB8-4338-BEC8-5E4899033B08}" destId="{AC2146B4-C7C3-41AA-A409-47038104CD74}" srcOrd="1" destOrd="0" parTransId="{59C4169C-9FA3-46B9-A570-BD13FDE244E2}" sibTransId="{F6BB9D52-CB00-48AC-B89A-99C2A639D5AF}"/>
    <dgm:cxn modelId="{4D3451EB-9CC1-44AD-AE0E-E66B8B470639}" type="presParOf" srcId="{D648640C-394D-4C0B-B237-A836929D29A1}" destId="{51BD5F1B-3F3C-4E50-AA52-2D5D7A791EF8}" srcOrd="0" destOrd="0" presId="urn:microsoft.com/office/officeart/2008/layout/PictureStrips"/>
    <dgm:cxn modelId="{F86F4B17-9B3E-48B3-8FCE-27ADE5F7486E}" type="presParOf" srcId="{51BD5F1B-3F3C-4E50-AA52-2D5D7A791EF8}" destId="{6FB9A1D7-7A93-4BE0-B54B-57EDCE21BF7D}" srcOrd="0" destOrd="0" presId="urn:microsoft.com/office/officeart/2008/layout/PictureStrips"/>
    <dgm:cxn modelId="{35AD6462-6579-4D98-B523-6D4467B50579}" type="presParOf" srcId="{51BD5F1B-3F3C-4E50-AA52-2D5D7A791EF8}" destId="{3D2FAD8A-1589-4291-83B9-71ECDF090400}" srcOrd="1" destOrd="0" presId="urn:microsoft.com/office/officeart/2008/layout/PictureStrips"/>
    <dgm:cxn modelId="{658423A5-41B0-4D0D-BC80-E12C8E7E5780}" type="presParOf" srcId="{D648640C-394D-4C0B-B237-A836929D29A1}" destId="{3FDBD0B1-0E29-4941-91FB-B4DE2AF19266}" srcOrd="1" destOrd="0" presId="urn:microsoft.com/office/officeart/2008/layout/PictureStrips"/>
    <dgm:cxn modelId="{99CD516F-6F44-49D0-9555-D3CFADB4B42D}" type="presParOf" srcId="{D648640C-394D-4C0B-B237-A836929D29A1}" destId="{E02ADCBA-52EF-40B8-9C3D-720018CA8043}" srcOrd="2" destOrd="0" presId="urn:microsoft.com/office/officeart/2008/layout/PictureStrips"/>
    <dgm:cxn modelId="{46C5E62C-AA6B-4178-A561-33F9FF960B78}" type="presParOf" srcId="{E02ADCBA-52EF-40B8-9C3D-720018CA8043}" destId="{6B11216F-083E-4D9A-BCA6-25ACC8F56641}" srcOrd="0" destOrd="0" presId="urn:microsoft.com/office/officeart/2008/layout/PictureStrips"/>
    <dgm:cxn modelId="{FA63E53B-6CC1-4491-911C-D9B587059B4E}" type="presParOf" srcId="{E02ADCBA-52EF-40B8-9C3D-720018CA8043}" destId="{B30B7360-1B92-4058-8E89-873280A6539C}" srcOrd="1" destOrd="0" presId="urn:microsoft.com/office/officeart/2008/layout/PictureStrips"/>
    <dgm:cxn modelId="{C799E860-E068-4026-8BED-C702DC1FE4BF}" type="presParOf" srcId="{D648640C-394D-4C0B-B237-A836929D29A1}" destId="{A9330454-7E19-4D19-BF0D-E9D24E65E378}" srcOrd="3" destOrd="0" presId="urn:microsoft.com/office/officeart/2008/layout/PictureStrips"/>
    <dgm:cxn modelId="{6CB9F9A4-74D4-4B0A-B58F-B1BB2CF97521}" type="presParOf" srcId="{D648640C-394D-4C0B-B237-A836929D29A1}" destId="{125D1465-3B03-4844-AB8D-CF1C4CEF2236}" srcOrd="4" destOrd="0" presId="urn:microsoft.com/office/officeart/2008/layout/PictureStrips"/>
    <dgm:cxn modelId="{ECC54C29-5DBC-419E-8114-57F2ABE5E361}" type="presParOf" srcId="{125D1465-3B03-4844-AB8D-CF1C4CEF2236}" destId="{4EC5A858-B121-473B-A803-896628BE534A}" srcOrd="0" destOrd="0" presId="urn:microsoft.com/office/officeart/2008/layout/PictureStrips"/>
    <dgm:cxn modelId="{7ED74DC1-7F8F-47F6-B497-C19D1B6A6B7A}" type="presParOf" srcId="{125D1465-3B03-4844-AB8D-CF1C4CEF2236}" destId="{D3732357-9DF9-4540-8CF0-C07323AAFE27}" srcOrd="1" destOrd="0" presId="urn:microsoft.com/office/officeart/2008/layout/PictureStrips"/>
    <dgm:cxn modelId="{AB932E9D-0149-4A29-8C4D-6100AA3BA9B3}" type="presParOf" srcId="{D648640C-394D-4C0B-B237-A836929D29A1}" destId="{DBEC69EC-7A0B-4A2B-9377-DF75B4CDE1AC}" srcOrd="5" destOrd="0" presId="urn:microsoft.com/office/officeart/2008/layout/PictureStrips"/>
    <dgm:cxn modelId="{B6D1115D-44D6-4159-B476-5A7DC3EB0C6D}" type="presParOf" srcId="{D648640C-394D-4C0B-B237-A836929D29A1}" destId="{B10CAB6F-900B-4C1F-9644-135AB2A41029}" srcOrd="6" destOrd="0" presId="urn:microsoft.com/office/officeart/2008/layout/PictureStrips"/>
    <dgm:cxn modelId="{9F9E940E-10D2-4795-830B-28DD54D85238}" type="presParOf" srcId="{B10CAB6F-900B-4C1F-9644-135AB2A41029}" destId="{5B29E66D-E63C-4CD8-B12C-3C342103630A}" srcOrd="0" destOrd="0" presId="urn:microsoft.com/office/officeart/2008/layout/PictureStrips"/>
    <dgm:cxn modelId="{13F58A36-D466-4128-8A55-099EF5E56BE4}" type="presParOf" srcId="{B10CAB6F-900B-4C1F-9644-135AB2A41029}" destId="{7500FAC4-8827-4D8E-81BF-8BB27935DF60}" srcOrd="1" destOrd="0" presId="urn:microsoft.com/office/officeart/2008/layout/PictureStrips"/>
    <dgm:cxn modelId="{E8B598D2-4C0B-4991-9ADF-0D4845FFD279}" type="presParOf" srcId="{D648640C-394D-4C0B-B237-A836929D29A1}" destId="{5C5DDEEE-B38D-4FCF-9CE8-812B60DB3F27}" srcOrd="7" destOrd="0" presId="urn:microsoft.com/office/officeart/2008/layout/PictureStrips"/>
    <dgm:cxn modelId="{8FF8DBDE-A559-4FF7-800E-EA60D54D03E8}" type="presParOf" srcId="{D648640C-394D-4C0B-B237-A836929D29A1}" destId="{CCA95DAC-AC1A-4B1F-B36C-7056B01A1BAC}" srcOrd="8" destOrd="0" presId="urn:microsoft.com/office/officeart/2008/layout/PictureStrips"/>
    <dgm:cxn modelId="{A56E2EED-50AE-4E2A-95E8-7BED56135B68}" type="presParOf" srcId="{CCA95DAC-AC1A-4B1F-B36C-7056B01A1BAC}" destId="{9B7EB1C0-4480-4F93-A087-971C5C00B9B0}" srcOrd="0" destOrd="0" presId="urn:microsoft.com/office/officeart/2008/layout/PictureStrips"/>
    <dgm:cxn modelId="{A5B32F95-9B09-42CF-983F-F0B1197E7D48}" type="presParOf" srcId="{CCA95DAC-AC1A-4B1F-B36C-7056B01A1BAC}" destId="{95B2895B-F8B8-43B8-9392-CABC9F139EEE}" srcOrd="1" destOrd="0" presId="urn:microsoft.com/office/officeart/2008/layout/PictureStrips"/>
    <dgm:cxn modelId="{9CBB2E81-4FAC-491E-AD85-0D1DF5F94E5A}" type="presParOf" srcId="{D648640C-394D-4C0B-B237-A836929D29A1}" destId="{BAE62150-5A30-4568-B90E-F19FEF402652}" srcOrd="9" destOrd="0" presId="urn:microsoft.com/office/officeart/2008/layout/PictureStrips"/>
    <dgm:cxn modelId="{B3BFD749-54EF-46B3-A427-853D12948C1C}" type="presParOf" srcId="{D648640C-394D-4C0B-B237-A836929D29A1}" destId="{4740F52C-43F4-4D6F-B186-00D73B31372B}" srcOrd="10" destOrd="0" presId="urn:microsoft.com/office/officeart/2008/layout/PictureStrips"/>
    <dgm:cxn modelId="{BBADBF40-429B-423A-AD73-340820918F5E}" type="presParOf" srcId="{4740F52C-43F4-4D6F-B186-00D73B31372B}" destId="{EFD0FE41-A7FC-4A9E-96A9-DCD70673619B}" srcOrd="0" destOrd="0" presId="urn:microsoft.com/office/officeart/2008/layout/PictureStrips"/>
    <dgm:cxn modelId="{9BC898BD-E13D-4578-AC78-C216365E385B}" type="presParOf" srcId="{4740F52C-43F4-4D6F-B186-00D73B31372B}" destId="{E92ECB03-4458-4A71-9483-391A111419C0}" srcOrd="1" destOrd="0" presId="urn:microsoft.com/office/officeart/2008/layout/PictureStrips"/>
    <dgm:cxn modelId="{9560A86D-4EEE-4DF1-9445-8AFF48F0AB6A}" type="presParOf" srcId="{D648640C-394D-4C0B-B237-A836929D29A1}" destId="{CDF7DFDD-6408-4D20-8044-E57F226D4F76}" srcOrd="11" destOrd="0" presId="urn:microsoft.com/office/officeart/2008/layout/PictureStrips"/>
    <dgm:cxn modelId="{B013AC36-87A9-4988-857F-86036BD9A82D}" type="presParOf" srcId="{D648640C-394D-4C0B-B237-A836929D29A1}" destId="{D362961D-B7B6-498B-8C16-94E345EF1AA0}" srcOrd="12" destOrd="0" presId="urn:microsoft.com/office/officeart/2008/layout/PictureStrips"/>
    <dgm:cxn modelId="{B24314BD-14A9-4704-898C-50DDE2F9D3F9}" type="presParOf" srcId="{D362961D-B7B6-498B-8C16-94E345EF1AA0}" destId="{578CABCB-31A4-494D-ACE0-71BD3F3676B6}" srcOrd="0" destOrd="0" presId="urn:microsoft.com/office/officeart/2008/layout/PictureStrips"/>
    <dgm:cxn modelId="{F3FDD0D8-E640-4B70-B184-227F8B06C37E}" type="presParOf" srcId="{D362961D-B7B6-498B-8C16-94E345EF1AA0}" destId="{06022838-9923-462F-A067-BAFD96A3D805}" srcOrd="1" destOrd="0" presId="urn:microsoft.com/office/officeart/2008/layout/PictureStrips"/>
    <dgm:cxn modelId="{E1D383B5-C93F-410C-9BFA-78BB36CC2522}" type="presParOf" srcId="{D648640C-394D-4C0B-B237-A836929D29A1}" destId="{BF77663B-F1D0-4F94-A80A-1B5F1066FFB3}" srcOrd="13" destOrd="0" presId="urn:microsoft.com/office/officeart/2008/layout/PictureStrips"/>
    <dgm:cxn modelId="{07F75669-3389-44D1-A56E-7BE9EDC486A3}" type="presParOf" srcId="{D648640C-394D-4C0B-B237-A836929D29A1}" destId="{D5AFA14A-1E36-4175-B693-11C9AE98EE3E}" srcOrd="14" destOrd="0" presId="urn:microsoft.com/office/officeart/2008/layout/PictureStrips"/>
    <dgm:cxn modelId="{D85FF087-4463-4AB1-A215-7C6C0C8406E8}" type="presParOf" srcId="{D5AFA14A-1E36-4175-B693-11C9AE98EE3E}" destId="{5949E35A-F2BE-4ED0-8257-47B86A869751}" srcOrd="0" destOrd="0" presId="urn:microsoft.com/office/officeart/2008/layout/PictureStrips"/>
    <dgm:cxn modelId="{688B187A-005D-40A8-B0F2-417B99537A75}" type="presParOf" srcId="{D5AFA14A-1E36-4175-B693-11C9AE98EE3E}" destId="{F54235CB-479B-411A-A741-A0C61E7130E3}" srcOrd="1" destOrd="0" presId="urn:microsoft.com/office/officeart/2008/layout/PictureStrip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EC2C2B-EF19-4B84-BB1D-E46F99C29AFB}">
      <dsp:nvSpPr>
        <dsp:cNvPr id="0" name=""/>
        <dsp:cNvSpPr/>
      </dsp:nvSpPr>
      <dsp:spPr>
        <a:xfrm>
          <a:off x="1598437" y="394513"/>
          <a:ext cx="4001323" cy="1183128"/>
        </a:xfrm>
        <a:prstGeom prst="rect">
          <a:avLst/>
        </a:prstGeom>
        <a:solidFill>
          <a:schemeClr val="accent4">
            <a:lumMod val="60000"/>
            <a:lumOff val="40000"/>
            <a:alpha val="8000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1373" tIns="76200" rIns="76200" bIns="76200" numCol="1" spcCol="1270" anchor="ctr" anchorCtr="0">
          <a:noAutofit/>
        </a:bodyPr>
        <a:lstStyle/>
        <a:p>
          <a:pPr marL="0" lvl="0" indent="0" algn="l" defTabSz="889000">
            <a:lnSpc>
              <a:spcPct val="90000"/>
            </a:lnSpc>
            <a:spcBef>
              <a:spcPct val="0"/>
            </a:spcBef>
            <a:spcAft>
              <a:spcPct val="35000"/>
            </a:spcAft>
            <a:buNone/>
          </a:pPr>
          <a:r>
            <a:rPr lang="en-US" altLang="zh-TW" sz="2000" b="1" kern="1200" dirty="0"/>
            <a:t> Min-</a:t>
          </a:r>
          <a:r>
            <a:rPr lang="en-US" altLang="zh-TW" sz="2000" b="1" kern="1200" dirty="0" err="1"/>
            <a:t>Hsiung</a:t>
          </a:r>
          <a:r>
            <a:rPr lang="en-US" altLang="zh-TW" sz="2000" b="1" kern="1200" dirty="0"/>
            <a:t> Campus</a:t>
          </a:r>
        </a:p>
        <a:p>
          <a:pPr marL="0" lvl="0" indent="0" algn="l" defTabSz="889000">
            <a:lnSpc>
              <a:spcPct val="90000"/>
            </a:lnSpc>
            <a:spcBef>
              <a:spcPct val="0"/>
            </a:spcBef>
            <a:spcAft>
              <a:spcPct val="35000"/>
            </a:spcAft>
            <a:buNone/>
          </a:pPr>
          <a:r>
            <a:rPr lang="en-US" altLang="zh-TW" sz="1400" b="0" kern="1200" dirty="0">
              <a:latin typeface="Verdana" panose="020B0604030504040204" pitchFamily="34" charset="0"/>
              <a:ea typeface="新細明體" panose="02020500000000000000" pitchFamily="18" charset="-120"/>
            </a:rPr>
            <a:t> </a:t>
          </a:r>
          <a:r>
            <a:rPr lang="en-US" altLang="zh-TW" sz="1200" b="0" kern="1200" dirty="0">
              <a:latin typeface="Verdana" panose="020B0604030504040204" pitchFamily="34" charset="0"/>
              <a:ea typeface="新細明體" panose="02020500000000000000" pitchFamily="18" charset="-120"/>
            </a:rPr>
            <a:t>- Teachers College</a:t>
          </a:r>
        </a:p>
        <a:p>
          <a:pPr marL="0" lvl="0" indent="0" algn="l" defTabSz="889000">
            <a:lnSpc>
              <a:spcPct val="90000"/>
            </a:lnSpc>
            <a:spcBef>
              <a:spcPct val="0"/>
            </a:spcBef>
            <a:spcAft>
              <a:spcPct val="35000"/>
            </a:spcAft>
            <a:buNone/>
          </a:pPr>
          <a:r>
            <a:rPr lang="en-US" altLang="zh-TW" sz="1200" b="0" kern="1200" dirty="0">
              <a:latin typeface="Verdana" panose="020B0604030504040204" pitchFamily="34" charset="0"/>
              <a:ea typeface="新細明體" panose="02020500000000000000" pitchFamily="18" charset="-120"/>
            </a:rPr>
            <a:t> - College of Humanities and Arts</a:t>
          </a:r>
          <a:endParaRPr lang="zh-TW" altLang="en-US" sz="1200" b="1" kern="1200" dirty="0"/>
        </a:p>
      </dsp:txBody>
      <dsp:txXfrm>
        <a:off x="1598437" y="394513"/>
        <a:ext cx="4001323" cy="1183128"/>
      </dsp:txXfrm>
    </dsp:sp>
    <dsp:sp modelId="{B56677D0-30A4-4230-9BE0-80D9D17DD8E1}">
      <dsp:nvSpPr>
        <dsp:cNvPr id="0" name=""/>
        <dsp:cNvSpPr/>
      </dsp:nvSpPr>
      <dsp:spPr>
        <a:xfrm>
          <a:off x="1586028" y="296241"/>
          <a:ext cx="752816" cy="1097037"/>
        </a:xfrm>
        <a:prstGeom prst="rect">
          <a:avLst/>
        </a:prstGeom>
        <a:blipFill>
          <a:blip xmlns:r="http://schemas.openxmlformats.org/officeDocument/2006/relationships" r:embed="rId1" cstate="print">
            <a:duotone>
              <a:schemeClr val="accent4">
                <a:hueOff val="0"/>
                <a:satOff val="0"/>
                <a:lumOff val="0"/>
                <a:alphaOff val="0"/>
                <a:shade val="20000"/>
                <a:satMod val="200000"/>
              </a:schemeClr>
              <a:schemeClr val="accent4">
                <a:hueOff val="0"/>
                <a:satOff val="0"/>
                <a:lumOff val="0"/>
                <a:alphaOff val="0"/>
                <a:tint val="12000"/>
                <a:satMod val="190000"/>
              </a:schemeClr>
            </a:duotone>
            <a:extLst>
              <a:ext uri="{28A0092B-C50C-407E-A947-70E740481C1C}">
                <a14:useLocalDpi xmlns:a14="http://schemas.microsoft.com/office/drawing/2010/main" val="0"/>
              </a:ext>
            </a:extLst>
          </a:blip>
          <a:srcRect/>
          <a:stretch>
            <a:fillRect l="-47000" r="-47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0">
          <a:scrgbClr r="0" g="0" b="0"/>
        </a:lnRef>
        <a:fillRef idx="1">
          <a:scrgbClr r="0" g="0" b="0"/>
        </a:fillRef>
        <a:effectRef idx="3">
          <a:scrgbClr r="0" g="0" b="0"/>
        </a:effectRef>
        <a:fontRef idx="minor"/>
      </dsp:style>
    </dsp:sp>
    <dsp:sp modelId="{B17F3F61-BC15-4FE8-AFA9-8E72B07B71DF}">
      <dsp:nvSpPr>
        <dsp:cNvPr id="0" name=""/>
        <dsp:cNvSpPr/>
      </dsp:nvSpPr>
      <dsp:spPr>
        <a:xfrm>
          <a:off x="1632370" y="1754247"/>
          <a:ext cx="3967021" cy="1183128"/>
        </a:xfrm>
        <a:prstGeom prst="rect">
          <a:avLst/>
        </a:prstGeom>
        <a:solidFill>
          <a:schemeClr val="accent3">
            <a:lumMod val="75000"/>
            <a:alpha val="40000"/>
          </a:scheme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1373" tIns="76200" rIns="76200" bIns="76200" numCol="1" spcCol="1270" anchor="ctr" anchorCtr="0">
          <a:noAutofit/>
        </a:bodyPr>
        <a:lstStyle/>
        <a:p>
          <a:pPr marL="0" lvl="0" indent="0" algn="l" defTabSz="889000">
            <a:lnSpc>
              <a:spcPct val="90000"/>
            </a:lnSpc>
            <a:spcBef>
              <a:spcPct val="0"/>
            </a:spcBef>
            <a:spcAft>
              <a:spcPct val="35000"/>
            </a:spcAft>
            <a:buNone/>
          </a:pPr>
          <a:r>
            <a:rPr lang="en-US" altLang="zh-TW" sz="2000" b="1" kern="1200" dirty="0"/>
            <a:t> </a:t>
          </a:r>
          <a:r>
            <a:rPr lang="en-US" altLang="zh-TW" sz="2000" b="1" kern="1200" dirty="0" err="1"/>
            <a:t>Linsen</a:t>
          </a:r>
          <a:r>
            <a:rPr lang="en-US" altLang="zh-TW" sz="2000" b="1" kern="1200" dirty="0"/>
            <a:t> Campus</a:t>
          </a:r>
        </a:p>
        <a:p>
          <a:pPr marL="0" lvl="0" indent="0" algn="l" defTabSz="889000">
            <a:lnSpc>
              <a:spcPct val="90000"/>
            </a:lnSpc>
            <a:spcBef>
              <a:spcPct val="0"/>
            </a:spcBef>
            <a:spcAft>
              <a:spcPct val="35000"/>
            </a:spcAft>
            <a:buNone/>
          </a:pPr>
          <a:r>
            <a:rPr lang="en-US" altLang="zh-TW" sz="1200" b="0" kern="1200" dirty="0">
              <a:latin typeface="Verdana" panose="020B0604030504040204" pitchFamily="34" charset="0"/>
              <a:ea typeface="新細明體" panose="02020500000000000000" pitchFamily="18" charset="-120"/>
            </a:rPr>
            <a:t> - Teachers College Division</a:t>
          </a:r>
          <a:endParaRPr lang="zh-TW" altLang="en-US" sz="1200" b="0" kern="1200" dirty="0">
            <a:latin typeface="Verdana" panose="020B0604030504040204" pitchFamily="34" charset="0"/>
            <a:ea typeface="新細明體" panose="02020500000000000000" pitchFamily="18" charset="-120"/>
          </a:endParaRPr>
        </a:p>
      </dsp:txBody>
      <dsp:txXfrm>
        <a:off x="1632370" y="1754247"/>
        <a:ext cx="3967021" cy="1183128"/>
      </dsp:txXfrm>
    </dsp:sp>
    <dsp:sp modelId="{50CAE262-AADE-4ADD-B734-00EBC693EFAE}">
      <dsp:nvSpPr>
        <dsp:cNvPr id="0" name=""/>
        <dsp:cNvSpPr/>
      </dsp:nvSpPr>
      <dsp:spPr>
        <a:xfrm>
          <a:off x="1586396" y="1713045"/>
          <a:ext cx="785646" cy="982896"/>
        </a:xfrm>
        <a:prstGeom prst="rect">
          <a:avLst/>
        </a:prstGeom>
        <a:blipFill>
          <a:blip xmlns:r="http://schemas.openxmlformats.org/officeDocument/2006/relationships" r:embed="rId2" cstate="print">
            <a:duotone>
              <a:schemeClr val="accent4">
                <a:hueOff val="3077474"/>
                <a:satOff val="-15063"/>
                <a:lumOff val="-1615"/>
                <a:alphaOff val="0"/>
                <a:shade val="20000"/>
                <a:satMod val="200000"/>
              </a:schemeClr>
              <a:schemeClr val="accent4">
                <a:hueOff val="3077474"/>
                <a:satOff val="-15063"/>
                <a:lumOff val="-1615"/>
                <a:alphaOff val="0"/>
                <a:tint val="12000"/>
                <a:satMod val="190000"/>
              </a:schemeClr>
            </a:duotone>
            <a:extLst>
              <a:ext uri="{28A0092B-C50C-407E-A947-70E740481C1C}">
                <a14:useLocalDpi xmlns:a14="http://schemas.microsoft.com/office/drawing/2010/main" val="0"/>
              </a:ext>
            </a:extLst>
          </a:blip>
          <a:srcRect/>
          <a:stretch>
            <a:fillRect l="-39000" r="-39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0">
          <a:scrgbClr r="0" g="0" b="0"/>
        </a:lnRef>
        <a:fillRef idx="1">
          <a:scrgbClr r="0" g="0" b="0"/>
        </a:fillRef>
        <a:effectRef idx="3">
          <a:scrgbClr r="0" g="0" b="0"/>
        </a:effectRef>
        <a:fontRef idx="minor"/>
      </dsp:style>
    </dsp:sp>
    <dsp:sp modelId="{61449199-432B-482B-8C64-7B636D22535B}">
      <dsp:nvSpPr>
        <dsp:cNvPr id="0" name=""/>
        <dsp:cNvSpPr/>
      </dsp:nvSpPr>
      <dsp:spPr>
        <a:xfrm>
          <a:off x="1837690" y="3165892"/>
          <a:ext cx="3773102" cy="1183128"/>
        </a:xfrm>
        <a:prstGeom prst="rect">
          <a:avLst/>
        </a:prstGeom>
        <a:solidFill>
          <a:srgbClr val="7030A0">
            <a:alpha val="40000"/>
          </a:srgb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1373" tIns="76200" rIns="76200" bIns="76200" numCol="1" spcCol="1270" anchor="ctr" anchorCtr="0">
          <a:noAutofit/>
        </a:bodyPr>
        <a:lstStyle/>
        <a:p>
          <a:pPr marL="0" lvl="0" indent="0" algn="l" defTabSz="889000">
            <a:lnSpc>
              <a:spcPct val="90000"/>
            </a:lnSpc>
            <a:spcBef>
              <a:spcPct val="0"/>
            </a:spcBef>
            <a:spcAft>
              <a:spcPct val="35000"/>
            </a:spcAft>
            <a:buNone/>
          </a:pPr>
          <a:r>
            <a:rPr lang="en-US" altLang="zh-TW" sz="2000" b="1" kern="1200" dirty="0" err="1"/>
            <a:t>Hsinming</a:t>
          </a:r>
          <a:r>
            <a:rPr lang="en-US" altLang="zh-TW" sz="2000" b="1" kern="1200" dirty="0"/>
            <a:t> Campus</a:t>
          </a:r>
        </a:p>
        <a:p>
          <a:pPr marL="0" lvl="0" indent="0" algn="l" defTabSz="889000">
            <a:lnSpc>
              <a:spcPct val="90000"/>
            </a:lnSpc>
            <a:spcBef>
              <a:spcPct val="0"/>
            </a:spcBef>
            <a:spcAft>
              <a:spcPct val="35000"/>
            </a:spcAft>
            <a:buNone/>
          </a:pPr>
          <a:r>
            <a:rPr lang="en-US" altLang="zh-TW" sz="1400" kern="1200" dirty="0"/>
            <a:t>- College of Management</a:t>
          </a:r>
          <a:endParaRPr lang="zh-TW" altLang="en-US" sz="1400" kern="1200" dirty="0"/>
        </a:p>
      </dsp:txBody>
      <dsp:txXfrm>
        <a:off x="1837690" y="3165892"/>
        <a:ext cx="3773102" cy="1183128"/>
      </dsp:txXfrm>
    </dsp:sp>
    <dsp:sp modelId="{95D2CB8D-FA11-43DB-A186-C58CDCDBA127}">
      <dsp:nvSpPr>
        <dsp:cNvPr id="0" name=""/>
        <dsp:cNvSpPr/>
      </dsp:nvSpPr>
      <dsp:spPr>
        <a:xfrm>
          <a:off x="1628946" y="3072778"/>
          <a:ext cx="809365" cy="1085844"/>
        </a:xfrm>
        <a:prstGeom prst="rect">
          <a:avLst/>
        </a:prstGeom>
        <a:blipFill>
          <a:blip xmlns:r="http://schemas.openxmlformats.org/officeDocument/2006/relationships" r:embed="rId3" cstate="print">
            <a:duotone>
              <a:schemeClr val="accent4">
                <a:hueOff val="6154948"/>
                <a:satOff val="-30125"/>
                <a:lumOff val="-3231"/>
                <a:alphaOff val="0"/>
                <a:shade val="20000"/>
                <a:satMod val="200000"/>
              </a:schemeClr>
              <a:schemeClr val="accent4">
                <a:hueOff val="6154948"/>
                <a:satOff val="-30125"/>
                <a:lumOff val="-3231"/>
                <a:alphaOff val="0"/>
                <a:tint val="12000"/>
                <a:satMod val="190000"/>
              </a:schemeClr>
            </a:duotone>
            <a:extLst>
              <a:ext uri="{28A0092B-C50C-407E-A947-70E740481C1C}">
                <a14:useLocalDpi xmlns:a14="http://schemas.microsoft.com/office/drawing/2010/main" val="0"/>
              </a:ext>
            </a:extLst>
          </a:blip>
          <a:srcRect/>
          <a:stretch>
            <a:fillRect l="-39000" r="-39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0">
          <a:scrgbClr r="0" g="0" b="0"/>
        </a:lnRef>
        <a:fillRef idx="1">
          <a:scrgbClr r="0" g="0" b="0"/>
        </a:fillRef>
        <a:effectRef idx="3">
          <a:scrgbClr r="0" g="0" b="0"/>
        </a:effectRef>
        <a:fontRef idx="minor"/>
      </dsp:style>
    </dsp:sp>
    <dsp:sp modelId="{B77F5EAA-C162-4581-8AAC-E66D8C88B32C}">
      <dsp:nvSpPr>
        <dsp:cNvPr id="0" name=""/>
        <dsp:cNvSpPr/>
      </dsp:nvSpPr>
      <dsp:spPr>
        <a:xfrm>
          <a:off x="1651193" y="4563456"/>
          <a:ext cx="3954603" cy="1183128"/>
        </a:xfrm>
        <a:prstGeom prst="rect">
          <a:avLst/>
        </a:prstGeom>
        <a:solidFill>
          <a:srgbClr val="F40202">
            <a:alpha val="40000"/>
          </a:srgbClr>
        </a:solidFill>
        <a:ln w="9525" cap="flat" cmpd="sng" algn="ctr">
          <a:solidFill>
            <a:schemeClr val="accent4">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01373" tIns="76200" rIns="76200" bIns="76200" numCol="1" spcCol="1270" anchor="ctr" anchorCtr="0">
          <a:noAutofit/>
        </a:bodyPr>
        <a:lstStyle/>
        <a:p>
          <a:pPr marL="0" lvl="0" indent="0" algn="l" defTabSz="889000">
            <a:lnSpc>
              <a:spcPct val="90000"/>
            </a:lnSpc>
            <a:spcBef>
              <a:spcPct val="0"/>
            </a:spcBef>
            <a:spcAft>
              <a:spcPct val="35000"/>
            </a:spcAft>
            <a:buNone/>
          </a:pPr>
          <a:r>
            <a:rPr lang="en-US" altLang="zh-TW" sz="2000" b="1" kern="1200" dirty="0"/>
            <a:t> </a:t>
          </a:r>
          <a:r>
            <a:rPr lang="en-US" altLang="zh-TW" sz="2000" b="1" kern="1200" dirty="0" err="1"/>
            <a:t>Lantan</a:t>
          </a:r>
          <a:r>
            <a:rPr lang="en-US" altLang="zh-TW" sz="2000" b="1" kern="1200" dirty="0"/>
            <a:t> Campus</a:t>
          </a:r>
        </a:p>
        <a:p>
          <a:pPr marL="0" lvl="0" indent="0" algn="l" defTabSz="889000">
            <a:lnSpc>
              <a:spcPct val="90000"/>
            </a:lnSpc>
            <a:spcBef>
              <a:spcPct val="0"/>
            </a:spcBef>
            <a:spcAft>
              <a:spcPct val="35000"/>
            </a:spcAft>
            <a:buNone/>
          </a:pPr>
          <a:r>
            <a:rPr lang="en-US" altLang="zh-TW" sz="1400" kern="1200" dirty="0"/>
            <a:t> - College  of Science and Engineering</a:t>
          </a:r>
        </a:p>
        <a:p>
          <a:pPr marL="0" lvl="0" indent="0" algn="l" defTabSz="889000">
            <a:lnSpc>
              <a:spcPct val="90000"/>
            </a:lnSpc>
            <a:spcBef>
              <a:spcPct val="0"/>
            </a:spcBef>
            <a:spcAft>
              <a:spcPct val="35000"/>
            </a:spcAft>
            <a:buNone/>
          </a:pPr>
          <a:r>
            <a:rPr lang="en-US" altLang="zh-TW" sz="1400" kern="1200" dirty="0"/>
            <a:t> - College of Agriculture</a:t>
          </a:r>
        </a:p>
        <a:p>
          <a:pPr marL="0" lvl="0" indent="0" algn="l" defTabSz="889000">
            <a:lnSpc>
              <a:spcPct val="90000"/>
            </a:lnSpc>
            <a:spcBef>
              <a:spcPct val="0"/>
            </a:spcBef>
            <a:spcAft>
              <a:spcPct val="35000"/>
            </a:spcAft>
            <a:buNone/>
          </a:pPr>
          <a:r>
            <a:rPr lang="en-US" altLang="zh-TW" sz="1400" kern="1200" dirty="0"/>
            <a:t> - College of Life Sciences</a:t>
          </a:r>
          <a:endParaRPr lang="zh-TW" altLang="en-US" sz="1400" kern="1200" dirty="0"/>
        </a:p>
      </dsp:txBody>
      <dsp:txXfrm>
        <a:off x="1651193" y="4563456"/>
        <a:ext cx="3954603" cy="1183128"/>
      </dsp:txXfrm>
    </dsp:sp>
    <dsp:sp modelId="{E9D01D7D-6F8F-48E1-B29E-0530F14C8138}">
      <dsp:nvSpPr>
        <dsp:cNvPr id="0" name=""/>
        <dsp:cNvSpPr/>
      </dsp:nvSpPr>
      <dsp:spPr>
        <a:xfrm>
          <a:off x="1579991" y="4483986"/>
          <a:ext cx="823684" cy="1059433"/>
        </a:xfrm>
        <a:prstGeom prst="rect">
          <a:avLst/>
        </a:prstGeom>
        <a:blipFill>
          <a:blip xmlns:r="http://schemas.openxmlformats.org/officeDocument/2006/relationships" r:embed="rId4">
            <a:duotone>
              <a:schemeClr val="accent4">
                <a:hueOff val="9232422"/>
                <a:satOff val="-45188"/>
                <a:lumOff val="-4846"/>
                <a:alphaOff val="0"/>
                <a:shade val="20000"/>
                <a:satMod val="200000"/>
              </a:schemeClr>
              <a:schemeClr val="accent4">
                <a:hueOff val="9232422"/>
                <a:satOff val="-45188"/>
                <a:lumOff val="-4846"/>
                <a:alphaOff val="0"/>
                <a:tint val="12000"/>
                <a:satMod val="190000"/>
              </a:schemeClr>
            </a:duotone>
            <a:extLst>
              <a:ext uri="{28A0092B-C50C-407E-A947-70E740481C1C}">
                <a14:useLocalDpi xmlns:a14="http://schemas.microsoft.com/office/drawing/2010/main" val="0"/>
              </a:ext>
            </a:extLst>
          </a:blip>
          <a:srcRect/>
          <a:stretch>
            <a:fillRect l="-46000" r="-46000"/>
          </a:stretch>
        </a:blipFill>
        <a:ln>
          <a:noFill/>
        </a:ln>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dsp:spPr>
      <dsp:style>
        <a:lnRef idx="0">
          <a:scrgbClr r="0" g="0" b="0"/>
        </a:lnRef>
        <a:fillRef idx="1">
          <a:scrgbClr r="0" g="0" b="0"/>
        </a:fillRef>
        <a:effectRef idx="3">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F40985-DD23-4FBE-B308-9E6178139F07}">
      <dsp:nvSpPr>
        <dsp:cNvPr id="0" name=""/>
        <dsp:cNvSpPr/>
      </dsp:nvSpPr>
      <dsp:spPr>
        <a:xfrm>
          <a:off x="-4522491" y="-693485"/>
          <a:ext cx="5387470" cy="5387470"/>
        </a:xfrm>
        <a:prstGeom prst="blockArc">
          <a:avLst>
            <a:gd name="adj1" fmla="val 18900000"/>
            <a:gd name="adj2" fmla="val 2700000"/>
            <a:gd name="adj3" fmla="val 401"/>
          </a:avLst>
        </a:prstGeom>
        <a:noFill/>
        <a:ln w="15875" cap="flat" cmpd="sng" algn="ctr">
          <a:solidFill>
            <a:schemeClr val="accent5">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9912F55-5064-48A8-909D-AC6BA45618F4}">
      <dsp:nvSpPr>
        <dsp:cNvPr id="0" name=""/>
        <dsp:cNvSpPr/>
      </dsp:nvSpPr>
      <dsp:spPr>
        <a:xfrm>
          <a:off x="323063" y="210666"/>
          <a:ext cx="6322209" cy="421172"/>
        </a:xfrm>
        <a:prstGeom prst="rect">
          <a:avLst/>
        </a:prstGeom>
        <a:gradFill rotWithShape="0">
          <a:gsLst>
            <a:gs pos="0">
              <a:schemeClr val="accent4">
                <a:hueOff val="0"/>
                <a:satOff val="0"/>
                <a:lumOff val="0"/>
                <a:alphaOff val="0"/>
                <a:tint val="79000"/>
                <a:satMod val="180000"/>
              </a:schemeClr>
            </a:gs>
            <a:gs pos="65000">
              <a:schemeClr val="accent4">
                <a:hueOff val="0"/>
                <a:satOff val="0"/>
                <a:lumOff val="0"/>
                <a:alphaOff val="0"/>
                <a:tint val="52000"/>
                <a:satMod val="250000"/>
              </a:schemeClr>
            </a:gs>
            <a:gs pos="100000">
              <a:schemeClr val="accent4">
                <a:hueOff val="0"/>
                <a:satOff val="0"/>
                <a:lumOff val="0"/>
                <a:alphaOff val="0"/>
                <a:tint val="29000"/>
                <a:satMod val="300000"/>
              </a:schemeClr>
            </a:gs>
          </a:gsLst>
          <a:lin ang="16200000" scaled="0"/>
        </a:gradFill>
        <a:ln>
          <a:noFill/>
        </a:ln>
        <a:effectLst>
          <a:outerShdw blurRad="63500" dist="25400" dir="5400000" rotWithShape="0">
            <a:srgbClr val="000000">
              <a:alpha val="43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34306" tIns="60960" rIns="60960" bIns="60960" numCol="1" spcCol="1270" anchor="ctr" anchorCtr="0">
          <a:noAutofit/>
        </a:bodyPr>
        <a:lstStyle/>
        <a:p>
          <a:pPr marL="0" lvl="0" indent="0" algn="l" defTabSz="1066800">
            <a:lnSpc>
              <a:spcPct val="90000"/>
            </a:lnSpc>
            <a:spcBef>
              <a:spcPct val="0"/>
            </a:spcBef>
            <a:spcAft>
              <a:spcPct val="35000"/>
            </a:spcAft>
            <a:buNone/>
          </a:pPr>
          <a:r>
            <a:rPr lang="en-US" altLang="zh-TW" sz="2400" kern="1200" dirty="0">
              <a:ea typeface="新細明體" panose="02020500000000000000" pitchFamily="18" charset="-120"/>
            </a:rPr>
            <a:t>Counseling</a:t>
          </a:r>
          <a:endParaRPr lang="zh-TW" altLang="en-US" sz="2400" kern="1200" dirty="0"/>
        </a:p>
      </dsp:txBody>
      <dsp:txXfrm>
        <a:off x="323063" y="210666"/>
        <a:ext cx="6322209" cy="421172"/>
      </dsp:txXfrm>
    </dsp:sp>
    <dsp:sp modelId="{E2E90FF0-5152-45F4-BBFF-F7E462A9C91C}">
      <dsp:nvSpPr>
        <dsp:cNvPr id="0" name=""/>
        <dsp:cNvSpPr/>
      </dsp:nvSpPr>
      <dsp:spPr>
        <a:xfrm>
          <a:off x="59830" y="158019"/>
          <a:ext cx="526465" cy="526465"/>
        </a:xfrm>
        <a:prstGeom prst="ellipse">
          <a:avLst/>
        </a:prstGeom>
        <a:gradFill rotWithShape="0">
          <a:gsLst>
            <a:gs pos="0">
              <a:schemeClr val="lt1">
                <a:hueOff val="0"/>
                <a:satOff val="0"/>
                <a:lumOff val="0"/>
                <a:alphaOff val="0"/>
                <a:tint val="79000"/>
                <a:satMod val="180000"/>
              </a:schemeClr>
            </a:gs>
            <a:gs pos="65000">
              <a:schemeClr val="lt1">
                <a:hueOff val="0"/>
                <a:satOff val="0"/>
                <a:lumOff val="0"/>
                <a:alphaOff val="0"/>
                <a:tint val="52000"/>
                <a:satMod val="250000"/>
              </a:schemeClr>
            </a:gs>
            <a:gs pos="100000">
              <a:schemeClr val="lt1">
                <a:hueOff val="0"/>
                <a:satOff val="0"/>
                <a:lumOff val="0"/>
                <a:alphaOff val="0"/>
                <a:tint val="29000"/>
                <a:satMod val="300000"/>
              </a:schemeClr>
            </a:gs>
          </a:gsLst>
          <a:lin ang="16200000" scaled="0"/>
        </a:gradFill>
        <a:ln w="9525" cap="flat" cmpd="sng" algn="ctr">
          <a:solidFill>
            <a:schemeClr val="accent4">
              <a:hueOff val="0"/>
              <a:satOff val="0"/>
              <a:lumOff val="0"/>
              <a:alphaOff val="0"/>
            </a:schemeClr>
          </a:solidFill>
          <a:prstDash val="solid"/>
        </a:ln>
        <a:effectLst/>
      </dsp:spPr>
      <dsp:style>
        <a:lnRef idx="1">
          <a:scrgbClr r="0" g="0" b="0"/>
        </a:lnRef>
        <a:fillRef idx="2">
          <a:scrgbClr r="0" g="0" b="0"/>
        </a:fillRef>
        <a:effectRef idx="0">
          <a:scrgbClr r="0" g="0" b="0"/>
        </a:effectRef>
        <a:fontRef idx="minor"/>
      </dsp:style>
    </dsp:sp>
    <dsp:sp modelId="{57A9796B-653E-4E72-B665-12147467A2A7}">
      <dsp:nvSpPr>
        <dsp:cNvPr id="0" name=""/>
        <dsp:cNvSpPr/>
      </dsp:nvSpPr>
      <dsp:spPr>
        <a:xfrm>
          <a:off x="669506" y="842345"/>
          <a:ext cx="5975766" cy="421172"/>
        </a:xfrm>
        <a:prstGeom prst="rect">
          <a:avLst/>
        </a:prstGeom>
        <a:gradFill rotWithShape="0">
          <a:gsLst>
            <a:gs pos="0">
              <a:schemeClr val="accent4">
                <a:hueOff val="-1160110"/>
                <a:satOff val="17113"/>
                <a:lumOff val="-1294"/>
                <a:alphaOff val="0"/>
                <a:tint val="79000"/>
                <a:satMod val="180000"/>
              </a:schemeClr>
            </a:gs>
            <a:gs pos="65000">
              <a:schemeClr val="accent4">
                <a:hueOff val="-1160110"/>
                <a:satOff val="17113"/>
                <a:lumOff val="-1294"/>
                <a:alphaOff val="0"/>
                <a:tint val="52000"/>
                <a:satMod val="250000"/>
              </a:schemeClr>
            </a:gs>
            <a:gs pos="100000">
              <a:schemeClr val="accent4">
                <a:hueOff val="-1160110"/>
                <a:satOff val="17113"/>
                <a:lumOff val="-1294"/>
                <a:alphaOff val="0"/>
                <a:tint val="29000"/>
                <a:satMod val="300000"/>
              </a:schemeClr>
            </a:gs>
          </a:gsLst>
          <a:lin ang="16200000" scaled="0"/>
        </a:gradFill>
        <a:ln>
          <a:noFill/>
        </a:ln>
        <a:effectLst>
          <a:outerShdw blurRad="63500" dist="25400" dir="5400000" rotWithShape="0">
            <a:srgbClr val="000000">
              <a:alpha val="43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34306" tIns="60960" rIns="60960" bIns="60960" numCol="1" spcCol="1270" anchor="ctr" anchorCtr="0">
          <a:noAutofit/>
        </a:bodyPr>
        <a:lstStyle/>
        <a:p>
          <a:pPr marL="0" lvl="0" indent="0" algn="l" defTabSz="1066800">
            <a:lnSpc>
              <a:spcPct val="90000"/>
            </a:lnSpc>
            <a:spcBef>
              <a:spcPct val="0"/>
            </a:spcBef>
            <a:spcAft>
              <a:spcPct val="35000"/>
            </a:spcAft>
            <a:buNone/>
          </a:pPr>
          <a:r>
            <a:rPr lang="en-US" altLang="zh-TW" sz="2400" kern="1200" dirty="0">
              <a:ea typeface="新細明體" panose="02020500000000000000" pitchFamily="18" charset="-120"/>
            </a:rPr>
            <a:t>Physical Education, Health &amp;</a:t>
          </a:r>
          <a:r>
            <a:rPr lang="zh-TW" altLang="en-US" sz="2400" kern="1200" dirty="0">
              <a:ea typeface="新細明體" panose="02020500000000000000" pitchFamily="18" charset="-120"/>
            </a:rPr>
            <a:t>  </a:t>
          </a:r>
          <a:r>
            <a:rPr lang="en-US" altLang="zh-TW" sz="2400" kern="1200" dirty="0">
              <a:ea typeface="新細明體" panose="02020500000000000000" pitchFamily="18" charset="-120"/>
            </a:rPr>
            <a:t>Recreation</a:t>
          </a:r>
          <a:endParaRPr lang="zh-TW" altLang="en-US" sz="2400" kern="1200" dirty="0"/>
        </a:p>
      </dsp:txBody>
      <dsp:txXfrm>
        <a:off x="669506" y="842345"/>
        <a:ext cx="5975766" cy="421172"/>
      </dsp:txXfrm>
    </dsp:sp>
    <dsp:sp modelId="{D918FB54-70A9-485C-986E-07C3131B1AEB}">
      <dsp:nvSpPr>
        <dsp:cNvPr id="0" name=""/>
        <dsp:cNvSpPr/>
      </dsp:nvSpPr>
      <dsp:spPr>
        <a:xfrm>
          <a:off x="406273" y="789698"/>
          <a:ext cx="526465" cy="526465"/>
        </a:xfrm>
        <a:prstGeom prst="ellipse">
          <a:avLst/>
        </a:prstGeom>
        <a:gradFill rotWithShape="0">
          <a:gsLst>
            <a:gs pos="0">
              <a:schemeClr val="lt1">
                <a:hueOff val="0"/>
                <a:satOff val="0"/>
                <a:lumOff val="0"/>
                <a:alphaOff val="0"/>
                <a:tint val="79000"/>
                <a:satMod val="180000"/>
              </a:schemeClr>
            </a:gs>
            <a:gs pos="65000">
              <a:schemeClr val="lt1">
                <a:hueOff val="0"/>
                <a:satOff val="0"/>
                <a:lumOff val="0"/>
                <a:alphaOff val="0"/>
                <a:tint val="52000"/>
                <a:satMod val="250000"/>
              </a:schemeClr>
            </a:gs>
            <a:gs pos="100000">
              <a:schemeClr val="lt1">
                <a:hueOff val="0"/>
                <a:satOff val="0"/>
                <a:lumOff val="0"/>
                <a:alphaOff val="0"/>
                <a:tint val="29000"/>
                <a:satMod val="300000"/>
              </a:schemeClr>
            </a:gs>
          </a:gsLst>
          <a:lin ang="16200000" scaled="0"/>
        </a:gradFill>
        <a:ln w="9525" cap="flat" cmpd="sng" algn="ctr">
          <a:solidFill>
            <a:schemeClr val="accent4">
              <a:hueOff val="-1160110"/>
              <a:satOff val="17113"/>
              <a:lumOff val="-1294"/>
              <a:alphaOff val="0"/>
            </a:schemeClr>
          </a:solidFill>
          <a:prstDash val="solid"/>
        </a:ln>
        <a:effectLst/>
      </dsp:spPr>
      <dsp:style>
        <a:lnRef idx="1">
          <a:scrgbClr r="0" g="0" b="0"/>
        </a:lnRef>
        <a:fillRef idx="2">
          <a:scrgbClr r="0" g="0" b="0"/>
        </a:fillRef>
        <a:effectRef idx="0">
          <a:scrgbClr r="0" g="0" b="0"/>
        </a:effectRef>
        <a:fontRef idx="minor"/>
      </dsp:style>
    </dsp:sp>
    <dsp:sp modelId="{6DA46BDF-7FE3-4A9C-BB28-01B09761DC73}">
      <dsp:nvSpPr>
        <dsp:cNvPr id="0" name=""/>
        <dsp:cNvSpPr/>
      </dsp:nvSpPr>
      <dsp:spPr>
        <a:xfrm>
          <a:off x="827926" y="1474023"/>
          <a:ext cx="5817346" cy="421172"/>
        </a:xfrm>
        <a:prstGeom prst="rect">
          <a:avLst/>
        </a:prstGeom>
        <a:gradFill rotWithShape="0">
          <a:gsLst>
            <a:gs pos="0">
              <a:schemeClr val="accent4">
                <a:hueOff val="-2320221"/>
                <a:satOff val="34227"/>
                <a:lumOff val="-2588"/>
                <a:alphaOff val="0"/>
                <a:tint val="79000"/>
                <a:satMod val="180000"/>
              </a:schemeClr>
            </a:gs>
            <a:gs pos="65000">
              <a:schemeClr val="accent4">
                <a:hueOff val="-2320221"/>
                <a:satOff val="34227"/>
                <a:lumOff val="-2588"/>
                <a:alphaOff val="0"/>
                <a:tint val="52000"/>
                <a:satMod val="250000"/>
              </a:schemeClr>
            </a:gs>
            <a:gs pos="100000">
              <a:schemeClr val="accent4">
                <a:hueOff val="-2320221"/>
                <a:satOff val="34227"/>
                <a:lumOff val="-2588"/>
                <a:alphaOff val="0"/>
                <a:tint val="29000"/>
                <a:satMod val="300000"/>
              </a:schemeClr>
            </a:gs>
          </a:gsLst>
          <a:lin ang="16200000" scaled="0"/>
        </a:gradFill>
        <a:ln>
          <a:noFill/>
        </a:ln>
        <a:effectLst>
          <a:outerShdw blurRad="63500" dist="25400" dir="5400000" rotWithShape="0">
            <a:srgbClr val="000000">
              <a:alpha val="43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34306" tIns="60960" rIns="60960" bIns="60960" numCol="1" spcCol="1270" anchor="ctr" anchorCtr="0">
          <a:noAutofit/>
        </a:bodyPr>
        <a:lstStyle/>
        <a:p>
          <a:pPr marL="0" lvl="0" indent="0" algn="l" defTabSz="1066800">
            <a:lnSpc>
              <a:spcPct val="90000"/>
            </a:lnSpc>
            <a:spcBef>
              <a:spcPct val="0"/>
            </a:spcBef>
            <a:spcAft>
              <a:spcPct val="35000"/>
            </a:spcAft>
            <a:buNone/>
          </a:pPr>
          <a:r>
            <a:rPr lang="en-US" altLang="zh-TW" sz="2400" kern="1200" dirty="0">
              <a:ea typeface="新細明體" panose="02020500000000000000" pitchFamily="18" charset="-120"/>
            </a:rPr>
            <a:t>Early Childhood Education</a:t>
          </a:r>
          <a:endParaRPr lang="zh-TW" altLang="en-US" sz="2400" kern="1200" dirty="0"/>
        </a:p>
      </dsp:txBody>
      <dsp:txXfrm>
        <a:off x="827926" y="1474023"/>
        <a:ext cx="5817346" cy="421172"/>
      </dsp:txXfrm>
    </dsp:sp>
    <dsp:sp modelId="{F5590577-B7C3-4499-95EA-72EB6FE82B7E}">
      <dsp:nvSpPr>
        <dsp:cNvPr id="0" name=""/>
        <dsp:cNvSpPr/>
      </dsp:nvSpPr>
      <dsp:spPr>
        <a:xfrm>
          <a:off x="564693" y="1421377"/>
          <a:ext cx="526465" cy="526465"/>
        </a:xfrm>
        <a:prstGeom prst="ellipse">
          <a:avLst/>
        </a:prstGeom>
        <a:gradFill rotWithShape="0">
          <a:gsLst>
            <a:gs pos="0">
              <a:schemeClr val="lt1">
                <a:hueOff val="0"/>
                <a:satOff val="0"/>
                <a:lumOff val="0"/>
                <a:alphaOff val="0"/>
                <a:tint val="79000"/>
                <a:satMod val="180000"/>
              </a:schemeClr>
            </a:gs>
            <a:gs pos="65000">
              <a:schemeClr val="lt1">
                <a:hueOff val="0"/>
                <a:satOff val="0"/>
                <a:lumOff val="0"/>
                <a:alphaOff val="0"/>
                <a:tint val="52000"/>
                <a:satMod val="250000"/>
              </a:schemeClr>
            </a:gs>
            <a:gs pos="100000">
              <a:schemeClr val="lt1">
                <a:hueOff val="0"/>
                <a:satOff val="0"/>
                <a:lumOff val="0"/>
                <a:alphaOff val="0"/>
                <a:tint val="29000"/>
                <a:satMod val="300000"/>
              </a:schemeClr>
            </a:gs>
          </a:gsLst>
          <a:lin ang="16200000" scaled="0"/>
        </a:gradFill>
        <a:ln w="9525" cap="flat" cmpd="sng" algn="ctr">
          <a:solidFill>
            <a:schemeClr val="accent4">
              <a:hueOff val="-2320221"/>
              <a:satOff val="34227"/>
              <a:lumOff val="-2588"/>
              <a:alphaOff val="0"/>
            </a:schemeClr>
          </a:solidFill>
          <a:prstDash val="solid"/>
        </a:ln>
        <a:effectLst/>
      </dsp:spPr>
      <dsp:style>
        <a:lnRef idx="1">
          <a:scrgbClr r="0" g="0" b="0"/>
        </a:lnRef>
        <a:fillRef idx="2">
          <a:scrgbClr r="0" g="0" b="0"/>
        </a:fillRef>
        <a:effectRef idx="0">
          <a:scrgbClr r="0" g="0" b="0"/>
        </a:effectRef>
        <a:fontRef idx="minor"/>
      </dsp:style>
    </dsp:sp>
    <dsp:sp modelId="{5C02AB07-CDD1-488B-AFFD-8E1915B9C16E}">
      <dsp:nvSpPr>
        <dsp:cNvPr id="0" name=""/>
        <dsp:cNvSpPr/>
      </dsp:nvSpPr>
      <dsp:spPr>
        <a:xfrm>
          <a:off x="827926" y="2105302"/>
          <a:ext cx="5817346" cy="421172"/>
        </a:xfrm>
        <a:prstGeom prst="rect">
          <a:avLst/>
        </a:prstGeom>
        <a:gradFill rotWithShape="0">
          <a:gsLst>
            <a:gs pos="0">
              <a:schemeClr val="accent4">
                <a:hueOff val="-3480331"/>
                <a:satOff val="51340"/>
                <a:lumOff val="-3882"/>
                <a:alphaOff val="0"/>
                <a:tint val="79000"/>
                <a:satMod val="180000"/>
              </a:schemeClr>
            </a:gs>
            <a:gs pos="65000">
              <a:schemeClr val="accent4">
                <a:hueOff val="-3480331"/>
                <a:satOff val="51340"/>
                <a:lumOff val="-3882"/>
                <a:alphaOff val="0"/>
                <a:tint val="52000"/>
                <a:satMod val="250000"/>
              </a:schemeClr>
            </a:gs>
            <a:gs pos="100000">
              <a:schemeClr val="accent4">
                <a:hueOff val="-3480331"/>
                <a:satOff val="51340"/>
                <a:lumOff val="-3882"/>
                <a:alphaOff val="0"/>
                <a:tint val="29000"/>
                <a:satMod val="300000"/>
              </a:schemeClr>
            </a:gs>
          </a:gsLst>
          <a:lin ang="16200000" scaled="0"/>
        </a:gradFill>
        <a:ln>
          <a:noFill/>
        </a:ln>
        <a:effectLst>
          <a:outerShdw blurRad="63500" dist="25400" dir="5400000" rotWithShape="0">
            <a:srgbClr val="000000">
              <a:alpha val="43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34306" tIns="60960" rIns="60960" bIns="60960" numCol="1" spcCol="1270" anchor="ctr" anchorCtr="0">
          <a:noAutofit/>
        </a:bodyPr>
        <a:lstStyle/>
        <a:p>
          <a:pPr marL="0" lvl="0" indent="0" algn="l" defTabSz="1066800">
            <a:lnSpc>
              <a:spcPct val="90000"/>
            </a:lnSpc>
            <a:spcBef>
              <a:spcPct val="0"/>
            </a:spcBef>
            <a:spcAft>
              <a:spcPct val="35000"/>
            </a:spcAft>
            <a:buNone/>
          </a:pPr>
          <a:r>
            <a:rPr lang="en-US" altLang="zh-TW" sz="2400" kern="1200" dirty="0">
              <a:ea typeface="新細明體" panose="02020500000000000000" pitchFamily="18" charset="-120"/>
            </a:rPr>
            <a:t>Special Education</a:t>
          </a:r>
          <a:endParaRPr lang="zh-TW" altLang="en-US" sz="2400" kern="1200" dirty="0"/>
        </a:p>
      </dsp:txBody>
      <dsp:txXfrm>
        <a:off x="827926" y="2105302"/>
        <a:ext cx="5817346" cy="421172"/>
      </dsp:txXfrm>
    </dsp:sp>
    <dsp:sp modelId="{773C5E82-E985-47A4-B5B5-C788FCB97755}">
      <dsp:nvSpPr>
        <dsp:cNvPr id="0" name=""/>
        <dsp:cNvSpPr/>
      </dsp:nvSpPr>
      <dsp:spPr>
        <a:xfrm>
          <a:off x="564693" y="2052656"/>
          <a:ext cx="526465" cy="526465"/>
        </a:xfrm>
        <a:prstGeom prst="ellipse">
          <a:avLst/>
        </a:prstGeom>
        <a:gradFill rotWithShape="0">
          <a:gsLst>
            <a:gs pos="0">
              <a:schemeClr val="lt1">
                <a:hueOff val="0"/>
                <a:satOff val="0"/>
                <a:lumOff val="0"/>
                <a:alphaOff val="0"/>
                <a:tint val="79000"/>
                <a:satMod val="180000"/>
              </a:schemeClr>
            </a:gs>
            <a:gs pos="65000">
              <a:schemeClr val="lt1">
                <a:hueOff val="0"/>
                <a:satOff val="0"/>
                <a:lumOff val="0"/>
                <a:alphaOff val="0"/>
                <a:tint val="52000"/>
                <a:satMod val="250000"/>
              </a:schemeClr>
            </a:gs>
            <a:gs pos="100000">
              <a:schemeClr val="lt1">
                <a:hueOff val="0"/>
                <a:satOff val="0"/>
                <a:lumOff val="0"/>
                <a:alphaOff val="0"/>
                <a:tint val="29000"/>
                <a:satMod val="300000"/>
              </a:schemeClr>
            </a:gs>
          </a:gsLst>
          <a:lin ang="16200000" scaled="0"/>
        </a:gradFill>
        <a:ln w="9525" cap="flat" cmpd="sng" algn="ctr">
          <a:solidFill>
            <a:schemeClr val="accent4">
              <a:hueOff val="-3480331"/>
              <a:satOff val="51340"/>
              <a:lumOff val="-3882"/>
              <a:alphaOff val="0"/>
            </a:schemeClr>
          </a:solidFill>
          <a:prstDash val="solid"/>
        </a:ln>
        <a:effectLst/>
      </dsp:spPr>
      <dsp:style>
        <a:lnRef idx="1">
          <a:scrgbClr r="0" g="0" b="0"/>
        </a:lnRef>
        <a:fillRef idx="2">
          <a:scrgbClr r="0" g="0" b="0"/>
        </a:fillRef>
        <a:effectRef idx="0">
          <a:scrgbClr r="0" g="0" b="0"/>
        </a:effectRef>
        <a:fontRef idx="minor"/>
      </dsp:style>
    </dsp:sp>
    <dsp:sp modelId="{9DC1B971-1500-4ADE-B595-C9C2F37BF8BC}">
      <dsp:nvSpPr>
        <dsp:cNvPr id="0" name=""/>
        <dsp:cNvSpPr/>
      </dsp:nvSpPr>
      <dsp:spPr>
        <a:xfrm>
          <a:off x="669506" y="2736981"/>
          <a:ext cx="5975766" cy="421172"/>
        </a:xfrm>
        <a:prstGeom prst="rect">
          <a:avLst/>
        </a:prstGeom>
        <a:gradFill rotWithShape="0">
          <a:gsLst>
            <a:gs pos="0">
              <a:schemeClr val="accent4">
                <a:hueOff val="-4640441"/>
                <a:satOff val="68454"/>
                <a:lumOff val="-5176"/>
                <a:alphaOff val="0"/>
                <a:tint val="79000"/>
                <a:satMod val="180000"/>
              </a:schemeClr>
            </a:gs>
            <a:gs pos="65000">
              <a:schemeClr val="accent4">
                <a:hueOff val="-4640441"/>
                <a:satOff val="68454"/>
                <a:lumOff val="-5176"/>
                <a:alphaOff val="0"/>
                <a:tint val="52000"/>
                <a:satMod val="250000"/>
              </a:schemeClr>
            </a:gs>
            <a:gs pos="100000">
              <a:schemeClr val="accent4">
                <a:hueOff val="-4640441"/>
                <a:satOff val="68454"/>
                <a:lumOff val="-5176"/>
                <a:alphaOff val="0"/>
                <a:tint val="29000"/>
                <a:satMod val="300000"/>
              </a:schemeClr>
            </a:gs>
          </a:gsLst>
          <a:lin ang="16200000" scaled="0"/>
        </a:gradFill>
        <a:ln>
          <a:noFill/>
        </a:ln>
        <a:effectLst>
          <a:outerShdw blurRad="63500" dist="25400" dir="5400000" rotWithShape="0">
            <a:srgbClr val="000000">
              <a:alpha val="43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34306" tIns="60960" rIns="60960" bIns="60960" numCol="1" spcCol="1270" anchor="ctr" anchorCtr="0">
          <a:noAutofit/>
        </a:bodyPr>
        <a:lstStyle/>
        <a:p>
          <a:pPr marL="0" lvl="0" indent="0" algn="l" defTabSz="1066800">
            <a:lnSpc>
              <a:spcPct val="90000"/>
            </a:lnSpc>
            <a:spcBef>
              <a:spcPct val="0"/>
            </a:spcBef>
            <a:spcAft>
              <a:spcPct val="35000"/>
            </a:spcAft>
            <a:buNone/>
          </a:pPr>
          <a:r>
            <a:rPr lang="en-US" altLang="zh-TW" sz="2400" kern="1200" dirty="0">
              <a:ea typeface="新細明體" panose="02020500000000000000" pitchFamily="18" charset="-120"/>
            </a:rPr>
            <a:t>Education</a:t>
          </a:r>
          <a:endParaRPr lang="zh-TW" altLang="en-US" sz="2400" kern="1200" dirty="0"/>
        </a:p>
      </dsp:txBody>
      <dsp:txXfrm>
        <a:off x="669506" y="2736981"/>
        <a:ext cx="5975766" cy="421172"/>
      </dsp:txXfrm>
    </dsp:sp>
    <dsp:sp modelId="{88D9F11B-8D66-4118-BC57-B586F9D18117}">
      <dsp:nvSpPr>
        <dsp:cNvPr id="0" name=""/>
        <dsp:cNvSpPr/>
      </dsp:nvSpPr>
      <dsp:spPr>
        <a:xfrm>
          <a:off x="406273" y="2684334"/>
          <a:ext cx="526465" cy="526465"/>
        </a:xfrm>
        <a:prstGeom prst="ellipse">
          <a:avLst/>
        </a:prstGeom>
        <a:gradFill rotWithShape="0">
          <a:gsLst>
            <a:gs pos="0">
              <a:schemeClr val="lt1">
                <a:hueOff val="0"/>
                <a:satOff val="0"/>
                <a:lumOff val="0"/>
                <a:alphaOff val="0"/>
                <a:tint val="79000"/>
                <a:satMod val="180000"/>
              </a:schemeClr>
            </a:gs>
            <a:gs pos="65000">
              <a:schemeClr val="lt1">
                <a:hueOff val="0"/>
                <a:satOff val="0"/>
                <a:lumOff val="0"/>
                <a:alphaOff val="0"/>
                <a:tint val="52000"/>
                <a:satMod val="250000"/>
              </a:schemeClr>
            </a:gs>
            <a:gs pos="100000">
              <a:schemeClr val="lt1">
                <a:hueOff val="0"/>
                <a:satOff val="0"/>
                <a:lumOff val="0"/>
                <a:alphaOff val="0"/>
                <a:tint val="29000"/>
                <a:satMod val="300000"/>
              </a:schemeClr>
            </a:gs>
          </a:gsLst>
          <a:lin ang="16200000" scaled="0"/>
        </a:gradFill>
        <a:ln w="9525" cap="flat" cmpd="sng" algn="ctr">
          <a:solidFill>
            <a:schemeClr val="accent4">
              <a:hueOff val="-4640441"/>
              <a:satOff val="68454"/>
              <a:lumOff val="-5176"/>
              <a:alphaOff val="0"/>
            </a:schemeClr>
          </a:solidFill>
          <a:prstDash val="solid"/>
        </a:ln>
        <a:effectLst/>
      </dsp:spPr>
      <dsp:style>
        <a:lnRef idx="1">
          <a:scrgbClr r="0" g="0" b="0"/>
        </a:lnRef>
        <a:fillRef idx="2">
          <a:scrgbClr r="0" g="0" b="0"/>
        </a:fillRef>
        <a:effectRef idx="0">
          <a:scrgbClr r="0" g="0" b="0"/>
        </a:effectRef>
        <a:fontRef idx="minor"/>
      </dsp:style>
    </dsp:sp>
    <dsp:sp modelId="{C4F5E8DD-83C4-4C98-B35C-E3090BBDDB59}">
      <dsp:nvSpPr>
        <dsp:cNvPr id="0" name=""/>
        <dsp:cNvSpPr/>
      </dsp:nvSpPr>
      <dsp:spPr>
        <a:xfrm>
          <a:off x="323063" y="3368660"/>
          <a:ext cx="6322209" cy="421172"/>
        </a:xfrm>
        <a:prstGeom prst="rect">
          <a:avLst/>
        </a:prstGeom>
        <a:gradFill rotWithShape="0">
          <a:gsLst>
            <a:gs pos="0">
              <a:schemeClr val="accent4">
                <a:hueOff val="-5800551"/>
                <a:satOff val="85567"/>
                <a:lumOff val="-6470"/>
                <a:alphaOff val="0"/>
                <a:tint val="79000"/>
                <a:satMod val="180000"/>
              </a:schemeClr>
            </a:gs>
            <a:gs pos="65000">
              <a:schemeClr val="accent4">
                <a:hueOff val="-5800551"/>
                <a:satOff val="85567"/>
                <a:lumOff val="-6470"/>
                <a:alphaOff val="0"/>
                <a:tint val="52000"/>
                <a:satMod val="250000"/>
              </a:schemeClr>
            </a:gs>
            <a:gs pos="100000">
              <a:schemeClr val="accent4">
                <a:hueOff val="-5800551"/>
                <a:satOff val="85567"/>
                <a:lumOff val="-6470"/>
                <a:alphaOff val="0"/>
                <a:tint val="29000"/>
                <a:satMod val="300000"/>
              </a:schemeClr>
            </a:gs>
          </a:gsLst>
          <a:lin ang="16200000" scaled="0"/>
        </a:gradFill>
        <a:ln>
          <a:noFill/>
        </a:ln>
        <a:effectLst>
          <a:outerShdw blurRad="63500" dist="25400" dir="5400000" rotWithShape="0">
            <a:srgbClr val="000000">
              <a:alpha val="43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34306" tIns="60960" rIns="60960" bIns="60960" numCol="1" spcCol="1270" anchor="ctr" anchorCtr="0">
          <a:noAutofit/>
        </a:bodyPr>
        <a:lstStyle/>
        <a:p>
          <a:pPr marL="0" lvl="0" indent="0" algn="l" defTabSz="1066800">
            <a:lnSpc>
              <a:spcPct val="90000"/>
            </a:lnSpc>
            <a:spcBef>
              <a:spcPct val="0"/>
            </a:spcBef>
            <a:spcAft>
              <a:spcPct val="35000"/>
            </a:spcAft>
            <a:buNone/>
          </a:pPr>
          <a:r>
            <a:rPr lang="en-US" altLang="zh-TW" sz="2400" kern="1200" dirty="0">
              <a:ea typeface="新細明體" panose="02020500000000000000" pitchFamily="18" charset="-120"/>
            </a:rPr>
            <a:t>E-Learning Design and Management</a:t>
          </a:r>
          <a:endParaRPr lang="zh-TW" altLang="en-US" sz="2400" kern="1200" dirty="0"/>
        </a:p>
      </dsp:txBody>
      <dsp:txXfrm>
        <a:off x="323063" y="3368660"/>
        <a:ext cx="6322209" cy="421172"/>
      </dsp:txXfrm>
    </dsp:sp>
    <dsp:sp modelId="{BE8BDC90-0848-4D62-9B11-81BD76D011F3}">
      <dsp:nvSpPr>
        <dsp:cNvPr id="0" name=""/>
        <dsp:cNvSpPr/>
      </dsp:nvSpPr>
      <dsp:spPr>
        <a:xfrm>
          <a:off x="59830" y="3316013"/>
          <a:ext cx="526465" cy="526465"/>
        </a:xfrm>
        <a:prstGeom prst="ellipse">
          <a:avLst/>
        </a:prstGeom>
        <a:gradFill rotWithShape="0">
          <a:gsLst>
            <a:gs pos="0">
              <a:schemeClr val="lt1">
                <a:hueOff val="0"/>
                <a:satOff val="0"/>
                <a:lumOff val="0"/>
                <a:alphaOff val="0"/>
                <a:tint val="79000"/>
                <a:satMod val="180000"/>
              </a:schemeClr>
            </a:gs>
            <a:gs pos="65000">
              <a:schemeClr val="lt1">
                <a:hueOff val="0"/>
                <a:satOff val="0"/>
                <a:lumOff val="0"/>
                <a:alphaOff val="0"/>
                <a:tint val="52000"/>
                <a:satMod val="250000"/>
              </a:schemeClr>
            </a:gs>
            <a:gs pos="100000">
              <a:schemeClr val="lt1">
                <a:hueOff val="0"/>
                <a:satOff val="0"/>
                <a:lumOff val="0"/>
                <a:alphaOff val="0"/>
                <a:tint val="29000"/>
                <a:satMod val="300000"/>
              </a:schemeClr>
            </a:gs>
          </a:gsLst>
          <a:lin ang="16200000" scaled="0"/>
        </a:gradFill>
        <a:ln w="9525" cap="flat" cmpd="sng" algn="ctr">
          <a:solidFill>
            <a:schemeClr val="accent4">
              <a:hueOff val="-5800551"/>
              <a:satOff val="85567"/>
              <a:lumOff val="-6470"/>
              <a:alphaOff val="0"/>
            </a:schemeClr>
          </a:solidFill>
          <a:prstDash val="solid"/>
        </a:ln>
        <a:effectLst/>
      </dsp:spPr>
      <dsp:style>
        <a:lnRef idx="1">
          <a:scrgbClr r="0" g="0" b="0"/>
        </a:lnRef>
        <a:fillRef idx="2">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99F421-7730-4011-A7B7-E92984AA37CD}">
      <dsp:nvSpPr>
        <dsp:cNvPr id="0" name=""/>
        <dsp:cNvSpPr/>
      </dsp:nvSpPr>
      <dsp:spPr>
        <a:xfrm>
          <a:off x="631183" y="942"/>
          <a:ext cx="2285209" cy="1574509"/>
        </a:xfrm>
        <a:prstGeom prst="roundRect">
          <a:avLst/>
        </a:prstGeom>
        <a:blipFill>
          <a:blip xmlns:r="http://schemas.openxmlformats.org/officeDocument/2006/relationships" r:embed="rId1"/>
          <a:stretch>
            <a:fillRect t="-33000" b="-33000"/>
          </a:stretch>
        </a:blipFill>
        <a:ln>
          <a:noFill/>
        </a:ln>
        <a:effectLst>
          <a:outerShdw blurRad="63500" dist="25400" dir="5400000" rotWithShape="0">
            <a:srgbClr val="000000">
              <a:alpha val="43000"/>
            </a:srgbClr>
          </a:outerShdw>
        </a:effectLst>
        <a:scene3d>
          <a:camera prst="orthographicFront">
            <a:rot lat="0" lon="0" rev="0"/>
          </a:camera>
          <a:lightRig rig="brightRoom" dir="t">
            <a:rot lat="0" lon="0" rev="8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sp>
    <dsp:sp modelId="{C0E8371D-F60A-41C4-9D1C-0ADEAEC1F6A5}">
      <dsp:nvSpPr>
        <dsp:cNvPr id="0" name=""/>
        <dsp:cNvSpPr/>
      </dsp:nvSpPr>
      <dsp:spPr>
        <a:xfrm>
          <a:off x="631183" y="1575451"/>
          <a:ext cx="2285209" cy="847812"/>
        </a:xfrm>
        <a:prstGeom prst="rect">
          <a:avLst/>
        </a:prstGeom>
        <a:solidFill>
          <a:schemeClr val="lt1">
            <a:alpha val="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84912" tIns="184912" rIns="184912" bIns="0" numCol="1" spcCol="1270" anchor="t" anchorCtr="0">
          <a:noAutofit/>
        </a:bodyPr>
        <a:lstStyle/>
        <a:p>
          <a:pPr marL="0" lvl="0" indent="0" algn="ctr" defTabSz="1155700">
            <a:lnSpc>
              <a:spcPct val="90000"/>
            </a:lnSpc>
            <a:spcBef>
              <a:spcPct val="0"/>
            </a:spcBef>
            <a:spcAft>
              <a:spcPct val="35000"/>
            </a:spcAft>
            <a:buNone/>
          </a:pPr>
          <a:r>
            <a:rPr lang="en-US" altLang="zh-TW" sz="2600" b="1" kern="1200" dirty="0"/>
            <a:t>Chinese Literature</a:t>
          </a:r>
          <a:endParaRPr lang="zh-TW" altLang="en-US" sz="2600" b="1" kern="1200" dirty="0"/>
        </a:p>
      </dsp:txBody>
      <dsp:txXfrm>
        <a:off x="631183" y="1575451"/>
        <a:ext cx="2285209" cy="847812"/>
      </dsp:txXfrm>
    </dsp:sp>
    <dsp:sp modelId="{C627725A-4394-49B5-9A47-874689EF6D06}">
      <dsp:nvSpPr>
        <dsp:cNvPr id="0" name=""/>
        <dsp:cNvSpPr/>
      </dsp:nvSpPr>
      <dsp:spPr>
        <a:xfrm>
          <a:off x="3145010" y="942"/>
          <a:ext cx="2285209" cy="1574509"/>
        </a:xfrm>
        <a:prstGeom prst="roundRect">
          <a:avLst/>
        </a:prstGeom>
        <a:blipFill>
          <a:blip xmlns:r="http://schemas.openxmlformats.org/officeDocument/2006/relationships" r:embed="rId2"/>
          <a:srcRect/>
          <a:stretch>
            <a:fillRect t="-33000" b="-33000"/>
          </a:stretch>
        </a:blipFill>
        <a:ln>
          <a:noFill/>
        </a:ln>
        <a:effectLst>
          <a:outerShdw blurRad="63500" dist="25400" dir="5400000" rotWithShape="0">
            <a:srgbClr val="000000">
              <a:alpha val="43000"/>
            </a:srgbClr>
          </a:outerShdw>
        </a:effectLst>
        <a:scene3d>
          <a:camera prst="orthographicFront">
            <a:rot lat="0" lon="0" rev="0"/>
          </a:camera>
          <a:lightRig rig="brightRoom" dir="t">
            <a:rot lat="0" lon="0" rev="8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sp>
    <dsp:sp modelId="{AB3894BD-0914-472E-89B5-33DB00917C8C}">
      <dsp:nvSpPr>
        <dsp:cNvPr id="0" name=""/>
        <dsp:cNvSpPr/>
      </dsp:nvSpPr>
      <dsp:spPr>
        <a:xfrm>
          <a:off x="3145010" y="1575451"/>
          <a:ext cx="2285209" cy="847812"/>
        </a:xfrm>
        <a:prstGeom prst="rect">
          <a:avLst/>
        </a:prstGeom>
        <a:solidFill>
          <a:schemeClr val="lt1">
            <a:alpha val="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84912" tIns="184912" rIns="184912" bIns="0" numCol="1" spcCol="1270" anchor="t" anchorCtr="0">
          <a:noAutofit/>
        </a:bodyPr>
        <a:lstStyle/>
        <a:p>
          <a:pPr marL="0" lvl="0" indent="0" algn="ctr" defTabSz="1155700">
            <a:lnSpc>
              <a:spcPct val="90000"/>
            </a:lnSpc>
            <a:spcBef>
              <a:spcPct val="0"/>
            </a:spcBef>
            <a:spcAft>
              <a:spcPct val="35000"/>
            </a:spcAft>
            <a:buNone/>
          </a:pPr>
          <a:r>
            <a:rPr lang="en-US" altLang="zh-TW" sz="2600" b="1" kern="1200" dirty="0"/>
            <a:t>Foreign Languages</a:t>
          </a:r>
          <a:endParaRPr lang="zh-TW" altLang="en-US" sz="2600" b="1" kern="1200" dirty="0"/>
        </a:p>
      </dsp:txBody>
      <dsp:txXfrm>
        <a:off x="3145010" y="1575451"/>
        <a:ext cx="2285209" cy="847812"/>
      </dsp:txXfrm>
    </dsp:sp>
    <dsp:sp modelId="{6A039735-4181-47FE-BB73-44FA86EDB8C1}">
      <dsp:nvSpPr>
        <dsp:cNvPr id="0" name=""/>
        <dsp:cNvSpPr/>
      </dsp:nvSpPr>
      <dsp:spPr>
        <a:xfrm>
          <a:off x="5755570" y="0"/>
          <a:ext cx="2285209" cy="1574509"/>
        </a:xfrm>
        <a:prstGeom prst="roundRect">
          <a:avLst/>
        </a:prstGeom>
        <a:blipFill>
          <a:blip xmlns:r="http://schemas.openxmlformats.org/officeDocument/2006/relationships" r:embed="rId3"/>
          <a:stretch>
            <a:fillRect t="-33000" b="-33000"/>
          </a:stretch>
        </a:blipFill>
        <a:ln>
          <a:noFill/>
        </a:ln>
        <a:effectLst>
          <a:outerShdw blurRad="63500" dist="25400" dir="5400000" rotWithShape="0">
            <a:srgbClr val="000000">
              <a:alpha val="43000"/>
            </a:srgbClr>
          </a:outerShdw>
        </a:effectLst>
        <a:scene3d>
          <a:camera prst="orthographicFront">
            <a:rot lat="0" lon="0" rev="0"/>
          </a:camera>
          <a:lightRig rig="brightRoom" dir="t">
            <a:rot lat="0" lon="0" rev="8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sp>
    <dsp:sp modelId="{9629D65A-08A8-409A-B5B2-F90456EFF041}">
      <dsp:nvSpPr>
        <dsp:cNvPr id="0" name=""/>
        <dsp:cNvSpPr/>
      </dsp:nvSpPr>
      <dsp:spPr>
        <a:xfrm>
          <a:off x="5658837" y="1575451"/>
          <a:ext cx="2285209" cy="847812"/>
        </a:xfrm>
        <a:prstGeom prst="rect">
          <a:avLst/>
        </a:prstGeom>
        <a:solidFill>
          <a:schemeClr val="lt1">
            <a:alpha val="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84912" tIns="184912" rIns="184912" bIns="0" numCol="1" spcCol="1270" anchor="t" anchorCtr="0">
          <a:noAutofit/>
        </a:bodyPr>
        <a:lstStyle/>
        <a:p>
          <a:pPr marL="0" lvl="0" indent="0" algn="ctr" defTabSz="1155700">
            <a:lnSpc>
              <a:spcPct val="90000"/>
            </a:lnSpc>
            <a:spcBef>
              <a:spcPct val="0"/>
            </a:spcBef>
            <a:spcAft>
              <a:spcPct val="35000"/>
            </a:spcAft>
            <a:buNone/>
          </a:pPr>
          <a:r>
            <a:rPr lang="en-US" altLang="zh-TW" sz="2600" b="1" kern="1200" dirty="0"/>
            <a:t>Applied History</a:t>
          </a:r>
          <a:endParaRPr lang="zh-TW" altLang="en-US" sz="2600" b="1" kern="1200" dirty="0"/>
        </a:p>
      </dsp:txBody>
      <dsp:txXfrm>
        <a:off x="5658837" y="1575451"/>
        <a:ext cx="2285209" cy="847812"/>
      </dsp:txXfrm>
    </dsp:sp>
    <dsp:sp modelId="{A15E40F7-09C4-497D-9515-33C02FCD1036}">
      <dsp:nvSpPr>
        <dsp:cNvPr id="0" name=""/>
        <dsp:cNvSpPr/>
      </dsp:nvSpPr>
      <dsp:spPr>
        <a:xfrm>
          <a:off x="1888097" y="2651785"/>
          <a:ext cx="2285209" cy="1574509"/>
        </a:xfrm>
        <a:prstGeom prst="roundRect">
          <a:avLst/>
        </a:prstGeom>
        <a:blipFill>
          <a:blip xmlns:r="http://schemas.openxmlformats.org/officeDocument/2006/relationships" r:embed="rId4"/>
          <a:stretch>
            <a:fillRect/>
          </a:stretch>
        </a:blipFill>
        <a:ln>
          <a:noFill/>
        </a:ln>
        <a:effectLst>
          <a:outerShdw blurRad="63500" dist="25400" dir="5400000" rotWithShape="0">
            <a:srgbClr val="000000">
              <a:alpha val="43000"/>
            </a:srgbClr>
          </a:outerShdw>
        </a:effectLst>
        <a:scene3d>
          <a:camera prst="orthographicFront">
            <a:rot lat="0" lon="0" rev="0"/>
          </a:camera>
          <a:lightRig rig="brightRoom" dir="t">
            <a:rot lat="0" lon="0" rev="8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sp>
    <dsp:sp modelId="{60DCFC0C-A0CD-4C62-B87C-5445F38047C2}">
      <dsp:nvSpPr>
        <dsp:cNvPr id="0" name=""/>
        <dsp:cNvSpPr/>
      </dsp:nvSpPr>
      <dsp:spPr>
        <a:xfrm>
          <a:off x="1888097" y="4226295"/>
          <a:ext cx="2285209" cy="847812"/>
        </a:xfrm>
        <a:prstGeom prst="rect">
          <a:avLst/>
        </a:prstGeom>
        <a:solidFill>
          <a:schemeClr val="lt1">
            <a:alpha val="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84912" tIns="184912" rIns="184912" bIns="0" numCol="1" spcCol="1270" anchor="t" anchorCtr="0">
          <a:noAutofit/>
        </a:bodyPr>
        <a:lstStyle/>
        <a:p>
          <a:pPr marL="0" lvl="0" indent="0" algn="ctr" defTabSz="1155700">
            <a:lnSpc>
              <a:spcPct val="90000"/>
            </a:lnSpc>
            <a:spcBef>
              <a:spcPct val="0"/>
            </a:spcBef>
            <a:spcAft>
              <a:spcPct val="35000"/>
            </a:spcAft>
            <a:buNone/>
          </a:pPr>
          <a:r>
            <a:rPr lang="en-US" altLang="zh-TW" sz="2600" b="1" kern="1200" dirty="0"/>
            <a:t>Music</a:t>
          </a:r>
          <a:endParaRPr lang="zh-TW" altLang="en-US" sz="2600" b="1" kern="1200" dirty="0"/>
        </a:p>
      </dsp:txBody>
      <dsp:txXfrm>
        <a:off x="1888097" y="4226295"/>
        <a:ext cx="2285209" cy="847812"/>
      </dsp:txXfrm>
    </dsp:sp>
    <dsp:sp modelId="{74A8C6A5-85E6-4F30-A3EA-24F445871BA1}">
      <dsp:nvSpPr>
        <dsp:cNvPr id="0" name=""/>
        <dsp:cNvSpPr/>
      </dsp:nvSpPr>
      <dsp:spPr>
        <a:xfrm>
          <a:off x="4401923" y="2651785"/>
          <a:ext cx="2285209" cy="1574509"/>
        </a:xfrm>
        <a:prstGeom prst="roundRect">
          <a:avLst/>
        </a:prstGeom>
        <a:blipFill>
          <a:blip xmlns:r="http://schemas.openxmlformats.org/officeDocument/2006/relationships" r:embed="rId5"/>
          <a:stretch>
            <a:fillRect t="-33000" b="-33000"/>
          </a:stretch>
        </a:blipFill>
        <a:ln>
          <a:noFill/>
        </a:ln>
        <a:effectLst>
          <a:outerShdw blurRad="63500" dist="25400" dir="5400000" rotWithShape="0">
            <a:srgbClr val="000000">
              <a:alpha val="43000"/>
            </a:srgbClr>
          </a:outerShdw>
        </a:effectLst>
        <a:scene3d>
          <a:camera prst="orthographicFront">
            <a:rot lat="0" lon="0" rev="0"/>
          </a:camera>
          <a:lightRig rig="brightRoom" dir="t">
            <a:rot lat="0" lon="0" rev="8700000"/>
          </a:lightRig>
        </a:scene3d>
        <a:sp3d prstMaterial="plastic">
          <a:bevelT w="50800" h="50800"/>
          <a:bevelB w="50800" h="50800"/>
        </a:sp3d>
      </dsp:spPr>
      <dsp:style>
        <a:lnRef idx="0">
          <a:scrgbClr r="0" g="0" b="0"/>
        </a:lnRef>
        <a:fillRef idx="1">
          <a:scrgbClr r="0" g="0" b="0"/>
        </a:fillRef>
        <a:effectRef idx="2">
          <a:scrgbClr r="0" g="0" b="0"/>
        </a:effectRef>
        <a:fontRef idx="minor">
          <a:schemeClr val="lt1"/>
        </a:fontRef>
      </dsp:style>
    </dsp:sp>
    <dsp:sp modelId="{1165E2DD-E2F9-4AC9-83BA-7D4556557C2F}">
      <dsp:nvSpPr>
        <dsp:cNvPr id="0" name=""/>
        <dsp:cNvSpPr/>
      </dsp:nvSpPr>
      <dsp:spPr>
        <a:xfrm>
          <a:off x="4401923" y="4226295"/>
          <a:ext cx="2285209" cy="847812"/>
        </a:xfrm>
        <a:prstGeom prst="rect">
          <a:avLst/>
        </a:prstGeom>
        <a:solidFill>
          <a:schemeClr val="lt1">
            <a:alpha val="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184912" tIns="184912" rIns="184912" bIns="0" numCol="1" spcCol="1270" anchor="t" anchorCtr="0">
          <a:noAutofit/>
        </a:bodyPr>
        <a:lstStyle/>
        <a:p>
          <a:pPr marL="0" lvl="0" indent="0" algn="ctr" defTabSz="1155700">
            <a:lnSpc>
              <a:spcPct val="90000"/>
            </a:lnSpc>
            <a:spcBef>
              <a:spcPct val="0"/>
            </a:spcBef>
            <a:spcAft>
              <a:spcPct val="35000"/>
            </a:spcAft>
            <a:buNone/>
          </a:pPr>
          <a:r>
            <a:rPr lang="en-US" altLang="zh-TW" sz="2600" b="1" kern="1200" dirty="0"/>
            <a:t>Visual Arts</a:t>
          </a:r>
          <a:endParaRPr lang="zh-TW" altLang="en-US" sz="2600" b="1" kern="1200" dirty="0"/>
        </a:p>
      </dsp:txBody>
      <dsp:txXfrm>
        <a:off x="4401923" y="4226295"/>
        <a:ext cx="2285209" cy="84781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989AAE-2331-4702-9894-6D8433F8A647}">
      <dsp:nvSpPr>
        <dsp:cNvPr id="0" name=""/>
        <dsp:cNvSpPr/>
      </dsp:nvSpPr>
      <dsp:spPr>
        <a:xfrm>
          <a:off x="49042" y="-611"/>
          <a:ext cx="3945534" cy="3946757"/>
        </a:xfrm>
        <a:prstGeom prst="ellipse">
          <a:avLst/>
        </a:prstGeom>
        <a:solidFill>
          <a:schemeClr val="accent2">
            <a:shade val="80000"/>
            <a:alpha val="5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1155700" rtl="0">
            <a:lnSpc>
              <a:spcPct val="90000"/>
            </a:lnSpc>
            <a:spcBef>
              <a:spcPct val="0"/>
            </a:spcBef>
            <a:spcAft>
              <a:spcPct val="35000"/>
            </a:spcAft>
            <a:buNone/>
          </a:pPr>
          <a:r>
            <a:rPr lang="en-US" sz="2600" kern="1200" dirty="0"/>
            <a:t>The College  integrates humanities and arts. It is committed to teaching, research, application and development of both theory and activity. </a:t>
          </a:r>
          <a:endParaRPr lang="zh-TW" sz="2600" kern="1200" dirty="0"/>
        </a:p>
      </dsp:txBody>
      <dsp:txXfrm>
        <a:off x="626852" y="577378"/>
        <a:ext cx="2789914" cy="279077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37501A-F381-45BC-BDEB-F3BF420BDC67}">
      <dsp:nvSpPr>
        <dsp:cNvPr id="0" name=""/>
        <dsp:cNvSpPr/>
      </dsp:nvSpPr>
      <dsp:spPr>
        <a:xfrm>
          <a:off x="0" y="0"/>
          <a:ext cx="7101685" cy="655200"/>
        </a:xfrm>
        <a:prstGeom prst="roundRect">
          <a:avLst/>
        </a:prstGeom>
        <a:solidFill>
          <a:schemeClr val="accent2">
            <a:shade val="50000"/>
            <a:hueOff val="0"/>
            <a:satOff val="0"/>
            <a:lumOff val="0"/>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rtl="0">
            <a:lnSpc>
              <a:spcPct val="90000"/>
            </a:lnSpc>
            <a:spcBef>
              <a:spcPct val="0"/>
            </a:spcBef>
            <a:spcAft>
              <a:spcPct val="35000"/>
            </a:spcAft>
            <a:buNone/>
          </a:pPr>
          <a:r>
            <a:rPr lang="en-US" sz="2800" b="1" kern="1200" dirty="0"/>
            <a:t>Department</a:t>
          </a:r>
          <a:r>
            <a:rPr lang="zh-TW" sz="2800" b="1" kern="1200" dirty="0"/>
            <a:t> </a:t>
          </a:r>
          <a:r>
            <a:rPr lang="en-US" sz="2800" b="1" kern="1200" dirty="0"/>
            <a:t>of…</a:t>
          </a:r>
          <a:endParaRPr lang="zh-TW" sz="2800" kern="1200" dirty="0"/>
        </a:p>
      </dsp:txBody>
      <dsp:txXfrm>
        <a:off x="31984" y="31984"/>
        <a:ext cx="7037717" cy="591232"/>
      </dsp:txXfrm>
    </dsp:sp>
    <dsp:sp modelId="{4DD6CEC8-F9F9-481B-AEB2-34D0A0AE17DD}">
      <dsp:nvSpPr>
        <dsp:cNvPr id="0" name=""/>
        <dsp:cNvSpPr/>
      </dsp:nvSpPr>
      <dsp:spPr>
        <a:xfrm>
          <a:off x="0" y="665261"/>
          <a:ext cx="7101685" cy="2535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5478" tIns="44450" rIns="248920" bIns="44450" numCol="1" spcCol="1270" anchor="t" anchorCtr="0">
          <a:noAutofit/>
        </a:bodyPr>
        <a:lstStyle/>
        <a:p>
          <a:pPr marL="228600" lvl="1" indent="-228600" algn="l" defTabSz="1200150" rtl="0">
            <a:lnSpc>
              <a:spcPct val="90000"/>
            </a:lnSpc>
            <a:spcBef>
              <a:spcPct val="0"/>
            </a:spcBef>
            <a:spcAft>
              <a:spcPct val="20000"/>
            </a:spcAft>
            <a:buChar char="•"/>
          </a:pPr>
          <a:r>
            <a:rPr lang="en-US" sz="2700" kern="1200" dirty="0">
              <a:solidFill>
                <a:schemeClr val="tx1">
                  <a:lumMod val="50000"/>
                </a:schemeClr>
              </a:solidFill>
            </a:rPr>
            <a:t>Business Administration</a:t>
          </a:r>
          <a:endParaRPr lang="zh-TW" sz="2700" kern="1200" dirty="0">
            <a:solidFill>
              <a:schemeClr val="tx1">
                <a:lumMod val="50000"/>
              </a:schemeClr>
            </a:solidFill>
          </a:endParaRPr>
        </a:p>
        <a:p>
          <a:pPr marL="228600" lvl="1" indent="-228600" algn="l" defTabSz="1200150" rtl="0">
            <a:lnSpc>
              <a:spcPct val="90000"/>
            </a:lnSpc>
            <a:spcBef>
              <a:spcPct val="0"/>
            </a:spcBef>
            <a:spcAft>
              <a:spcPct val="20000"/>
            </a:spcAft>
            <a:buChar char="•"/>
          </a:pPr>
          <a:r>
            <a:rPr lang="en-US" sz="2700" kern="1200" dirty="0">
              <a:solidFill>
                <a:schemeClr val="tx1">
                  <a:lumMod val="50000"/>
                </a:schemeClr>
              </a:solidFill>
            </a:rPr>
            <a:t>Banking and Finance</a:t>
          </a:r>
          <a:endParaRPr lang="zh-TW" sz="2700" kern="1200" dirty="0">
            <a:solidFill>
              <a:schemeClr val="tx1">
                <a:lumMod val="50000"/>
              </a:schemeClr>
            </a:solidFill>
          </a:endParaRPr>
        </a:p>
        <a:p>
          <a:pPr marL="228600" lvl="1" indent="-228600" algn="l" defTabSz="1200150" rtl="0">
            <a:lnSpc>
              <a:spcPct val="90000"/>
            </a:lnSpc>
            <a:spcBef>
              <a:spcPct val="0"/>
            </a:spcBef>
            <a:spcAft>
              <a:spcPct val="20000"/>
            </a:spcAft>
            <a:buChar char="•"/>
          </a:pPr>
          <a:r>
            <a:rPr lang="en-US" sz="2700" kern="1200" dirty="0">
              <a:solidFill>
                <a:schemeClr val="tx1">
                  <a:lumMod val="50000"/>
                </a:schemeClr>
              </a:solidFill>
            </a:rPr>
            <a:t>Applied Economics</a:t>
          </a:r>
          <a:endParaRPr lang="zh-TW" sz="2700" kern="1200" dirty="0">
            <a:solidFill>
              <a:schemeClr val="tx1">
                <a:lumMod val="50000"/>
              </a:schemeClr>
            </a:solidFill>
          </a:endParaRPr>
        </a:p>
        <a:p>
          <a:pPr marL="228600" lvl="1" indent="-228600" algn="l" defTabSz="1200150" rtl="0">
            <a:lnSpc>
              <a:spcPct val="90000"/>
            </a:lnSpc>
            <a:spcBef>
              <a:spcPct val="0"/>
            </a:spcBef>
            <a:spcAft>
              <a:spcPct val="20000"/>
            </a:spcAft>
            <a:buChar char="•"/>
          </a:pPr>
          <a:r>
            <a:rPr lang="en-US" sz="2700" kern="1200" dirty="0">
              <a:solidFill>
                <a:schemeClr val="tx1">
                  <a:lumMod val="50000"/>
                </a:schemeClr>
              </a:solidFill>
            </a:rPr>
            <a:t>Bio-industry and Agribusiness Administration</a:t>
          </a:r>
          <a:endParaRPr lang="zh-TW" sz="2700" kern="1200" dirty="0">
            <a:solidFill>
              <a:schemeClr val="tx1">
                <a:lumMod val="50000"/>
              </a:schemeClr>
            </a:solidFill>
          </a:endParaRPr>
        </a:p>
        <a:p>
          <a:pPr marL="228600" lvl="1" indent="-228600" algn="l" defTabSz="1200150" rtl="0">
            <a:lnSpc>
              <a:spcPct val="90000"/>
            </a:lnSpc>
            <a:spcBef>
              <a:spcPct val="0"/>
            </a:spcBef>
            <a:spcAft>
              <a:spcPct val="20000"/>
            </a:spcAft>
            <a:buChar char="•"/>
          </a:pPr>
          <a:r>
            <a:rPr lang="en-US" sz="2700" kern="1200" dirty="0">
              <a:solidFill>
                <a:schemeClr val="tx1">
                  <a:lumMod val="50000"/>
                </a:schemeClr>
              </a:solidFill>
            </a:rPr>
            <a:t>Management Information Systems</a:t>
          </a:r>
          <a:endParaRPr lang="zh-TW" sz="2700" kern="1200" dirty="0">
            <a:solidFill>
              <a:schemeClr val="tx1">
                <a:lumMod val="50000"/>
              </a:schemeClr>
            </a:solidFill>
          </a:endParaRPr>
        </a:p>
        <a:p>
          <a:pPr marL="228600" lvl="1" indent="-228600" algn="l" defTabSz="1200150" rtl="0">
            <a:lnSpc>
              <a:spcPct val="90000"/>
            </a:lnSpc>
            <a:spcBef>
              <a:spcPct val="0"/>
            </a:spcBef>
            <a:spcAft>
              <a:spcPct val="20000"/>
            </a:spcAft>
            <a:buChar char="•"/>
          </a:pPr>
          <a:r>
            <a:rPr lang="en-US" sz="2700" kern="1200" dirty="0">
              <a:solidFill>
                <a:schemeClr val="tx1">
                  <a:lumMod val="50000"/>
                </a:schemeClr>
              </a:solidFill>
            </a:rPr>
            <a:t>Marketing and Logistics/Transportation</a:t>
          </a:r>
          <a:endParaRPr lang="zh-TW" sz="2700" kern="1200" dirty="0">
            <a:solidFill>
              <a:schemeClr val="tx1">
                <a:lumMod val="50000"/>
              </a:schemeClr>
            </a:solidFill>
          </a:endParaRPr>
        </a:p>
      </dsp:txBody>
      <dsp:txXfrm>
        <a:off x="0" y="665261"/>
        <a:ext cx="7101685" cy="2535750"/>
      </dsp:txXfrm>
    </dsp:sp>
    <dsp:sp modelId="{78DC3395-521F-487F-B842-EABEEA177EC4}">
      <dsp:nvSpPr>
        <dsp:cNvPr id="0" name=""/>
        <dsp:cNvSpPr/>
      </dsp:nvSpPr>
      <dsp:spPr>
        <a:xfrm>
          <a:off x="0" y="3201011"/>
          <a:ext cx="7101685" cy="655200"/>
        </a:xfrm>
        <a:prstGeom prst="roundRect">
          <a:avLst/>
        </a:prstGeom>
        <a:solidFill>
          <a:schemeClr val="accent2">
            <a:shade val="50000"/>
            <a:hueOff val="-142576"/>
            <a:satOff val="-42237"/>
            <a:lumOff val="53489"/>
            <a:alphaOff val="0"/>
          </a:schemeClr>
        </a:solid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l" defTabSz="1244600" rtl="0">
            <a:lnSpc>
              <a:spcPct val="90000"/>
            </a:lnSpc>
            <a:spcBef>
              <a:spcPct val="0"/>
            </a:spcBef>
            <a:spcAft>
              <a:spcPct val="35000"/>
            </a:spcAft>
            <a:buNone/>
          </a:pPr>
          <a:r>
            <a:rPr lang="en-US" sz="2800" kern="1200" dirty="0">
              <a:solidFill>
                <a:schemeClr val="tx1">
                  <a:lumMod val="50000"/>
                </a:schemeClr>
              </a:solidFill>
            </a:rPr>
            <a:t>Programs</a:t>
          </a:r>
          <a:endParaRPr lang="zh-TW" sz="2800" kern="1200" dirty="0">
            <a:solidFill>
              <a:schemeClr val="tx1">
                <a:lumMod val="50000"/>
              </a:schemeClr>
            </a:solidFill>
          </a:endParaRPr>
        </a:p>
      </dsp:txBody>
      <dsp:txXfrm>
        <a:off x="31984" y="3232995"/>
        <a:ext cx="7037717" cy="591232"/>
      </dsp:txXfrm>
    </dsp:sp>
    <dsp:sp modelId="{C04A989E-688F-462D-AAD9-E172CED4C2E4}">
      <dsp:nvSpPr>
        <dsp:cNvPr id="0" name=""/>
        <dsp:cNvSpPr/>
      </dsp:nvSpPr>
      <dsp:spPr>
        <a:xfrm>
          <a:off x="0" y="3856212"/>
          <a:ext cx="7101685" cy="19199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5478" tIns="44450" rIns="248920" bIns="44450" numCol="1" spcCol="1270" anchor="t" anchorCtr="0">
          <a:noAutofit/>
        </a:bodyPr>
        <a:lstStyle/>
        <a:p>
          <a:pPr marL="228600" lvl="1" indent="-228600" algn="l" defTabSz="1200150" rtl="0">
            <a:lnSpc>
              <a:spcPct val="90000"/>
            </a:lnSpc>
            <a:spcBef>
              <a:spcPct val="0"/>
            </a:spcBef>
            <a:spcAft>
              <a:spcPct val="20000"/>
            </a:spcAft>
            <a:buChar char="•"/>
          </a:pPr>
          <a:r>
            <a:rPr lang="en-US" sz="2700" i="1" kern="1200" dirty="0">
              <a:solidFill>
                <a:schemeClr val="tx1">
                  <a:lumMod val="50000"/>
                </a:schemeClr>
              </a:solidFill>
            </a:rPr>
            <a:t>Graduate Institute of Recreation,</a:t>
          </a:r>
          <a:r>
            <a:rPr lang="zh-TW" altLang="en-US" sz="2700" i="1" kern="1200" dirty="0">
              <a:solidFill>
                <a:schemeClr val="tx1">
                  <a:lumMod val="50000"/>
                </a:schemeClr>
              </a:solidFill>
            </a:rPr>
            <a:t> </a:t>
          </a:r>
          <a:r>
            <a:rPr lang="en-US" sz="2700" i="1" kern="1200" dirty="0">
              <a:solidFill>
                <a:schemeClr val="tx1">
                  <a:lumMod val="50000"/>
                </a:schemeClr>
              </a:solidFill>
            </a:rPr>
            <a:t>Tourism,</a:t>
          </a:r>
          <a:r>
            <a:rPr lang="zh-TW" sz="2700" i="1" kern="1200" dirty="0">
              <a:solidFill>
                <a:schemeClr val="tx1">
                  <a:lumMod val="50000"/>
                </a:schemeClr>
              </a:solidFill>
            </a:rPr>
            <a:t> </a:t>
          </a:r>
          <a:r>
            <a:rPr lang="en-US" sz="2700" i="1" kern="1200" dirty="0">
              <a:solidFill>
                <a:schemeClr val="tx1">
                  <a:lumMod val="50000"/>
                </a:schemeClr>
              </a:solidFill>
            </a:rPr>
            <a:t>and Hospitality Management</a:t>
          </a:r>
          <a:endParaRPr lang="zh-TW" sz="2700" kern="1200" dirty="0">
            <a:solidFill>
              <a:schemeClr val="tx1">
                <a:lumMod val="50000"/>
              </a:schemeClr>
            </a:solidFill>
          </a:endParaRPr>
        </a:p>
        <a:p>
          <a:pPr marL="228600" lvl="1" indent="-228600" algn="l" defTabSz="1200150" rtl="0">
            <a:lnSpc>
              <a:spcPct val="90000"/>
            </a:lnSpc>
            <a:spcBef>
              <a:spcPct val="0"/>
            </a:spcBef>
            <a:spcAft>
              <a:spcPct val="20000"/>
            </a:spcAft>
            <a:buChar char="•"/>
          </a:pPr>
          <a:r>
            <a:rPr lang="en-US" sz="2700" i="1" kern="1200" dirty="0">
              <a:solidFill>
                <a:schemeClr val="tx1">
                  <a:lumMod val="50000"/>
                </a:schemeClr>
              </a:solidFill>
            </a:rPr>
            <a:t>Global Master Program of Tourism and Management</a:t>
          </a:r>
          <a:endParaRPr lang="zh-TW" sz="2700" kern="1200" dirty="0">
            <a:solidFill>
              <a:schemeClr val="tx1">
                <a:lumMod val="50000"/>
              </a:schemeClr>
            </a:solidFill>
          </a:endParaRPr>
        </a:p>
        <a:p>
          <a:pPr marL="228600" lvl="1" indent="-228600" algn="l" defTabSz="1200150" rtl="0">
            <a:lnSpc>
              <a:spcPct val="90000"/>
            </a:lnSpc>
            <a:spcBef>
              <a:spcPct val="0"/>
            </a:spcBef>
            <a:spcAft>
              <a:spcPct val="20000"/>
            </a:spcAft>
            <a:buChar char="•"/>
          </a:pPr>
          <a:r>
            <a:rPr lang="en-US" sz="2700" i="1" kern="1200" dirty="0">
              <a:solidFill>
                <a:schemeClr val="tx1">
                  <a:lumMod val="50000"/>
                </a:schemeClr>
              </a:solidFill>
            </a:rPr>
            <a:t>EMBA Program</a:t>
          </a:r>
          <a:endParaRPr lang="zh-TW" sz="2700" kern="1200" dirty="0">
            <a:solidFill>
              <a:schemeClr val="tx1">
                <a:lumMod val="50000"/>
              </a:schemeClr>
            </a:solidFill>
          </a:endParaRPr>
        </a:p>
      </dsp:txBody>
      <dsp:txXfrm>
        <a:off x="0" y="3856212"/>
        <a:ext cx="7101685" cy="191992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B9A1D7-7A93-4BE0-B54B-57EDCE21BF7D}">
      <dsp:nvSpPr>
        <dsp:cNvPr id="0" name=""/>
        <dsp:cNvSpPr/>
      </dsp:nvSpPr>
      <dsp:spPr>
        <a:xfrm>
          <a:off x="1370527" y="239073"/>
          <a:ext cx="4042362" cy="1066555"/>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2413" tIns="99060" rIns="99060" bIns="99060" numCol="1" spcCol="1270" anchor="ctr" anchorCtr="0">
          <a:noAutofit/>
        </a:bodyPr>
        <a:lstStyle/>
        <a:p>
          <a:pPr marL="0" lvl="0" indent="0" algn="l" defTabSz="1155700">
            <a:lnSpc>
              <a:spcPct val="90000"/>
            </a:lnSpc>
            <a:spcBef>
              <a:spcPct val="0"/>
            </a:spcBef>
            <a:spcAft>
              <a:spcPct val="35000"/>
            </a:spcAft>
            <a:buNone/>
          </a:pPr>
          <a:r>
            <a:rPr lang="en-US" altLang="zh-TW" sz="2600" kern="1200" dirty="0" err="1">
              <a:solidFill>
                <a:schemeClr val="bg1"/>
              </a:solidFill>
            </a:rPr>
            <a:t>Electrophysics</a:t>
          </a:r>
          <a:endParaRPr lang="zh-TW" altLang="en-US" sz="2600" kern="1200" dirty="0"/>
        </a:p>
      </dsp:txBody>
      <dsp:txXfrm>
        <a:off x="1370527" y="239073"/>
        <a:ext cx="4042362" cy="1066555"/>
      </dsp:txXfrm>
    </dsp:sp>
    <dsp:sp modelId="{3D2FAD8A-1589-4291-83B9-71ECDF090400}">
      <dsp:nvSpPr>
        <dsp:cNvPr id="0" name=""/>
        <dsp:cNvSpPr/>
      </dsp:nvSpPr>
      <dsp:spPr>
        <a:xfrm>
          <a:off x="851135" y="85015"/>
          <a:ext cx="746588" cy="1119882"/>
        </a:xfrm>
        <a:prstGeom prst="rect">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50000" r="-50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B11216F-083E-4D9A-BCA6-25ACC8F56641}">
      <dsp:nvSpPr>
        <dsp:cNvPr id="0" name=""/>
        <dsp:cNvSpPr/>
      </dsp:nvSpPr>
      <dsp:spPr>
        <a:xfrm>
          <a:off x="6392432" y="239073"/>
          <a:ext cx="3939564" cy="1066555"/>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2413" tIns="99060" rIns="99060" bIns="99060" numCol="1" spcCol="1270" anchor="ctr" anchorCtr="0">
          <a:noAutofit/>
        </a:bodyPr>
        <a:lstStyle/>
        <a:p>
          <a:pPr marL="0" lvl="0" indent="0" algn="l" defTabSz="1155700">
            <a:lnSpc>
              <a:spcPct val="90000"/>
            </a:lnSpc>
            <a:spcBef>
              <a:spcPct val="0"/>
            </a:spcBef>
            <a:spcAft>
              <a:spcPct val="35000"/>
            </a:spcAft>
            <a:buNone/>
          </a:pPr>
          <a:r>
            <a:rPr lang="en-US" altLang="zh-TW" sz="2600" kern="1200" dirty="0">
              <a:solidFill>
                <a:schemeClr val="bg1"/>
              </a:solidFill>
            </a:rPr>
            <a:t>Applied Chemistry</a:t>
          </a:r>
          <a:endParaRPr lang="zh-TW" altLang="en-US" sz="2600" kern="1200" dirty="0"/>
        </a:p>
      </dsp:txBody>
      <dsp:txXfrm>
        <a:off x="6392432" y="239073"/>
        <a:ext cx="3939564" cy="1066555"/>
      </dsp:txXfrm>
    </dsp:sp>
    <dsp:sp modelId="{B30B7360-1B92-4058-8E89-873280A6539C}">
      <dsp:nvSpPr>
        <dsp:cNvPr id="0" name=""/>
        <dsp:cNvSpPr/>
      </dsp:nvSpPr>
      <dsp:spPr>
        <a:xfrm>
          <a:off x="6122820" y="150203"/>
          <a:ext cx="746588" cy="1119882"/>
        </a:xfrm>
        <a:prstGeom prst="rect">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8000" r="-8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EC5A858-B121-473B-A803-896628BE534A}">
      <dsp:nvSpPr>
        <dsp:cNvPr id="0" name=""/>
        <dsp:cNvSpPr/>
      </dsp:nvSpPr>
      <dsp:spPr>
        <a:xfrm>
          <a:off x="1370527" y="1581747"/>
          <a:ext cx="4042362" cy="1066555"/>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2413" tIns="99060" rIns="99060" bIns="99060" numCol="1" spcCol="1270" anchor="ctr" anchorCtr="0">
          <a:noAutofit/>
        </a:bodyPr>
        <a:lstStyle/>
        <a:p>
          <a:pPr marL="0" lvl="0" indent="0" algn="l" defTabSz="1155700">
            <a:lnSpc>
              <a:spcPct val="90000"/>
            </a:lnSpc>
            <a:spcBef>
              <a:spcPct val="0"/>
            </a:spcBef>
            <a:spcAft>
              <a:spcPct val="35000"/>
            </a:spcAft>
            <a:buNone/>
          </a:pPr>
          <a:r>
            <a:rPr lang="en-US" altLang="zh-TW" sz="2600" kern="1200" dirty="0">
              <a:solidFill>
                <a:schemeClr val="bg1"/>
              </a:solidFill>
            </a:rPr>
            <a:t>Applied Mathematics</a:t>
          </a:r>
          <a:endParaRPr lang="zh-TW" altLang="en-US" sz="2600" kern="1200" dirty="0"/>
        </a:p>
      </dsp:txBody>
      <dsp:txXfrm>
        <a:off x="1370527" y="1581747"/>
        <a:ext cx="4042362" cy="1066555"/>
      </dsp:txXfrm>
    </dsp:sp>
    <dsp:sp modelId="{D3732357-9DF9-4540-8CF0-C07323AAFE27}">
      <dsp:nvSpPr>
        <dsp:cNvPr id="0" name=""/>
        <dsp:cNvSpPr/>
      </dsp:nvSpPr>
      <dsp:spPr>
        <a:xfrm>
          <a:off x="851135" y="1427689"/>
          <a:ext cx="746588" cy="1119882"/>
        </a:xfrm>
        <a:prstGeom prst="rect">
          <a:avLst/>
        </a:prstGeom>
        <a:blipFill>
          <a:blip xmlns:r="http://schemas.openxmlformats.org/officeDocument/2006/relationships" r:embed="rId3" cstate="print">
            <a:extLst>
              <a:ext uri="{28A0092B-C50C-407E-A947-70E740481C1C}">
                <a14:useLocalDpi xmlns:a14="http://schemas.microsoft.com/office/drawing/2010/main" val="0"/>
              </a:ext>
            </a:extLst>
          </a:blip>
          <a:srcRect/>
          <a:stretch>
            <a:fillRect l="-25000" r="-25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B29E66D-E63C-4CD8-B12C-3C342103630A}">
      <dsp:nvSpPr>
        <dsp:cNvPr id="0" name=""/>
        <dsp:cNvSpPr/>
      </dsp:nvSpPr>
      <dsp:spPr>
        <a:xfrm>
          <a:off x="6392432" y="1581747"/>
          <a:ext cx="3939564" cy="1066555"/>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2413" tIns="99060" rIns="99060" bIns="99060" numCol="1" spcCol="1270" anchor="ctr" anchorCtr="0">
          <a:noAutofit/>
        </a:bodyPr>
        <a:lstStyle/>
        <a:p>
          <a:pPr marL="0" lvl="0" indent="0" algn="l" defTabSz="1155700">
            <a:lnSpc>
              <a:spcPct val="90000"/>
            </a:lnSpc>
            <a:spcBef>
              <a:spcPct val="0"/>
            </a:spcBef>
            <a:spcAft>
              <a:spcPct val="35000"/>
            </a:spcAft>
            <a:buNone/>
          </a:pPr>
          <a:r>
            <a:rPr lang="en-US" altLang="zh-TW" sz="2600" kern="1200" dirty="0" err="1">
              <a:solidFill>
                <a:schemeClr val="bg1"/>
              </a:solidFill>
            </a:rPr>
            <a:t>Biomechatronic</a:t>
          </a:r>
          <a:r>
            <a:rPr lang="en-US" altLang="zh-TW" sz="2600" kern="1200" dirty="0">
              <a:solidFill>
                <a:schemeClr val="bg1"/>
              </a:solidFill>
            </a:rPr>
            <a:t> Engineering</a:t>
          </a:r>
          <a:endParaRPr lang="zh-TW" altLang="en-US" sz="2600" kern="1200" dirty="0"/>
        </a:p>
      </dsp:txBody>
      <dsp:txXfrm>
        <a:off x="6392432" y="1581747"/>
        <a:ext cx="3939564" cy="1066555"/>
      </dsp:txXfrm>
    </dsp:sp>
    <dsp:sp modelId="{7500FAC4-8827-4D8E-81BF-8BB27935DF60}">
      <dsp:nvSpPr>
        <dsp:cNvPr id="0" name=""/>
        <dsp:cNvSpPr/>
      </dsp:nvSpPr>
      <dsp:spPr>
        <a:xfrm>
          <a:off x="6122820" y="1492878"/>
          <a:ext cx="746588" cy="1119882"/>
        </a:xfrm>
        <a:prstGeom prst="rect">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l="-50000" r="-50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B7EB1C0-4480-4F93-A087-971C5C00B9B0}">
      <dsp:nvSpPr>
        <dsp:cNvPr id="0" name=""/>
        <dsp:cNvSpPr/>
      </dsp:nvSpPr>
      <dsp:spPr>
        <a:xfrm>
          <a:off x="1370527" y="2924422"/>
          <a:ext cx="4042362" cy="1066555"/>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2413" tIns="99060" rIns="99060" bIns="99060" numCol="1" spcCol="1270" anchor="ctr" anchorCtr="0">
          <a:noAutofit/>
        </a:bodyPr>
        <a:lstStyle/>
        <a:p>
          <a:pPr marL="0" lvl="0" indent="0" algn="l" defTabSz="1155700">
            <a:lnSpc>
              <a:spcPct val="90000"/>
            </a:lnSpc>
            <a:spcBef>
              <a:spcPct val="0"/>
            </a:spcBef>
            <a:spcAft>
              <a:spcPct val="35000"/>
            </a:spcAft>
            <a:buNone/>
          </a:pPr>
          <a:r>
            <a:rPr lang="en-US" altLang="zh-TW" sz="2600" kern="1200" dirty="0">
              <a:solidFill>
                <a:schemeClr val="bg1"/>
              </a:solidFill>
            </a:rPr>
            <a:t>Civil and Water Resources Engineering</a:t>
          </a:r>
          <a:endParaRPr lang="zh-TW" altLang="en-US" sz="2600" kern="1200" dirty="0"/>
        </a:p>
      </dsp:txBody>
      <dsp:txXfrm>
        <a:off x="1370527" y="2924422"/>
        <a:ext cx="4042362" cy="1066555"/>
      </dsp:txXfrm>
    </dsp:sp>
    <dsp:sp modelId="{95B2895B-F8B8-43B8-9392-CABC9F139EEE}">
      <dsp:nvSpPr>
        <dsp:cNvPr id="0" name=""/>
        <dsp:cNvSpPr/>
      </dsp:nvSpPr>
      <dsp:spPr>
        <a:xfrm>
          <a:off x="851135" y="2770364"/>
          <a:ext cx="746588" cy="1119882"/>
        </a:xfrm>
        <a:prstGeom prst="rect">
          <a:avLst/>
        </a:prstGeom>
        <a:blipFill>
          <a:blip xmlns:r="http://schemas.openxmlformats.org/officeDocument/2006/relationships" r:embed="rId5" cstate="print">
            <a:extLst>
              <a:ext uri="{28A0092B-C50C-407E-A947-70E740481C1C}">
                <a14:useLocalDpi xmlns:a14="http://schemas.microsoft.com/office/drawing/2010/main" val="0"/>
              </a:ext>
            </a:extLst>
          </a:blip>
          <a:srcRect/>
          <a:stretch>
            <a:fillRect l="-56000" r="-56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FD0FE41-A7FC-4A9E-96A9-DCD70673619B}">
      <dsp:nvSpPr>
        <dsp:cNvPr id="0" name=""/>
        <dsp:cNvSpPr/>
      </dsp:nvSpPr>
      <dsp:spPr>
        <a:xfrm>
          <a:off x="6392432" y="2924422"/>
          <a:ext cx="3939564" cy="1066555"/>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2413" tIns="99060" rIns="99060" bIns="99060" numCol="1" spcCol="1270" anchor="ctr" anchorCtr="0">
          <a:noAutofit/>
        </a:bodyPr>
        <a:lstStyle/>
        <a:p>
          <a:pPr marL="0" lvl="0" indent="0" algn="l" defTabSz="1155700">
            <a:lnSpc>
              <a:spcPct val="90000"/>
            </a:lnSpc>
            <a:spcBef>
              <a:spcPct val="0"/>
            </a:spcBef>
            <a:spcAft>
              <a:spcPct val="35000"/>
            </a:spcAft>
            <a:buNone/>
          </a:pPr>
          <a:r>
            <a:rPr lang="en-US" altLang="zh-TW" sz="2600" kern="1200" dirty="0">
              <a:solidFill>
                <a:schemeClr val="bg1"/>
              </a:solidFill>
            </a:rPr>
            <a:t>Computer Science and Information Engineering</a:t>
          </a:r>
          <a:endParaRPr lang="zh-TW" altLang="en-US" sz="2600" kern="1200" dirty="0">
            <a:solidFill>
              <a:schemeClr val="bg1"/>
            </a:solidFill>
          </a:endParaRPr>
        </a:p>
      </dsp:txBody>
      <dsp:txXfrm>
        <a:off x="6392432" y="2924422"/>
        <a:ext cx="3939564" cy="1066555"/>
      </dsp:txXfrm>
    </dsp:sp>
    <dsp:sp modelId="{E92ECB03-4458-4A71-9483-391A111419C0}">
      <dsp:nvSpPr>
        <dsp:cNvPr id="0" name=""/>
        <dsp:cNvSpPr/>
      </dsp:nvSpPr>
      <dsp:spPr>
        <a:xfrm>
          <a:off x="6122820" y="2835552"/>
          <a:ext cx="746588" cy="1119882"/>
        </a:xfrm>
        <a:prstGeom prst="rect">
          <a:avLst/>
        </a:prstGeom>
        <a:blipFill>
          <a:blip xmlns:r="http://schemas.openxmlformats.org/officeDocument/2006/relationships" r:embed="rId6">
            <a:extLst>
              <a:ext uri="{28A0092B-C50C-407E-A947-70E740481C1C}">
                <a14:useLocalDpi xmlns:a14="http://schemas.microsoft.com/office/drawing/2010/main" val="0"/>
              </a:ext>
            </a:extLst>
          </a:blip>
          <a:srcRect/>
          <a:stretch>
            <a:fillRect l="-27000" r="-27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78CABCB-31A4-494D-ACE0-71BD3F3676B6}">
      <dsp:nvSpPr>
        <dsp:cNvPr id="0" name=""/>
        <dsp:cNvSpPr/>
      </dsp:nvSpPr>
      <dsp:spPr>
        <a:xfrm>
          <a:off x="1370527" y="4267096"/>
          <a:ext cx="4042362" cy="1066555"/>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2413" tIns="99060" rIns="99060" bIns="99060" numCol="1" spcCol="1270" anchor="ctr" anchorCtr="0">
          <a:noAutofit/>
        </a:bodyPr>
        <a:lstStyle/>
        <a:p>
          <a:pPr marL="0" lvl="0" indent="0" algn="l" defTabSz="1155700">
            <a:lnSpc>
              <a:spcPct val="90000"/>
            </a:lnSpc>
            <a:spcBef>
              <a:spcPct val="0"/>
            </a:spcBef>
            <a:spcAft>
              <a:spcPct val="35000"/>
            </a:spcAft>
            <a:buNone/>
          </a:pPr>
          <a:r>
            <a:rPr lang="en-US" altLang="zh-TW" sz="2600" kern="1200" dirty="0">
              <a:solidFill>
                <a:schemeClr val="bg1"/>
              </a:solidFill>
            </a:rPr>
            <a:t>Electrical Engineering</a:t>
          </a:r>
          <a:endParaRPr lang="zh-TW" altLang="en-US" sz="2600" kern="1200" dirty="0"/>
        </a:p>
      </dsp:txBody>
      <dsp:txXfrm>
        <a:off x="1370527" y="4267096"/>
        <a:ext cx="4042362" cy="1066555"/>
      </dsp:txXfrm>
    </dsp:sp>
    <dsp:sp modelId="{06022838-9923-462F-A067-BAFD96A3D805}">
      <dsp:nvSpPr>
        <dsp:cNvPr id="0" name=""/>
        <dsp:cNvSpPr/>
      </dsp:nvSpPr>
      <dsp:spPr>
        <a:xfrm>
          <a:off x="851135" y="4113038"/>
          <a:ext cx="746588" cy="1119882"/>
        </a:xfrm>
        <a:prstGeom prst="rect">
          <a:avLst/>
        </a:prstGeom>
        <a:blipFill>
          <a:blip xmlns:r="http://schemas.openxmlformats.org/officeDocument/2006/relationships" r:embed="rId7" cstate="print">
            <a:extLst>
              <a:ext uri="{28A0092B-C50C-407E-A947-70E740481C1C}">
                <a14:useLocalDpi xmlns:a14="http://schemas.microsoft.com/office/drawing/2010/main" val="0"/>
              </a:ext>
            </a:extLst>
          </a:blip>
          <a:srcRect/>
          <a:stretch>
            <a:fillRect l="-50000" r="-50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949E35A-F2BE-4ED0-8257-47B86A869751}">
      <dsp:nvSpPr>
        <dsp:cNvPr id="0" name=""/>
        <dsp:cNvSpPr/>
      </dsp:nvSpPr>
      <dsp:spPr>
        <a:xfrm>
          <a:off x="6392432" y="4267096"/>
          <a:ext cx="3939564" cy="1066555"/>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722413" tIns="99060" rIns="99060" bIns="99060" numCol="1" spcCol="1270" anchor="ctr" anchorCtr="0">
          <a:noAutofit/>
        </a:bodyPr>
        <a:lstStyle/>
        <a:p>
          <a:pPr marL="0" lvl="0" indent="0" algn="l" defTabSz="1155700">
            <a:lnSpc>
              <a:spcPct val="90000"/>
            </a:lnSpc>
            <a:spcBef>
              <a:spcPct val="0"/>
            </a:spcBef>
            <a:spcAft>
              <a:spcPct val="35000"/>
            </a:spcAft>
            <a:buNone/>
          </a:pPr>
          <a:r>
            <a:rPr lang="en-US" altLang="zh-TW" sz="2600" kern="1200" dirty="0">
              <a:solidFill>
                <a:schemeClr val="bg1"/>
              </a:solidFill>
            </a:rPr>
            <a:t>Mechanical and Energy Engineering</a:t>
          </a:r>
          <a:endParaRPr lang="zh-TW" altLang="en-US" sz="2600" kern="1200" dirty="0"/>
        </a:p>
      </dsp:txBody>
      <dsp:txXfrm>
        <a:off x="6392432" y="4267096"/>
        <a:ext cx="3939564" cy="1066555"/>
      </dsp:txXfrm>
    </dsp:sp>
    <dsp:sp modelId="{F54235CB-479B-411A-A741-A0C61E7130E3}">
      <dsp:nvSpPr>
        <dsp:cNvPr id="0" name=""/>
        <dsp:cNvSpPr/>
      </dsp:nvSpPr>
      <dsp:spPr>
        <a:xfrm>
          <a:off x="6122820" y="4178226"/>
          <a:ext cx="746588" cy="1119882"/>
        </a:xfrm>
        <a:prstGeom prst="rect">
          <a:avLst/>
        </a:prstGeom>
        <a:blipFill>
          <a:blip xmlns:r="http://schemas.openxmlformats.org/officeDocument/2006/relationships" r:embed="rId8">
            <a:extLst>
              <a:ext uri="{28A0092B-C50C-407E-A947-70E740481C1C}">
                <a14:useLocalDpi xmlns:a14="http://schemas.microsoft.com/office/drawing/2010/main" val="0"/>
              </a:ext>
            </a:extLst>
          </a:blip>
          <a:srcRect/>
          <a:stretch>
            <a:fillRect l="-50000" r="-50000"/>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FBCA93-7DB5-4972-A94C-0309C5BB0E7B}" type="datetimeFigureOut">
              <a:rPr lang="zh-TW" altLang="en-US" smtClean="0"/>
              <a:pPr/>
              <a:t>2021/1/7</a:t>
            </a:fld>
            <a:endParaRPr lang="zh-TW" altLang="en-US"/>
          </a:p>
        </p:txBody>
      </p:sp>
      <p:sp>
        <p:nvSpPr>
          <p:cNvPr id="4" name="投影片圖像版面配置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6" name="頁尾版面配置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BDB96D-1713-4BC5-9B6B-02D9C680F352}" type="slidenum">
              <a:rPr lang="zh-TW" altLang="en-US" smtClean="0"/>
              <a:pPr/>
              <a:t>‹#›</a:t>
            </a:fld>
            <a:endParaRPr lang="zh-TW" altLang="en-US"/>
          </a:p>
        </p:txBody>
      </p:sp>
    </p:spTree>
    <p:extLst>
      <p:ext uri="{BB962C8B-B14F-4D97-AF65-F5344CB8AC3E}">
        <p14:creationId xmlns:p14="http://schemas.microsoft.com/office/powerpoint/2010/main" val="11050801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a:xfrm>
            <a:off x="685800" y="1143000"/>
            <a:ext cx="5486400" cy="3086100"/>
          </a:xfrm>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7ABDB96D-1713-4BC5-9B6B-02D9C680F352}" type="slidenum">
              <a:rPr lang="zh-TW" altLang="en-US" smtClean="0"/>
              <a:pPr/>
              <a:t>4</a:t>
            </a:fld>
            <a:endParaRPr lang="zh-TW" altLang="en-US"/>
          </a:p>
        </p:txBody>
      </p:sp>
    </p:spTree>
    <p:extLst>
      <p:ext uri="{BB962C8B-B14F-4D97-AF65-F5344CB8AC3E}">
        <p14:creationId xmlns:p14="http://schemas.microsoft.com/office/powerpoint/2010/main" val="37172014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E36C4A8-198B-49C0-9583-8BE3DB5D92AA}" type="slidenum">
              <a:rPr lang="en-US" altLang="zh-TW">
                <a:solidFill>
                  <a:srgbClr val="000000"/>
                </a:solidFill>
              </a:rPr>
              <a:pPr eaLnBrk="1" hangingPunct="1"/>
              <a:t>17</a:t>
            </a:fld>
            <a:endParaRPr lang="en-US" altLang="zh-TW">
              <a:solidFill>
                <a:srgbClr val="000000"/>
              </a:solidFill>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en-GB" altLang="zh-TW">
              <a:latin typeface="Arial" panose="020B0604020202020204" pitchFamily="34" charset="0"/>
            </a:endParaRPr>
          </a:p>
        </p:txBody>
      </p:sp>
    </p:spTree>
    <p:extLst>
      <p:ext uri="{BB962C8B-B14F-4D97-AF65-F5344CB8AC3E}">
        <p14:creationId xmlns:p14="http://schemas.microsoft.com/office/powerpoint/2010/main" val="16989570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F8FFB72-CA79-46F9-B46A-577F658AC672}" type="slidenum">
              <a:rPr lang="en-US" altLang="zh-TW">
                <a:solidFill>
                  <a:srgbClr val="000000"/>
                </a:solidFill>
              </a:rPr>
              <a:pPr eaLnBrk="1" hangingPunct="1"/>
              <a:t>18</a:t>
            </a:fld>
            <a:endParaRPr lang="en-US" altLang="zh-TW">
              <a:solidFill>
                <a:srgbClr val="000000"/>
              </a:solidFill>
            </a:endParaRPr>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noFill/>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TW" sz="1200" dirty="0">
                <a:solidFill>
                  <a:schemeClr val="accent1">
                    <a:lumMod val="60000"/>
                    <a:lumOff val="40000"/>
                  </a:schemeClr>
                </a:solidFill>
                <a:ea typeface="+mn-ea"/>
              </a:rPr>
              <a:t>P</a:t>
            </a:r>
            <a:r>
              <a:rPr lang="en-US" altLang="zh-TW" sz="1200" dirty="0">
                <a:solidFill>
                  <a:schemeClr val="bg1">
                    <a:lumMod val="95000"/>
                  </a:schemeClr>
                </a:solidFill>
                <a:ea typeface="+mn-ea"/>
              </a:rPr>
              <a:t>hysical Education, Health &amp;</a:t>
            </a:r>
            <a:r>
              <a:rPr lang="zh-TW" altLang="en-US" sz="1200" dirty="0">
                <a:solidFill>
                  <a:schemeClr val="bg1">
                    <a:lumMod val="95000"/>
                  </a:schemeClr>
                </a:solidFill>
                <a:ea typeface="+mn-ea"/>
              </a:rPr>
              <a:t>  </a:t>
            </a:r>
            <a:r>
              <a:rPr lang="en-US" altLang="zh-TW" sz="1200" dirty="0">
                <a:solidFill>
                  <a:schemeClr val="bg1">
                    <a:lumMod val="95000"/>
                  </a:schemeClr>
                </a:solidFill>
                <a:ea typeface="+mn-ea"/>
              </a:rPr>
              <a:t>Recreation </a:t>
            </a:r>
            <a:r>
              <a:rPr lang="zh-TW" altLang="en-US" sz="1200" dirty="0">
                <a:solidFill>
                  <a:schemeClr val="bg1">
                    <a:lumMod val="95000"/>
                  </a:schemeClr>
                </a:solidFill>
                <a:ea typeface="+mn-ea"/>
              </a:rPr>
              <a:t>（</a:t>
            </a:r>
            <a:r>
              <a:rPr lang="en-US" altLang="zh-TW" sz="1200" dirty="0">
                <a:solidFill>
                  <a:schemeClr val="bg1">
                    <a:lumMod val="95000"/>
                  </a:schemeClr>
                </a:solidFill>
                <a:ea typeface="+mn-ea"/>
              </a:rPr>
              <a:t>with Graduate Institute)</a:t>
            </a:r>
          </a:p>
          <a:p>
            <a:pPr eaLnBrk="1" hangingPunct="1"/>
            <a:endParaRPr lang="en-GB" altLang="zh-TW" dirty="0">
              <a:latin typeface="Arial" panose="020B0604020202020204" pitchFamily="34" charset="0"/>
            </a:endParaRPr>
          </a:p>
        </p:txBody>
      </p:sp>
    </p:spTree>
    <p:extLst>
      <p:ext uri="{BB962C8B-B14F-4D97-AF65-F5344CB8AC3E}">
        <p14:creationId xmlns:p14="http://schemas.microsoft.com/office/powerpoint/2010/main" val="12183195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1DF0D23D-243D-4FE9-B75E-BD46013A7F71}" type="slidenum">
              <a:rPr lang="en-US" altLang="zh-TW">
                <a:solidFill>
                  <a:srgbClr val="000000"/>
                </a:solidFill>
              </a:rPr>
              <a:pPr eaLnBrk="1" hangingPunct="1"/>
              <a:t>19</a:t>
            </a:fld>
            <a:endParaRPr lang="en-US" altLang="zh-TW">
              <a:solidFill>
                <a:srgbClr val="000000"/>
              </a:solidFill>
            </a:endParaRPr>
          </a:p>
        </p:txBody>
      </p:sp>
      <p:sp>
        <p:nvSpPr>
          <p:cNvPr id="19459" name="Rectangle 2"/>
          <p:cNvSpPr>
            <a:spLocks noGrp="1" noRot="1" noChangeAspect="1" noChangeArrowheads="1" noTextEdit="1"/>
          </p:cNvSpPr>
          <p:nvPr>
            <p:ph type="sldImg"/>
          </p:nvPr>
        </p:nvSpPr>
        <p:spPr>
          <a:ln/>
        </p:spPr>
      </p:sp>
      <p:sp>
        <p:nvSpPr>
          <p:cNvPr id="19460" name="Rectangle 3"/>
          <p:cNvSpPr>
            <a:spLocks noGrp="1" noChangeArrowheads="1"/>
          </p:cNvSpPr>
          <p:nvPr>
            <p:ph type="body" idx="1"/>
          </p:nvPr>
        </p:nvSpPr>
        <p:spPr>
          <a:noFill/>
        </p:spPr>
        <p:txBody>
          <a:bodyPr/>
          <a:lstStyle/>
          <a:p>
            <a:pPr eaLnBrk="1" hangingPunct="1"/>
            <a:endParaRPr lang="en-GB" altLang="zh-TW" dirty="0">
              <a:latin typeface="Arial" panose="020B0604020202020204" pitchFamily="34" charset="0"/>
            </a:endParaRPr>
          </a:p>
        </p:txBody>
      </p:sp>
    </p:spTree>
    <p:extLst>
      <p:ext uri="{BB962C8B-B14F-4D97-AF65-F5344CB8AC3E}">
        <p14:creationId xmlns:p14="http://schemas.microsoft.com/office/powerpoint/2010/main" val="26270232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B1D0F733-7B93-44D4-B9EE-083E5093DCC6}" type="slidenum">
              <a:rPr lang="en-US" altLang="zh-TW">
                <a:solidFill>
                  <a:srgbClr val="000000"/>
                </a:solidFill>
              </a:rPr>
              <a:pPr eaLnBrk="1" hangingPunct="1"/>
              <a:t>20</a:t>
            </a:fld>
            <a:endParaRPr lang="en-US" altLang="zh-TW">
              <a:solidFill>
                <a:srgbClr val="000000"/>
              </a:solidFill>
            </a:endParaRPr>
          </a:p>
        </p:txBody>
      </p:sp>
      <p:sp>
        <p:nvSpPr>
          <p:cNvPr id="20483" name="Rectangle 2"/>
          <p:cNvSpPr>
            <a:spLocks noGrp="1" noRot="1" noChangeAspect="1" noChangeArrowheads="1" noTextEdit="1"/>
          </p:cNvSpPr>
          <p:nvPr>
            <p:ph type="sldImg"/>
          </p:nvPr>
        </p:nvSpPr>
        <p:spPr>
          <a:ln/>
        </p:spPr>
      </p:sp>
      <p:sp>
        <p:nvSpPr>
          <p:cNvPr id="20484" name="Rectangle 3"/>
          <p:cNvSpPr>
            <a:spLocks noGrp="1" noChangeArrowheads="1"/>
          </p:cNvSpPr>
          <p:nvPr>
            <p:ph type="body" idx="1"/>
          </p:nvPr>
        </p:nvSpPr>
        <p:spPr>
          <a:noFill/>
        </p:spPr>
        <p:txBody>
          <a:bodyPr/>
          <a:lstStyle/>
          <a:p>
            <a:pPr eaLnBrk="1" hangingPunct="1"/>
            <a:endParaRPr lang="en-GB" altLang="zh-TW" dirty="0">
              <a:latin typeface="Arial" panose="020B0604020202020204" pitchFamily="34" charset="0"/>
            </a:endParaRPr>
          </a:p>
        </p:txBody>
      </p:sp>
    </p:spTree>
    <p:extLst>
      <p:ext uri="{BB962C8B-B14F-4D97-AF65-F5344CB8AC3E}">
        <p14:creationId xmlns:p14="http://schemas.microsoft.com/office/powerpoint/2010/main" val="737385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圖像版面配置區 1"/>
          <p:cNvSpPr>
            <a:spLocks noGrp="1" noRot="1" noChangeAspect="1"/>
          </p:cNvSpPr>
          <p:nvPr>
            <p:ph type="sldImg"/>
          </p:nvPr>
        </p:nvSpPr>
        <p:spPr/>
      </p:sp>
      <p:sp>
        <p:nvSpPr>
          <p:cNvPr id="3" name="備忘稿版面配置區 2"/>
          <p:cNvSpPr>
            <a:spLocks noGrp="1"/>
          </p:cNvSpPr>
          <p:nvPr>
            <p:ph type="body" idx="1"/>
          </p:nvPr>
        </p:nvSpPr>
        <p:spPr/>
        <p:txBody>
          <a:bodyPr/>
          <a:lstStyle/>
          <a:p>
            <a:endParaRPr lang="zh-TW" altLang="en-US" dirty="0"/>
          </a:p>
        </p:txBody>
      </p:sp>
      <p:sp>
        <p:nvSpPr>
          <p:cNvPr id="4" name="投影片編號版面配置區 3"/>
          <p:cNvSpPr>
            <a:spLocks noGrp="1"/>
          </p:cNvSpPr>
          <p:nvPr>
            <p:ph type="sldNum" sz="quarter" idx="10"/>
          </p:nvPr>
        </p:nvSpPr>
        <p:spPr/>
        <p:txBody>
          <a:bodyPr/>
          <a:lstStyle/>
          <a:p>
            <a:fld id="{7ABDB96D-1713-4BC5-9B6B-02D9C680F352}" type="slidenum">
              <a:rPr lang="zh-TW" altLang="en-US" smtClean="0"/>
              <a:pPr/>
              <a:t>21</a:t>
            </a:fld>
            <a:endParaRPr lang="zh-TW" altLang="en-US"/>
          </a:p>
        </p:txBody>
      </p:sp>
    </p:spTree>
    <p:extLst>
      <p:ext uri="{BB962C8B-B14F-4D97-AF65-F5344CB8AC3E}">
        <p14:creationId xmlns:p14="http://schemas.microsoft.com/office/powerpoint/2010/main" val="6396818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fld id="{F8BF515E-6419-4D4C-8FA2-FF6B2D37D859}" type="slidenum">
              <a:rPr lang="de-DE" altLang="zh-TW">
                <a:solidFill>
                  <a:prstClr val="black"/>
                </a:solidFill>
              </a:rPr>
              <a:pPr/>
              <a:t>22</a:t>
            </a:fld>
            <a:endParaRPr lang="de-DE" altLang="zh-TW">
              <a:solidFill>
                <a:prstClr val="black"/>
              </a:solidFill>
            </a:endParaRPr>
          </a:p>
        </p:txBody>
      </p:sp>
      <p:sp>
        <p:nvSpPr>
          <p:cNvPr id="13315" name="Rectangle 2"/>
          <p:cNvSpPr>
            <a:spLocks noGrp="1" noRot="1" noChangeAspect="1" noChangeArrowheads="1" noTextEdit="1"/>
          </p:cNvSpPr>
          <p:nvPr>
            <p:ph type="sldImg"/>
          </p:nvPr>
        </p:nvSpPr>
        <p:spPr>
          <a:xfrm>
            <a:off x="381000" y="685800"/>
            <a:ext cx="6096000" cy="3429000"/>
          </a:xfrm>
          <a:ln/>
        </p:spPr>
      </p:sp>
      <p:sp>
        <p:nvSpPr>
          <p:cNvPr id="13316" name="Rectangle 3"/>
          <p:cNvSpPr>
            <a:spLocks noGrp="1" noChangeArrowheads="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zh-TW" altLang="zh-TW">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a:t>http://www.youtube.com/watch?v=8HWb0NVHthA</a:t>
            </a:r>
          </a:p>
        </p:txBody>
      </p:sp>
      <p:sp>
        <p:nvSpPr>
          <p:cNvPr id="4" name="Slide Number Placeholder 3"/>
          <p:cNvSpPr>
            <a:spLocks noGrp="1"/>
          </p:cNvSpPr>
          <p:nvPr>
            <p:ph type="sldNum" sz="quarter" idx="10"/>
          </p:nvPr>
        </p:nvSpPr>
        <p:spPr/>
        <p:txBody>
          <a:bodyPr/>
          <a:lstStyle/>
          <a:p>
            <a:fld id="{2B891980-0BF3-461C-95D4-87E094E9751C}"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8947488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E36C4A8-198B-49C0-9583-8BE3DB5D92AA}" type="slidenum">
              <a:rPr lang="en-US" altLang="zh-TW">
                <a:solidFill>
                  <a:srgbClr val="000000"/>
                </a:solidFill>
              </a:rPr>
              <a:pPr eaLnBrk="1" hangingPunct="1"/>
              <a:t>10</a:t>
            </a:fld>
            <a:endParaRPr lang="en-US" altLang="zh-TW">
              <a:solidFill>
                <a:srgbClr val="000000"/>
              </a:solidFill>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en-GB" altLang="zh-TW">
              <a:latin typeface="Arial" panose="020B0604020202020204" pitchFamily="34" charset="0"/>
            </a:endParaRPr>
          </a:p>
        </p:txBody>
      </p:sp>
    </p:spTree>
    <p:extLst>
      <p:ext uri="{BB962C8B-B14F-4D97-AF65-F5344CB8AC3E}">
        <p14:creationId xmlns:p14="http://schemas.microsoft.com/office/powerpoint/2010/main" val="26666843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F8FFB72-CA79-46F9-B46A-577F658AC672}" type="slidenum">
              <a:rPr lang="en-US" altLang="zh-TW">
                <a:solidFill>
                  <a:srgbClr val="000000"/>
                </a:solidFill>
              </a:rPr>
              <a:pPr eaLnBrk="1" hangingPunct="1"/>
              <a:t>11</a:t>
            </a:fld>
            <a:endParaRPr lang="en-US" altLang="zh-TW">
              <a:solidFill>
                <a:srgbClr val="000000"/>
              </a:solidFill>
            </a:endParaRPr>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noFill/>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TW" sz="1200" dirty="0">
                <a:solidFill>
                  <a:schemeClr val="accent1">
                    <a:lumMod val="60000"/>
                    <a:lumOff val="40000"/>
                  </a:schemeClr>
                </a:solidFill>
                <a:ea typeface="+mn-ea"/>
              </a:rPr>
              <a:t>P</a:t>
            </a:r>
            <a:r>
              <a:rPr lang="en-US" altLang="zh-TW" sz="1200" dirty="0">
                <a:solidFill>
                  <a:schemeClr val="bg1">
                    <a:lumMod val="95000"/>
                  </a:schemeClr>
                </a:solidFill>
                <a:ea typeface="+mn-ea"/>
              </a:rPr>
              <a:t>hysical Education, Health &amp;</a:t>
            </a:r>
            <a:r>
              <a:rPr lang="zh-TW" altLang="en-US" sz="1200" dirty="0">
                <a:solidFill>
                  <a:schemeClr val="bg1">
                    <a:lumMod val="95000"/>
                  </a:schemeClr>
                </a:solidFill>
                <a:ea typeface="+mn-ea"/>
              </a:rPr>
              <a:t>  </a:t>
            </a:r>
            <a:r>
              <a:rPr lang="en-US" altLang="zh-TW" sz="1200" dirty="0">
                <a:solidFill>
                  <a:schemeClr val="bg1">
                    <a:lumMod val="95000"/>
                  </a:schemeClr>
                </a:solidFill>
                <a:ea typeface="+mn-ea"/>
              </a:rPr>
              <a:t>Recreation </a:t>
            </a:r>
            <a:r>
              <a:rPr lang="zh-TW" altLang="en-US" sz="1200" dirty="0">
                <a:solidFill>
                  <a:schemeClr val="bg1">
                    <a:lumMod val="95000"/>
                  </a:schemeClr>
                </a:solidFill>
                <a:ea typeface="+mn-ea"/>
              </a:rPr>
              <a:t>（</a:t>
            </a:r>
            <a:r>
              <a:rPr lang="en-US" altLang="zh-TW" sz="1200" dirty="0">
                <a:solidFill>
                  <a:schemeClr val="bg1">
                    <a:lumMod val="95000"/>
                  </a:schemeClr>
                </a:solidFill>
                <a:ea typeface="+mn-ea"/>
              </a:rPr>
              <a:t>with Graduate Institute)</a:t>
            </a:r>
          </a:p>
          <a:p>
            <a:pPr eaLnBrk="1" hangingPunct="1"/>
            <a:endParaRPr lang="en-GB" altLang="zh-TW" dirty="0">
              <a:latin typeface="Arial" panose="020B0604020202020204" pitchFamily="34" charset="0"/>
            </a:endParaRPr>
          </a:p>
        </p:txBody>
      </p:sp>
    </p:spTree>
    <p:extLst>
      <p:ext uri="{BB962C8B-B14F-4D97-AF65-F5344CB8AC3E}">
        <p14:creationId xmlns:p14="http://schemas.microsoft.com/office/powerpoint/2010/main" val="16659122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F8FFB72-CA79-46F9-B46A-577F658AC672}" type="slidenum">
              <a:rPr lang="en-US" altLang="zh-TW">
                <a:solidFill>
                  <a:srgbClr val="000000"/>
                </a:solidFill>
              </a:rPr>
              <a:pPr eaLnBrk="1" hangingPunct="1"/>
              <a:t>12</a:t>
            </a:fld>
            <a:endParaRPr lang="en-US" altLang="zh-TW">
              <a:solidFill>
                <a:srgbClr val="000000"/>
              </a:solidFill>
            </a:endParaRPr>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noFill/>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TW" sz="1200" dirty="0">
                <a:solidFill>
                  <a:schemeClr val="accent1">
                    <a:lumMod val="60000"/>
                    <a:lumOff val="40000"/>
                  </a:schemeClr>
                </a:solidFill>
                <a:ea typeface="+mn-ea"/>
              </a:rPr>
              <a:t>P</a:t>
            </a:r>
            <a:r>
              <a:rPr lang="en-US" altLang="zh-TW" sz="1200" dirty="0">
                <a:solidFill>
                  <a:schemeClr val="bg1">
                    <a:lumMod val="95000"/>
                  </a:schemeClr>
                </a:solidFill>
                <a:ea typeface="+mn-ea"/>
              </a:rPr>
              <a:t>hysical Education, Health &amp;</a:t>
            </a:r>
            <a:r>
              <a:rPr lang="zh-TW" altLang="en-US" sz="1200" dirty="0">
                <a:solidFill>
                  <a:schemeClr val="bg1">
                    <a:lumMod val="95000"/>
                  </a:schemeClr>
                </a:solidFill>
                <a:ea typeface="+mn-ea"/>
              </a:rPr>
              <a:t>  </a:t>
            </a:r>
            <a:r>
              <a:rPr lang="en-US" altLang="zh-TW" sz="1200" dirty="0">
                <a:solidFill>
                  <a:schemeClr val="bg1">
                    <a:lumMod val="95000"/>
                  </a:schemeClr>
                </a:solidFill>
                <a:ea typeface="+mn-ea"/>
              </a:rPr>
              <a:t>Recreation </a:t>
            </a:r>
            <a:r>
              <a:rPr lang="zh-TW" altLang="en-US" sz="1200" dirty="0">
                <a:solidFill>
                  <a:schemeClr val="bg1">
                    <a:lumMod val="95000"/>
                  </a:schemeClr>
                </a:solidFill>
                <a:ea typeface="+mn-ea"/>
              </a:rPr>
              <a:t>（</a:t>
            </a:r>
            <a:r>
              <a:rPr lang="en-US" altLang="zh-TW" sz="1200" dirty="0">
                <a:solidFill>
                  <a:schemeClr val="bg1">
                    <a:lumMod val="95000"/>
                  </a:schemeClr>
                </a:solidFill>
                <a:ea typeface="+mn-ea"/>
              </a:rPr>
              <a:t>with Graduate Institute)</a:t>
            </a:r>
          </a:p>
          <a:p>
            <a:pPr eaLnBrk="1" hangingPunct="1"/>
            <a:endParaRPr lang="en-GB" altLang="zh-TW" dirty="0">
              <a:latin typeface="Arial" panose="020B0604020202020204" pitchFamily="34" charset="0"/>
            </a:endParaRPr>
          </a:p>
        </p:txBody>
      </p:sp>
    </p:spTree>
    <p:extLst>
      <p:ext uri="{BB962C8B-B14F-4D97-AF65-F5344CB8AC3E}">
        <p14:creationId xmlns:p14="http://schemas.microsoft.com/office/powerpoint/2010/main" val="21310927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E36C4A8-198B-49C0-9583-8BE3DB5D92AA}" type="slidenum">
              <a:rPr lang="en-US" altLang="zh-TW">
                <a:solidFill>
                  <a:srgbClr val="000000"/>
                </a:solidFill>
              </a:rPr>
              <a:pPr eaLnBrk="1" hangingPunct="1"/>
              <a:t>13</a:t>
            </a:fld>
            <a:endParaRPr lang="en-US" altLang="zh-TW">
              <a:solidFill>
                <a:srgbClr val="000000"/>
              </a:solidFill>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en-GB" altLang="zh-TW">
              <a:latin typeface="Arial" panose="020B0604020202020204" pitchFamily="34" charset="0"/>
            </a:endParaRPr>
          </a:p>
        </p:txBody>
      </p:sp>
    </p:spTree>
    <p:extLst>
      <p:ext uri="{BB962C8B-B14F-4D97-AF65-F5344CB8AC3E}">
        <p14:creationId xmlns:p14="http://schemas.microsoft.com/office/powerpoint/2010/main" val="8234755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F8FFB72-CA79-46F9-B46A-577F658AC672}" type="slidenum">
              <a:rPr lang="en-US" altLang="zh-TW">
                <a:solidFill>
                  <a:srgbClr val="000000"/>
                </a:solidFill>
              </a:rPr>
              <a:pPr eaLnBrk="1" hangingPunct="1"/>
              <a:t>14</a:t>
            </a:fld>
            <a:endParaRPr lang="en-US" altLang="zh-TW">
              <a:solidFill>
                <a:srgbClr val="000000"/>
              </a:solidFill>
            </a:endParaRPr>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noFill/>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TW" sz="1200" dirty="0">
                <a:solidFill>
                  <a:schemeClr val="accent1">
                    <a:lumMod val="60000"/>
                    <a:lumOff val="40000"/>
                  </a:schemeClr>
                </a:solidFill>
                <a:ea typeface="+mn-ea"/>
              </a:rPr>
              <a:t>P</a:t>
            </a:r>
            <a:r>
              <a:rPr lang="en-US" altLang="zh-TW" sz="1200" dirty="0">
                <a:solidFill>
                  <a:schemeClr val="bg1">
                    <a:lumMod val="95000"/>
                  </a:schemeClr>
                </a:solidFill>
                <a:ea typeface="+mn-ea"/>
              </a:rPr>
              <a:t>hysical Education, Health &amp;</a:t>
            </a:r>
            <a:r>
              <a:rPr lang="zh-TW" altLang="en-US" sz="1200" dirty="0">
                <a:solidFill>
                  <a:schemeClr val="bg1">
                    <a:lumMod val="95000"/>
                  </a:schemeClr>
                </a:solidFill>
                <a:ea typeface="+mn-ea"/>
              </a:rPr>
              <a:t>  </a:t>
            </a:r>
            <a:r>
              <a:rPr lang="en-US" altLang="zh-TW" sz="1200" dirty="0">
                <a:solidFill>
                  <a:schemeClr val="bg1">
                    <a:lumMod val="95000"/>
                  </a:schemeClr>
                </a:solidFill>
                <a:ea typeface="+mn-ea"/>
              </a:rPr>
              <a:t>Recreation </a:t>
            </a:r>
            <a:r>
              <a:rPr lang="zh-TW" altLang="en-US" sz="1200" dirty="0">
                <a:solidFill>
                  <a:schemeClr val="bg1">
                    <a:lumMod val="95000"/>
                  </a:schemeClr>
                </a:solidFill>
                <a:ea typeface="+mn-ea"/>
              </a:rPr>
              <a:t>（</a:t>
            </a:r>
            <a:r>
              <a:rPr lang="en-US" altLang="zh-TW" sz="1200" dirty="0">
                <a:solidFill>
                  <a:schemeClr val="bg1">
                    <a:lumMod val="95000"/>
                  </a:schemeClr>
                </a:solidFill>
                <a:ea typeface="+mn-ea"/>
              </a:rPr>
              <a:t>with Graduate Institute)</a:t>
            </a:r>
          </a:p>
          <a:p>
            <a:pPr eaLnBrk="1" hangingPunct="1"/>
            <a:endParaRPr lang="en-GB" altLang="zh-TW" dirty="0">
              <a:latin typeface="Arial" panose="020B0604020202020204" pitchFamily="34" charset="0"/>
            </a:endParaRPr>
          </a:p>
        </p:txBody>
      </p:sp>
    </p:spTree>
    <p:extLst>
      <p:ext uri="{BB962C8B-B14F-4D97-AF65-F5344CB8AC3E}">
        <p14:creationId xmlns:p14="http://schemas.microsoft.com/office/powerpoint/2010/main" val="16659122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2E36C4A8-198B-49C0-9583-8BE3DB5D92AA}" type="slidenum">
              <a:rPr lang="en-US" altLang="zh-TW">
                <a:solidFill>
                  <a:srgbClr val="000000"/>
                </a:solidFill>
              </a:rPr>
              <a:pPr eaLnBrk="1" hangingPunct="1"/>
              <a:t>15</a:t>
            </a:fld>
            <a:endParaRPr lang="en-US" altLang="zh-TW">
              <a:solidFill>
                <a:srgbClr val="000000"/>
              </a:solidFill>
            </a:endParaRPr>
          </a:p>
        </p:txBody>
      </p:sp>
      <p:sp>
        <p:nvSpPr>
          <p:cNvPr id="16387" name="Rectangle 2"/>
          <p:cNvSpPr>
            <a:spLocks noGrp="1" noRot="1" noChangeAspect="1" noChangeArrowheads="1" noTextEdit="1"/>
          </p:cNvSpPr>
          <p:nvPr>
            <p:ph type="sldImg"/>
          </p:nvPr>
        </p:nvSpPr>
        <p:spPr>
          <a:ln/>
        </p:spPr>
      </p:sp>
      <p:sp>
        <p:nvSpPr>
          <p:cNvPr id="16388" name="Rectangle 3"/>
          <p:cNvSpPr>
            <a:spLocks noGrp="1" noChangeArrowheads="1"/>
          </p:cNvSpPr>
          <p:nvPr>
            <p:ph type="body" idx="1"/>
          </p:nvPr>
        </p:nvSpPr>
        <p:spPr>
          <a:noFill/>
        </p:spPr>
        <p:txBody>
          <a:bodyPr/>
          <a:lstStyle/>
          <a:p>
            <a:pPr eaLnBrk="1" hangingPunct="1"/>
            <a:endParaRPr lang="en-GB" altLang="zh-TW">
              <a:latin typeface="Arial" panose="020B0604020202020204" pitchFamily="34" charset="0"/>
            </a:endParaRPr>
          </a:p>
        </p:txBody>
      </p:sp>
    </p:spTree>
    <p:extLst>
      <p:ext uri="{BB962C8B-B14F-4D97-AF65-F5344CB8AC3E}">
        <p14:creationId xmlns:p14="http://schemas.microsoft.com/office/powerpoint/2010/main" val="13631269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a:noFill/>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fld id="{CF8FFB72-CA79-46F9-B46A-577F658AC672}" type="slidenum">
              <a:rPr lang="en-US" altLang="zh-TW">
                <a:solidFill>
                  <a:srgbClr val="000000"/>
                </a:solidFill>
              </a:rPr>
              <a:pPr eaLnBrk="1" hangingPunct="1"/>
              <a:t>16</a:t>
            </a:fld>
            <a:endParaRPr lang="en-US" altLang="zh-TW">
              <a:solidFill>
                <a:srgbClr val="000000"/>
              </a:solidFill>
            </a:endParaRPr>
          </a:p>
        </p:txBody>
      </p:sp>
      <p:sp>
        <p:nvSpPr>
          <p:cNvPr id="17411" name="Rectangle 2"/>
          <p:cNvSpPr>
            <a:spLocks noGrp="1" noRot="1" noChangeAspect="1" noChangeArrowheads="1" noTextEdit="1"/>
          </p:cNvSpPr>
          <p:nvPr>
            <p:ph type="sldImg"/>
          </p:nvPr>
        </p:nvSpPr>
        <p:spPr>
          <a:ln/>
        </p:spPr>
      </p:sp>
      <p:sp>
        <p:nvSpPr>
          <p:cNvPr id="17412" name="Rectangle 3"/>
          <p:cNvSpPr>
            <a:spLocks noGrp="1" noChangeArrowheads="1"/>
          </p:cNvSpPr>
          <p:nvPr>
            <p:ph type="body" idx="1"/>
          </p:nvPr>
        </p:nvSpPr>
        <p:spPr>
          <a:noFill/>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ltLang="zh-TW" sz="1200" dirty="0">
                <a:solidFill>
                  <a:schemeClr val="accent1">
                    <a:lumMod val="60000"/>
                    <a:lumOff val="40000"/>
                  </a:schemeClr>
                </a:solidFill>
                <a:ea typeface="+mn-ea"/>
              </a:rPr>
              <a:t>P</a:t>
            </a:r>
            <a:r>
              <a:rPr lang="en-US" altLang="zh-TW" sz="1200" dirty="0">
                <a:solidFill>
                  <a:schemeClr val="bg1">
                    <a:lumMod val="95000"/>
                  </a:schemeClr>
                </a:solidFill>
                <a:ea typeface="+mn-ea"/>
              </a:rPr>
              <a:t>hysical Education, Health &amp;</a:t>
            </a:r>
            <a:r>
              <a:rPr lang="zh-TW" altLang="en-US" sz="1200" dirty="0">
                <a:solidFill>
                  <a:schemeClr val="bg1">
                    <a:lumMod val="95000"/>
                  </a:schemeClr>
                </a:solidFill>
                <a:ea typeface="+mn-ea"/>
              </a:rPr>
              <a:t>  </a:t>
            </a:r>
            <a:r>
              <a:rPr lang="en-US" altLang="zh-TW" sz="1200" dirty="0">
                <a:solidFill>
                  <a:schemeClr val="bg1">
                    <a:lumMod val="95000"/>
                  </a:schemeClr>
                </a:solidFill>
                <a:ea typeface="+mn-ea"/>
              </a:rPr>
              <a:t>Recreation </a:t>
            </a:r>
            <a:r>
              <a:rPr lang="zh-TW" altLang="en-US" sz="1200" dirty="0">
                <a:solidFill>
                  <a:schemeClr val="bg1">
                    <a:lumMod val="95000"/>
                  </a:schemeClr>
                </a:solidFill>
                <a:ea typeface="+mn-ea"/>
              </a:rPr>
              <a:t>（</a:t>
            </a:r>
            <a:r>
              <a:rPr lang="en-US" altLang="zh-TW" sz="1200" dirty="0">
                <a:solidFill>
                  <a:schemeClr val="bg1">
                    <a:lumMod val="95000"/>
                  </a:schemeClr>
                </a:solidFill>
                <a:ea typeface="+mn-ea"/>
              </a:rPr>
              <a:t>with Graduate Institute)</a:t>
            </a:r>
          </a:p>
          <a:p>
            <a:pPr eaLnBrk="1" hangingPunct="1"/>
            <a:endParaRPr lang="en-GB" altLang="zh-TW" dirty="0">
              <a:latin typeface="Arial" panose="020B0604020202020204" pitchFamily="34" charset="0"/>
            </a:endParaRPr>
          </a:p>
        </p:txBody>
      </p:sp>
    </p:spTree>
    <p:extLst>
      <p:ext uri="{BB962C8B-B14F-4D97-AF65-F5344CB8AC3E}">
        <p14:creationId xmlns:p14="http://schemas.microsoft.com/office/powerpoint/2010/main" val="11477821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sp>
        <p:nvSpPr>
          <p:cNvPr id="7" name="Rectangle 6"/>
          <p:cNvSpPr/>
          <p:nvPr/>
        </p:nvSpPr>
        <p:spPr>
          <a:xfrm>
            <a:off x="1" y="762003"/>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5" y="762003"/>
            <a:ext cx="2925319"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zh-TW" altLang="en-US"/>
              <a:t>按一下以編輯母片標題樣式</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zh-TW" altLang="en-US"/>
              <a:t>按一下以編輯母片副標題樣式</a:t>
            </a:r>
            <a:endParaRPr lang="en-US" dirty="0"/>
          </a:p>
        </p:txBody>
      </p:sp>
      <p:sp>
        <p:nvSpPr>
          <p:cNvPr id="4" name="Date Placeholder 3"/>
          <p:cNvSpPr>
            <a:spLocks noGrp="1"/>
          </p:cNvSpPr>
          <p:nvPr>
            <p:ph type="dt" sz="half" idx="10"/>
          </p:nvPr>
        </p:nvSpPr>
        <p:spPr/>
        <p:txBody>
          <a:bodyPr/>
          <a:lstStyle/>
          <a:p>
            <a:fld id="{9BA3A13D-7ACC-4350-B368-5F9372CAD98C}" type="datetimeFigureOut">
              <a:rPr lang="zh-TW" altLang="en-US" smtClean="0"/>
              <a:pPr/>
              <a:t>2021/1/7</a:t>
            </a:fld>
            <a:endParaRPr lang="zh-TW" altLang="en-US"/>
          </a:p>
        </p:txBody>
      </p:sp>
      <p:sp>
        <p:nvSpPr>
          <p:cNvPr id="5" name="Footer Placeholder 4"/>
          <p:cNvSpPr>
            <a:spLocks noGrp="1"/>
          </p:cNvSpPr>
          <p:nvPr>
            <p:ph type="ftr" sz="quarter" idx="11"/>
          </p:nvPr>
        </p:nvSpPr>
        <p:spPr/>
        <p:txBody>
          <a:bodyPr/>
          <a:lstStyle/>
          <a:p>
            <a:endParaRPr lang="zh-TW" altLang="en-US"/>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30344498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Vertical Text Placeholder 2"/>
          <p:cNvSpPr>
            <a:spLocks noGrp="1"/>
          </p:cNvSpPr>
          <p:nvPr>
            <p:ph type="body" orient="vert" idx="1"/>
          </p:nvPr>
        </p:nvSpPr>
        <p:spPr/>
        <p:txBody>
          <a:bodyPr vert="eaVert" ancho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7" name="Date Placeholder 6"/>
          <p:cNvSpPr>
            <a:spLocks noGrp="1"/>
          </p:cNvSpPr>
          <p:nvPr>
            <p:ph type="dt" sz="half" idx="10"/>
          </p:nvPr>
        </p:nvSpPr>
        <p:spPr/>
        <p:txBody>
          <a:bodyPr/>
          <a:lstStyle/>
          <a:p>
            <a:fld id="{9BA3A13D-7ACC-4350-B368-5F9372CAD98C}" type="datetimeFigureOut">
              <a:rPr lang="zh-TW" altLang="en-US" smtClean="0"/>
              <a:pPr/>
              <a:t>2021/1/7</a:t>
            </a:fld>
            <a:endParaRPr lang="zh-TW" altLang="en-US"/>
          </a:p>
        </p:txBody>
      </p:sp>
      <p:sp>
        <p:nvSpPr>
          <p:cNvPr id="8" name="Footer Placeholder 7"/>
          <p:cNvSpPr>
            <a:spLocks noGrp="1"/>
          </p:cNvSpPr>
          <p:nvPr>
            <p:ph type="ftr" sz="quarter" idx="11"/>
          </p:nvPr>
        </p:nvSpPr>
        <p:spPr/>
        <p:txBody>
          <a:bodyPr/>
          <a:lstStyle/>
          <a:p>
            <a:endParaRPr lang="zh-TW" altLang="en-US"/>
          </a:p>
        </p:txBody>
      </p:sp>
      <p:sp>
        <p:nvSpPr>
          <p:cNvPr id="9" name="Slide Number Placeholder 8"/>
          <p:cNvSpPr>
            <a:spLocks noGrp="1"/>
          </p:cNvSpPr>
          <p:nvPr>
            <p:ph type="sldNum" sz="quarter" idx="12"/>
          </p:nvPr>
        </p:nvSpPr>
        <p:spPr/>
        <p:txBody>
          <a:body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38380883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objTx" preserve="1">
  <p:cSld name="含標題的內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4267200" y="273051"/>
            <a:ext cx="7315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5" name="Date Placeholder 4"/>
          <p:cNvSpPr>
            <a:spLocks noGrp="1"/>
          </p:cNvSpPr>
          <p:nvPr>
            <p:ph type="dt" sz="half" idx="10"/>
          </p:nvPr>
        </p:nvSpPr>
        <p:spPr/>
        <p:txBody>
          <a:bodyPr/>
          <a:lstStyle/>
          <a:p>
            <a:pPr>
              <a:defRPr/>
            </a:pPr>
            <a:endParaRPr lang="en-US" altLang="zh-TW">
              <a:solidFill>
                <a:srgbClr val="333333"/>
              </a:solidFill>
            </a:endParaRPr>
          </a:p>
        </p:txBody>
      </p:sp>
      <p:sp>
        <p:nvSpPr>
          <p:cNvPr id="6" name="Footer Placeholder 5"/>
          <p:cNvSpPr>
            <a:spLocks noGrp="1"/>
          </p:cNvSpPr>
          <p:nvPr>
            <p:ph type="ftr" sz="quarter" idx="11"/>
          </p:nvPr>
        </p:nvSpPr>
        <p:spPr/>
        <p:txBody>
          <a:bodyPr/>
          <a:lstStyle/>
          <a:p>
            <a:pPr>
              <a:defRPr/>
            </a:pPr>
            <a:endParaRPr lang="en-US" altLang="zh-TW">
              <a:solidFill>
                <a:srgbClr val="333333"/>
              </a:solidFill>
            </a:endParaRPr>
          </a:p>
        </p:txBody>
      </p:sp>
      <p:sp>
        <p:nvSpPr>
          <p:cNvPr id="7" name="Slide Number Placeholder 6"/>
          <p:cNvSpPr>
            <a:spLocks noGrp="1"/>
          </p:cNvSpPr>
          <p:nvPr>
            <p:ph type="sldNum" sz="quarter" idx="12"/>
          </p:nvPr>
        </p:nvSpPr>
        <p:spPr/>
        <p:txBody>
          <a:bodyPr/>
          <a:lstStyle/>
          <a:p>
            <a:fld id="{D8D694CC-DD3B-4E8A-BBE3-A7FD5AA4EB32}" type="slidenum">
              <a:rPr lang="en-US" altLang="zh-TW" smtClean="0">
                <a:solidFill>
                  <a:srgbClr val="333333"/>
                </a:solidFill>
              </a:rPr>
              <a:pPr/>
              <a:t>‹#›</a:t>
            </a:fld>
            <a:endParaRPr lang="en-US" altLang="zh-TW">
              <a:solidFill>
                <a:srgbClr val="333333"/>
              </a:solidFill>
            </a:endParaRPr>
          </a:p>
        </p:txBody>
      </p:sp>
      <p:sp>
        <p:nvSpPr>
          <p:cNvPr id="37" name="Rectangle 36"/>
          <p:cNvSpPr/>
          <p:nvPr/>
        </p:nvSpPr>
        <p:spPr>
          <a:xfrm>
            <a:off x="0" y="1563624"/>
            <a:ext cx="3681984" cy="3313176"/>
          </a:xfrm>
          <a:prstGeom prst="rect">
            <a:avLst/>
          </a:prstGeom>
          <a:solidFill>
            <a:schemeClr val="accent1"/>
          </a:solidFill>
          <a:ln>
            <a:noFill/>
          </a:ln>
          <a:effectLst>
            <a:outerShdw blurRad="508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Tw Cen MT"/>
              <a:ea typeface="+mn-ea"/>
              <a:cs typeface="+mn-cs"/>
            </a:endParaRPr>
          </a:p>
        </p:txBody>
      </p:sp>
      <p:cxnSp>
        <p:nvCxnSpPr>
          <p:cNvPr id="39" name="Straight Connector 38"/>
          <p:cNvCxnSpPr/>
          <p:nvPr/>
        </p:nvCxnSpPr>
        <p:spPr>
          <a:xfrm rot="5400000">
            <a:off x="2007129" y="3221207"/>
            <a:ext cx="3017520" cy="105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0" y="1712976"/>
            <a:ext cx="3535680" cy="158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0" y="4733544"/>
            <a:ext cx="3535680" cy="158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03200" y="1901952"/>
            <a:ext cx="3169920" cy="1371600"/>
          </a:xfrm>
        </p:spPr>
        <p:txBody>
          <a:bodyPr anchor="b">
            <a:normAutofit/>
          </a:bodyPr>
          <a:lstStyle>
            <a:lvl1pPr algn="l" defTabSz="914400" rtl="0" eaLnBrk="1" latinLnBrk="0" hangingPunct="1">
              <a:spcBef>
                <a:spcPct val="0"/>
              </a:spcBef>
              <a:buNone/>
              <a:tabLst>
                <a:tab pos="3830638" algn="l"/>
              </a:tabLst>
              <a:defRPr lang="en-US" sz="2600" b="1" kern="1200" cap="none" spc="20" baseline="0" dirty="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latin typeface="+mj-lt"/>
                <a:ea typeface="+mj-ea"/>
                <a:cs typeface="+mj-cs"/>
              </a:defRPr>
            </a:lvl1pPr>
          </a:lstStyle>
          <a:p>
            <a:r>
              <a:rPr lang="zh-TW" altLang="en-US"/>
              <a:t>按一下以編輯母片標題樣式</a:t>
            </a:r>
            <a:endParaRPr lang="en-US" dirty="0"/>
          </a:p>
        </p:txBody>
      </p:sp>
      <p:sp>
        <p:nvSpPr>
          <p:cNvPr id="4" name="Text Placeholder 3"/>
          <p:cNvSpPr>
            <a:spLocks noGrp="1"/>
          </p:cNvSpPr>
          <p:nvPr>
            <p:ph type="body" sz="half" idx="2"/>
          </p:nvPr>
        </p:nvSpPr>
        <p:spPr>
          <a:xfrm>
            <a:off x="203200" y="3273552"/>
            <a:ext cx="3169920" cy="1371600"/>
          </a:xfrm>
        </p:spPr>
        <p:txBody>
          <a:bodyPr>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picTx" preserve="1">
  <p:cSld name="含標題的圖片">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267200" y="381000"/>
            <a:ext cx="7416800" cy="5638800"/>
          </a:xfrm>
          <a:solidFill>
            <a:schemeClr val="bg2"/>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endParaRPr lang="en-US"/>
          </a:p>
        </p:txBody>
      </p:sp>
      <p:sp>
        <p:nvSpPr>
          <p:cNvPr id="5" name="Date Placeholder 4"/>
          <p:cNvSpPr>
            <a:spLocks noGrp="1"/>
          </p:cNvSpPr>
          <p:nvPr>
            <p:ph type="dt" sz="half" idx="10"/>
          </p:nvPr>
        </p:nvSpPr>
        <p:spPr/>
        <p:txBody>
          <a:bodyPr/>
          <a:lstStyle/>
          <a:p>
            <a:pPr>
              <a:defRPr/>
            </a:pPr>
            <a:endParaRPr lang="en-US" altLang="zh-TW">
              <a:solidFill>
                <a:srgbClr val="333333"/>
              </a:solidFill>
            </a:endParaRPr>
          </a:p>
        </p:txBody>
      </p:sp>
      <p:sp>
        <p:nvSpPr>
          <p:cNvPr id="6" name="Footer Placeholder 5"/>
          <p:cNvSpPr>
            <a:spLocks noGrp="1"/>
          </p:cNvSpPr>
          <p:nvPr>
            <p:ph type="ftr" sz="quarter" idx="11"/>
          </p:nvPr>
        </p:nvSpPr>
        <p:spPr/>
        <p:txBody>
          <a:bodyPr/>
          <a:lstStyle/>
          <a:p>
            <a:pPr>
              <a:defRPr/>
            </a:pPr>
            <a:endParaRPr lang="en-US" altLang="zh-TW">
              <a:solidFill>
                <a:srgbClr val="333333"/>
              </a:solidFill>
            </a:endParaRPr>
          </a:p>
        </p:txBody>
      </p:sp>
      <p:sp>
        <p:nvSpPr>
          <p:cNvPr id="7" name="Slide Number Placeholder 6"/>
          <p:cNvSpPr>
            <a:spLocks noGrp="1"/>
          </p:cNvSpPr>
          <p:nvPr>
            <p:ph type="sldNum" sz="quarter" idx="12"/>
          </p:nvPr>
        </p:nvSpPr>
        <p:spPr/>
        <p:txBody>
          <a:bodyPr/>
          <a:lstStyle/>
          <a:p>
            <a:fld id="{6394FA47-B3E2-49DE-B161-FF093153D1AC}" type="slidenum">
              <a:rPr lang="en-US" altLang="zh-TW" smtClean="0">
                <a:solidFill>
                  <a:srgbClr val="333333"/>
                </a:solidFill>
              </a:rPr>
              <a:pPr/>
              <a:t>‹#›</a:t>
            </a:fld>
            <a:endParaRPr lang="en-US" altLang="zh-TW">
              <a:solidFill>
                <a:srgbClr val="333333"/>
              </a:solidFill>
            </a:endParaRPr>
          </a:p>
        </p:txBody>
      </p:sp>
      <p:sp>
        <p:nvSpPr>
          <p:cNvPr id="33" name="Rectangle 32"/>
          <p:cNvSpPr/>
          <p:nvPr/>
        </p:nvSpPr>
        <p:spPr>
          <a:xfrm>
            <a:off x="0" y="1563624"/>
            <a:ext cx="3681984" cy="3313176"/>
          </a:xfrm>
          <a:prstGeom prst="rect">
            <a:avLst/>
          </a:prstGeom>
          <a:solidFill>
            <a:schemeClr val="accent1"/>
          </a:solidFill>
          <a:ln>
            <a:noFill/>
          </a:ln>
          <a:effectLst>
            <a:outerShdw blurRad="508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Tw Cen MT"/>
              <a:ea typeface="+mn-ea"/>
              <a:cs typeface="+mn-cs"/>
            </a:endParaRPr>
          </a:p>
        </p:txBody>
      </p:sp>
      <p:cxnSp>
        <p:nvCxnSpPr>
          <p:cNvPr id="34" name="Straight Connector 33"/>
          <p:cNvCxnSpPr/>
          <p:nvPr/>
        </p:nvCxnSpPr>
        <p:spPr>
          <a:xfrm rot="5400000">
            <a:off x="2007129" y="3221207"/>
            <a:ext cx="3017520" cy="1059"/>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0" y="1712976"/>
            <a:ext cx="3535680" cy="158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a:off x="0" y="4733544"/>
            <a:ext cx="3535680" cy="158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07264" y="1905000"/>
            <a:ext cx="3169920" cy="1371600"/>
          </a:xfrm>
        </p:spPr>
        <p:txBody>
          <a:bodyPr anchor="b">
            <a:normAutofit/>
          </a:bodyPr>
          <a:lstStyle>
            <a:lvl1pPr algn="l">
              <a:defRPr sz="2600" b="1" cap="none" spc="20" baseline="0">
                <a:ln w="12700" cmpd="sng">
                  <a:solidFill>
                    <a:schemeClr val="accent6">
                      <a:satMod val="120000"/>
                      <a:shade val="80000"/>
                    </a:schemeClr>
                  </a:solidFill>
                  <a:prstDash val="solid"/>
                </a:ln>
                <a:solidFill>
                  <a:schemeClr val="accent6">
                    <a:tint val="1000"/>
                  </a:schemeClr>
                </a:solidFill>
                <a:effectLst>
                  <a:glow rad="53100">
                    <a:schemeClr val="accent6">
                      <a:satMod val="180000"/>
                      <a:alpha val="30000"/>
                    </a:schemeClr>
                  </a:glow>
                </a:effectLst>
              </a:defRPr>
            </a:lvl1pPr>
          </a:lstStyle>
          <a:p>
            <a:r>
              <a:rPr lang="zh-TW" altLang="en-US"/>
              <a:t>按一下以編輯母片標題樣式</a:t>
            </a:r>
            <a:endParaRPr lang="en-US" dirty="0"/>
          </a:p>
        </p:txBody>
      </p:sp>
      <p:sp>
        <p:nvSpPr>
          <p:cNvPr id="4" name="Text Placeholder 3"/>
          <p:cNvSpPr>
            <a:spLocks noGrp="1"/>
          </p:cNvSpPr>
          <p:nvPr>
            <p:ph type="body" sz="half" idx="2"/>
          </p:nvPr>
        </p:nvSpPr>
        <p:spPr>
          <a:xfrm>
            <a:off x="203200" y="3276600"/>
            <a:ext cx="3169920" cy="1371600"/>
          </a:xfrm>
        </p:spPr>
        <p:txBody>
          <a:bodyPr>
            <a:normAutofit/>
          </a:bodyPr>
          <a:lstStyle>
            <a:lvl1pPr marL="0" indent="0">
              <a:buNone/>
              <a:defRPr sz="18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a:p>
        </p:txBody>
      </p:sp>
      <p:sp>
        <p:nvSpPr>
          <p:cNvPr id="3" name="Vertical Text Placeholder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Date Placeholder 3"/>
          <p:cNvSpPr>
            <a:spLocks noGrp="1"/>
          </p:cNvSpPr>
          <p:nvPr>
            <p:ph type="dt" sz="half" idx="10"/>
          </p:nvPr>
        </p:nvSpPr>
        <p:spPr/>
        <p:txBody>
          <a:bodyPr/>
          <a:lstStyle/>
          <a:p>
            <a:pPr>
              <a:defRPr/>
            </a:pPr>
            <a:endParaRPr lang="en-US" altLang="zh-TW">
              <a:solidFill>
                <a:srgbClr val="333333"/>
              </a:solidFill>
            </a:endParaRPr>
          </a:p>
        </p:txBody>
      </p:sp>
      <p:sp>
        <p:nvSpPr>
          <p:cNvPr id="5" name="Footer Placeholder 4"/>
          <p:cNvSpPr>
            <a:spLocks noGrp="1"/>
          </p:cNvSpPr>
          <p:nvPr>
            <p:ph type="ftr" sz="quarter" idx="11"/>
          </p:nvPr>
        </p:nvSpPr>
        <p:spPr/>
        <p:txBody>
          <a:bodyPr/>
          <a:lstStyle/>
          <a:p>
            <a:pPr>
              <a:defRPr/>
            </a:pPr>
            <a:endParaRPr lang="en-US" altLang="zh-TW">
              <a:solidFill>
                <a:srgbClr val="333333"/>
              </a:solidFill>
            </a:endParaRPr>
          </a:p>
        </p:txBody>
      </p:sp>
      <p:sp>
        <p:nvSpPr>
          <p:cNvPr id="6" name="Slide Number Placeholder 5"/>
          <p:cNvSpPr>
            <a:spLocks noGrp="1"/>
          </p:cNvSpPr>
          <p:nvPr>
            <p:ph type="sldNum" sz="quarter" idx="12"/>
          </p:nvPr>
        </p:nvSpPr>
        <p:spPr/>
        <p:txBody>
          <a:bodyPr/>
          <a:lstStyle/>
          <a:p>
            <a:fld id="{A47BE442-8C31-4BD4-A805-225D793A97DC}" type="slidenum">
              <a:rPr lang="en-US" altLang="zh-TW" smtClean="0">
                <a:solidFill>
                  <a:srgbClr val="333333"/>
                </a:solidFill>
              </a:rPr>
              <a:pPr/>
              <a:t>‹#›</a:t>
            </a:fld>
            <a:endParaRPr lang="en-US" altLang="zh-TW">
              <a:solidFill>
                <a:srgbClr val="333333"/>
              </a:solidFill>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zh-TW" altLang="en-US"/>
              <a:t>按一下以編輯母片標題樣式</a:t>
            </a:r>
            <a:endParaRPr lang="en-US"/>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Date Placeholder 3"/>
          <p:cNvSpPr>
            <a:spLocks noGrp="1"/>
          </p:cNvSpPr>
          <p:nvPr>
            <p:ph type="dt" sz="half" idx="10"/>
          </p:nvPr>
        </p:nvSpPr>
        <p:spPr/>
        <p:txBody>
          <a:bodyPr/>
          <a:lstStyle/>
          <a:p>
            <a:pPr>
              <a:defRPr/>
            </a:pPr>
            <a:endParaRPr lang="en-US" altLang="zh-TW">
              <a:solidFill>
                <a:srgbClr val="333333"/>
              </a:solidFill>
            </a:endParaRPr>
          </a:p>
        </p:txBody>
      </p:sp>
      <p:sp>
        <p:nvSpPr>
          <p:cNvPr id="5" name="Footer Placeholder 4"/>
          <p:cNvSpPr>
            <a:spLocks noGrp="1"/>
          </p:cNvSpPr>
          <p:nvPr>
            <p:ph type="ftr" sz="quarter" idx="11"/>
          </p:nvPr>
        </p:nvSpPr>
        <p:spPr/>
        <p:txBody>
          <a:bodyPr/>
          <a:lstStyle/>
          <a:p>
            <a:pPr>
              <a:defRPr/>
            </a:pPr>
            <a:endParaRPr lang="en-US" altLang="zh-TW">
              <a:solidFill>
                <a:srgbClr val="333333"/>
              </a:solidFill>
            </a:endParaRPr>
          </a:p>
        </p:txBody>
      </p:sp>
      <p:sp>
        <p:nvSpPr>
          <p:cNvPr id="6" name="Slide Number Placeholder 5"/>
          <p:cNvSpPr>
            <a:spLocks noGrp="1"/>
          </p:cNvSpPr>
          <p:nvPr>
            <p:ph type="sldNum" sz="quarter" idx="12"/>
          </p:nvPr>
        </p:nvSpPr>
        <p:spPr/>
        <p:txBody>
          <a:bodyPr/>
          <a:lstStyle/>
          <a:p>
            <a:fld id="{AEF9835A-87D0-418E-A9E6-C7DAFAC1AE63}" type="slidenum">
              <a:rPr lang="en-US" altLang="zh-TW" smtClean="0">
                <a:solidFill>
                  <a:srgbClr val="333333"/>
                </a:solidFill>
              </a:rPr>
              <a:pPr/>
              <a:t>‹#›</a:t>
            </a:fld>
            <a:endParaRPr lang="en-US" altLang="zh-TW">
              <a:solidFill>
                <a:srgbClr val="333333"/>
              </a:solidFill>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chart">
  <p:cSld name="標題及圖表">
    <p:spTree>
      <p:nvGrpSpPr>
        <p:cNvPr id="1" name=""/>
        <p:cNvGrpSpPr/>
        <p:nvPr/>
      </p:nvGrpSpPr>
      <p:grpSpPr>
        <a:xfrm>
          <a:off x="0" y="0"/>
          <a:ext cx="0" cy="0"/>
          <a:chOff x="0" y="0"/>
          <a:chExt cx="0" cy="0"/>
        </a:xfrm>
      </p:grpSpPr>
      <p:sp>
        <p:nvSpPr>
          <p:cNvPr id="2" name="標題 1"/>
          <p:cNvSpPr>
            <a:spLocks noGrp="1"/>
          </p:cNvSpPr>
          <p:nvPr>
            <p:ph type="title"/>
          </p:nvPr>
        </p:nvSpPr>
        <p:spPr>
          <a:xfrm>
            <a:off x="609600" y="274638"/>
            <a:ext cx="10972800" cy="1143000"/>
          </a:xfrm>
        </p:spPr>
        <p:txBody>
          <a:bodyPr/>
          <a:lstStyle/>
          <a:p>
            <a:r>
              <a:rPr lang="zh-TW" altLang="en-US"/>
              <a:t>按一下以編輯母片標題樣式</a:t>
            </a:r>
          </a:p>
        </p:txBody>
      </p:sp>
      <p:sp>
        <p:nvSpPr>
          <p:cNvPr id="3" name="圖表版面配置區 2"/>
          <p:cNvSpPr>
            <a:spLocks noGrp="1"/>
          </p:cNvSpPr>
          <p:nvPr>
            <p:ph type="chart" idx="1"/>
          </p:nvPr>
        </p:nvSpPr>
        <p:spPr>
          <a:xfrm>
            <a:off x="609600" y="1066801"/>
            <a:ext cx="10972800" cy="3700463"/>
          </a:xfrm>
        </p:spPr>
        <p:txBody>
          <a:bodyPr/>
          <a:lstStyle/>
          <a:p>
            <a:pPr lvl="0"/>
            <a:endParaRPr lang="zh-TW" alt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ltLang="zh-TW">
              <a:solidFill>
                <a:srgbClr val="333333"/>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ltLang="zh-TW">
              <a:solidFill>
                <a:srgbClr val="333333"/>
              </a:solidFill>
            </a:endParaRPr>
          </a:p>
        </p:txBody>
      </p:sp>
      <p:sp>
        <p:nvSpPr>
          <p:cNvPr id="6" name="Rectangle 6"/>
          <p:cNvSpPr>
            <a:spLocks noGrp="1" noChangeArrowheads="1"/>
          </p:cNvSpPr>
          <p:nvPr>
            <p:ph type="sldNum" sz="quarter" idx="12"/>
          </p:nvPr>
        </p:nvSpPr>
        <p:spPr>
          <a:ln/>
        </p:spPr>
        <p:txBody>
          <a:bodyPr/>
          <a:lstStyle>
            <a:lvl1pPr>
              <a:defRPr/>
            </a:lvl1pPr>
          </a:lstStyle>
          <a:p>
            <a:fld id="{80A664D6-589C-4ED9-A66A-147F8557673B}" type="slidenum">
              <a:rPr lang="en-US" altLang="zh-TW">
                <a:solidFill>
                  <a:srgbClr val="333333"/>
                </a:solidFill>
              </a:rPr>
              <a:pPr/>
              <a:t>‹#›</a:t>
            </a:fld>
            <a:endParaRPr lang="en-US" altLang="zh-TW">
              <a:solidFill>
                <a:srgbClr val="333333"/>
              </a:solidFill>
            </a:endParaRPr>
          </a:p>
        </p:txBody>
      </p:sp>
    </p:spTree>
    <p:extLst>
      <p:ext uri="{BB962C8B-B14F-4D97-AF65-F5344CB8AC3E}">
        <p14:creationId xmlns:p14="http://schemas.microsoft.com/office/powerpoint/2010/main" val="13444177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xAndObj">
  <p:cSld name="標題，文字及物件">
    <p:spTree>
      <p:nvGrpSpPr>
        <p:cNvPr id="1" name=""/>
        <p:cNvGrpSpPr/>
        <p:nvPr/>
      </p:nvGrpSpPr>
      <p:grpSpPr>
        <a:xfrm>
          <a:off x="0" y="0"/>
          <a:ext cx="0" cy="0"/>
          <a:chOff x="0" y="0"/>
          <a:chExt cx="0" cy="0"/>
        </a:xfrm>
      </p:grpSpPr>
      <p:sp>
        <p:nvSpPr>
          <p:cNvPr id="2" name="標題 1"/>
          <p:cNvSpPr>
            <a:spLocks noGrp="1"/>
          </p:cNvSpPr>
          <p:nvPr>
            <p:ph type="title"/>
          </p:nvPr>
        </p:nvSpPr>
        <p:spPr>
          <a:xfrm>
            <a:off x="609600" y="274638"/>
            <a:ext cx="10972800" cy="1143000"/>
          </a:xfrm>
        </p:spPr>
        <p:txBody>
          <a:bodyPr/>
          <a:lstStyle/>
          <a:p>
            <a:r>
              <a:rPr lang="zh-TW" altLang="en-US"/>
              <a:t>按一下以編輯母片標題樣式</a:t>
            </a:r>
          </a:p>
        </p:txBody>
      </p:sp>
      <p:sp>
        <p:nvSpPr>
          <p:cNvPr id="3" name="文字版面配置區 2"/>
          <p:cNvSpPr>
            <a:spLocks noGrp="1"/>
          </p:cNvSpPr>
          <p:nvPr>
            <p:ph type="body" sz="half" idx="1"/>
          </p:nvPr>
        </p:nvSpPr>
        <p:spPr>
          <a:xfrm>
            <a:off x="609600" y="1066801"/>
            <a:ext cx="5384800" cy="3700463"/>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6197600" y="1066801"/>
            <a:ext cx="5384800" cy="3700463"/>
          </a:xfrm>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TW">
              <a:solidFill>
                <a:srgbClr val="333333"/>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TW">
              <a:solidFill>
                <a:srgbClr val="333333"/>
              </a:solidFill>
            </a:endParaRPr>
          </a:p>
        </p:txBody>
      </p:sp>
      <p:sp>
        <p:nvSpPr>
          <p:cNvPr id="7" name="Rectangle 6"/>
          <p:cNvSpPr>
            <a:spLocks noGrp="1" noChangeArrowheads="1"/>
          </p:cNvSpPr>
          <p:nvPr>
            <p:ph type="sldNum" sz="quarter" idx="12"/>
          </p:nvPr>
        </p:nvSpPr>
        <p:spPr>
          <a:ln/>
        </p:spPr>
        <p:txBody>
          <a:bodyPr/>
          <a:lstStyle>
            <a:lvl1pPr>
              <a:defRPr/>
            </a:lvl1pPr>
          </a:lstStyle>
          <a:p>
            <a:fld id="{F7538C61-4A1D-41E4-8126-FBAC29CBA5F4}" type="slidenum">
              <a:rPr lang="en-US" altLang="zh-TW">
                <a:solidFill>
                  <a:srgbClr val="333333"/>
                </a:solidFill>
              </a:rPr>
              <a:pPr/>
              <a:t>‹#›</a:t>
            </a:fld>
            <a:endParaRPr lang="en-US" altLang="zh-TW">
              <a:solidFill>
                <a:srgbClr val="333333"/>
              </a:solidFill>
            </a:endParaRPr>
          </a:p>
        </p:txBody>
      </p:sp>
    </p:spTree>
    <p:extLst>
      <p:ext uri="{BB962C8B-B14F-4D97-AF65-F5344CB8AC3E}">
        <p14:creationId xmlns:p14="http://schemas.microsoft.com/office/powerpoint/2010/main" val="29819204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3" y="761999"/>
            <a:ext cx="2925318"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zh-TW" altLang="en-US"/>
              <a:t>按一下以編輯母片標題樣式</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zh-TW" altLang="en-US"/>
              <a:t>按一下以編輯母片副標題樣式</a:t>
            </a:r>
            <a:endParaRPr lang="en-US" dirty="0"/>
          </a:p>
        </p:txBody>
      </p:sp>
      <p:sp>
        <p:nvSpPr>
          <p:cNvPr id="4" name="Date Placeholder 3"/>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403636745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Content Placeholder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71302890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zh-TW" altLang="en-US"/>
              <a:t>按一下以編輯母片標題樣式</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4" name="Date Placeholder 3"/>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299112503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8" name="Date Placeholder 7"/>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9" name="Footer Placeholder 8"/>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13806288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zh-TW" altLang="en-US"/>
              <a:t>按一下以編輯母片標題樣式</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7" name="Date Placeholder 6"/>
          <p:cNvSpPr>
            <a:spLocks noGrp="1"/>
          </p:cNvSpPr>
          <p:nvPr>
            <p:ph type="dt" sz="half" idx="10"/>
          </p:nvPr>
        </p:nvSpPr>
        <p:spPr/>
        <p:txBody>
          <a:bodyPr/>
          <a:lstStyle/>
          <a:p>
            <a:fld id="{9BA3A13D-7ACC-4350-B368-5F9372CAD98C}" type="datetimeFigureOut">
              <a:rPr lang="zh-TW" altLang="en-US" smtClean="0"/>
              <a:pPr/>
              <a:t>2021/1/7</a:t>
            </a:fld>
            <a:endParaRPr lang="zh-TW" altLang="en-US"/>
          </a:p>
        </p:txBody>
      </p:sp>
      <p:sp>
        <p:nvSpPr>
          <p:cNvPr id="8" name="Footer Placeholder 7"/>
          <p:cNvSpPr>
            <a:spLocks noGrp="1"/>
          </p:cNvSpPr>
          <p:nvPr>
            <p:ph type="ftr" sz="quarter" idx="11"/>
          </p:nvPr>
        </p:nvSpPr>
        <p:spPr/>
        <p:txBody>
          <a:bodyPr/>
          <a:lstStyle/>
          <a:p>
            <a:endParaRPr lang="zh-TW" altLang="en-US"/>
          </a:p>
        </p:txBody>
      </p:sp>
      <p:sp>
        <p:nvSpPr>
          <p:cNvPr id="9" name="Slide Number Placeholder 8"/>
          <p:cNvSpPr>
            <a:spLocks noGrp="1"/>
          </p:cNvSpPr>
          <p:nvPr>
            <p:ph type="sldNum" sz="quarter" idx="12"/>
          </p:nvPr>
        </p:nvSpPr>
        <p:spPr/>
        <p:txBody>
          <a:body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356214505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zh-TW" altLang="en-US"/>
              <a:t>按一下以編輯母片標題樣式</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2" name="Date Placeholder 1"/>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11" name="Footer Placeholder 10"/>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12" name="Slide Number Placeholder 11"/>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217861518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zh-TW" altLang="en-US"/>
              <a:t>按一下以編輯母片標題樣式</a:t>
            </a:r>
            <a:endParaRPr lang="en-US" dirty="0"/>
          </a:p>
        </p:txBody>
      </p:sp>
      <p:sp>
        <p:nvSpPr>
          <p:cNvPr id="2" name="Date Placeholder 1"/>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7" name="Footer Placeholder 6"/>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8" name="Slide Number Placeholder 7"/>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125891667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6" name="Footer Placeholder 5"/>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7" name="Slide Number Placeholder 6"/>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257183760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zh-TW" altLang="en-US"/>
              <a:t>按一下以編輯母片標題樣式</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8" name="Date Placeholder 7"/>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9" name="Footer Placeholder 8"/>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246826927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zh-TW" altLang="en-US"/>
              <a:t>按一下以編輯母片標題樣式</a:t>
            </a:r>
            <a:endParaRPr lang="en-US" dirty="0"/>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8" name="Date Placeholder 7"/>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9" name="Footer Placeholder 8"/>
          <p:cNvSpPr>
            <a:spLocks noGrp="1"/>
          </p:cNvSpPr>
          <p:nvPr>
            <p:ph type="ftr" sz="quarter" idx="11"/>
          </p:nvPr>
        </p:nvSpPr>
        <p:spPr>
          <a:xfrm>
            <a:off x="3499101" y="6356350"/>
            <a:ext cx="5911517" cy="365125"/>
          </a:xfrm>
        </p:spPr>
        <p:txBody>
          <a:bodyPr/>
          <a:lstStyle/>
          <a:p>
            <a:endParaRPr lang="en-US" dirty="0">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330992299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Vertical Text Placeholder 2"/>
          <p:cNvSpPr>
            <a:spLocks noGrp="1"/>
          </p:cNvSpPr>
          <p:nvPr>
            <p:ph type="body" orient="vert" idx="1"/>
          </p:nvPr>
        </p:nvSpPr>
        <p:spPr/>
        <p:txBody>
          <a:bodyPr vert="eaVert" ancho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7" name="Date Placeholder 6"/>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8" name="Footer Placeholder 7"/>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9" name="Slide Number Placeholder 8"/>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86649279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zh-TW" altLang="en-US"/>
              <a:t>按一下以編輯母片標題樣式</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7" name="Date Placeholder 6"/>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8" name="Footer Placeholder 7"/>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9" name="Slide Number Placeholder 8"/>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15054347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Album Cover">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1277600" cy="6858000"/>
          </a:xfrm>
          <a:prstGeom prst="rect">
            <a:avLst/>
          </a:prstGeom>
        </p:spPr>
      </p:pic>
      <p:sp>
        <p:nvSpPr>
          <p:cNvPr id="11" name="Text Placeholder 10"/>
          <p:cNvSpPr>
            <a:spLocks noGrp="1"/>
          </p:cNvSpPr>
          <p:nvPr>
            <p:ph type="body" sz="quarter" idx="14" hasCustomPrompt="1"/>
          </p:nvPr>
        </p:nvSpPr>
        <p:spPr>
          <a:xfrm>
            <a:off x="3934609" y="1191151"/>
            <a:ext cx="6583680" cy="983431"/>
          </a:xfrm>
          <a:solidFill>
            <a:schemeClr val="tx1">
              <a:lumMod val="95000"/>
              <a:lumOff val="5000"/>
              <a:alpha val="64000"/>
            </a:schemeClr>
          </a:solidFill>
          <a:ln w="38100" cmpd="dbl">
            <a:noFill/>
          </a:ln>
        </p:spPr>
        <p:txBody>
          <a:bodyPr tIns="137160" anchor="ctr" anchorCtr="0">
            <a:normAutofit/>
          </a:bodyPr>
          <a:lstStyle>
            <a:lvl1pPr algn="ctr">
              <a:buNone/>
              <a:defRPr sz="3200" b="1" baseline="0">
                <a:solidFill>
                  <a:schemeClr val="bg1"/>
                </a:solidFill>
              </a:defRPr>
            </a:lvl1pPr>
          </a:lstStyle>
          <a:p>
            <a:pPr lvl="0"/>
            <a:r>
              <a:rPr lang="en-US" dirty="0"/>
              <a:t>Click to add Master title</a:t>
            </a:r>
          </a:p>
        </p:txBody>
      </p:sp>
      <p:sp>
        <p:nvSpPr>
          <p:cNvPr id="7" name="Rectangle 6"/>
          <p:cNvSpPr/>
          <p:nvPr userDrawn="1"/>
        </p:nvSpPr>
        <p:spPr>
          <a:xfrm>
            <a:off x="3875964" y="1143000"/>
            <a:ext cx="6705600" cy="1066800"/>
          </a:xfrm>
          <a:prstGeom prst="rect">
            <a:avLst/>
          </a:prstGeom>
          <a:noFill/>
          <a:ln w="38100">
            <a:solidFill>
              <a:schemeClr val="tx1">
                <a:lumMod val="95000"/>
                <a:lumOff val="5000"/>
                <a:alpha val="5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859328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30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Album Section ">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2" name="Title 1"/>
          <p:cNvSpPr>
            <a:spLocks noGrp="1"/>
          </p:cNvSpPr>
          <p:nvPr>
            <p:ph type="title"/>
          </p:nvPr>
        </p:nvSpPr>
        <p:spPr>
          <a:xfrm>
            <a:off x="812800" y="4646840"/>
            <a:ext cx="10363200" cy="1362075"/>
          </a:xfrm>
        </p:spPr>
        <p:txBody>
          <a:bodyPr anchor="t"/>
          <a:lstStyle>
            <a:lvl1pPr algn="l">
              <a:defRPr sz="4000" b="1" cap="all">
                <a:solidFill>
                  <a:schemeClr val="tx1">
                    <a:lumMod val="85000"/>
                    <a:lumOff val="15000"/>
                  </a:schemeClr>
                </a:solidFill>
              </a:defRPr>
            </a:lvl1pPr>
          </a:lstStyle>
          <a:p>
            <a:r>
              <a:rPr lang="zh-TW" altLang="en-US"/>
              <a:t>按一下以編輯母片標題樣式</a:t>
            </a:r>
            <a:endParaRPr lang="en-US" dirty="0"/>
          </a:p>
        </p:txBody>
      </p:sp>
      <p:sp>
        <p:nvSpPr>
          <p:cNvPr id="3" name="Text Placeholder 2"/>
          <p:cNvSpPr>
            <a:spLocks noGrp="1"/>
          </p:cNvSpPr>
          <p:nvPr>
            <p:ph type="body" idx="1"/>
          </p:nvPr>
        </p:nvSpPr>
        <p:spPr>
          <a:xfrm>
            <a:off x="812800" y="314665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9"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0"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1"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519870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Album Section with 3 Portrait">
    <p:bg>
      <p:bgPr>
        <a:solidFill>
          <a:schemeClr val="bg1">
            <a:lumMod val="95000"/>
          </a:schemeClr>
        </a:solidFill>
        <a:effectLst/>
      </p:bgPr>
    </p:bg>
    <p:spTree>
      <p:nvGrpSpPr>
        <p:cNvPr id="1" name=""/>
        <p:cNvGrpSpPr/>
        <p:nvPr/>
      </p:nvGrpSpPr>
      <p:grpSpPr>
        <a:xfrm>
          <a:off x="0" y="0"/>
          <a:ext cx="0" cy="0"/>
          <a:chOff x="0" y="0"/>
          <a:chExt cx="0" cy="0"/>
        </a:xfrm>
      </p:grpSpPr>
      <p:sp>
        <p:nvSpPr>
          <p:cNvPr id="8" name="Rectangle 2"/>
          <p:cNvSpPr>
            <a:spLocks noGrp="1"/>
          </p:cNvSpPr>
          <p:nvPr>
            <p:ph type="title" hasCustomPrompt="1"/>
          </p:nvPr>
        </p:nvSpPr>
        <p:spPr>
          <a:xfrm>
            <a:off x="609600" y="3390900"/>
            <a:ext cx="10375640" cy="990600"/>
          </a:xfrm>
        </p:spPr>
        <p:txBody>
          <a:bodyPr vert="horz" bIns="0" anchor="b" anchorCtr="0">
            <a:normAutofit/>
          </a:bodyPr>
          <a:lstStyle>
            <a:lvl1pPr>
              <a:defRPr sz="4400" b="1" baseline="0">
                <a:solidFill>
                  <a:srgbClr val="FC7500"/>
                </a:solidFill>
              </a:defRPr>
            </a:lvl1pPr>
            <a:extLst/>
          </a:lstStyle>
          <a:p>
            <a:r>
              <a:rPr lang="en-US" dirty="0"/>
              <a:t>Click to add section title</a:t>
            </a:r>
          </a:p>
        </p:txBody>
      </p:sp>
      <p:sp>
        <p:nvSpPr>
          <p:cNvPr id="9" name="Rectangle 11"/>
          <p:cNvSpPr>
            <a:spLocks noGrp="1"/>
          </p:cNvSpPr>
          <p:nvPr>
            <p:ph type="body" sz="quarter" idx="14" hasCustomPrompt="1"/>
          </p:nvPr>
        </p:nvSpPr>
        <p:spPr>
          <a:xfrm>
            <a:off x="609600" y="4572000"/>
            <a:ext cx="10363200" cy="838200"/>
          </a:xfrm>
        </p:spPr>
        <p:txBody>
          <a:bodyPr vert="horz" tIns="0"/>
          <a:lstStyle>
            <a:lvl1pPr algn="ctr">
              <a:buFontTx/>
              <a:buNone/>
              <a:defRPr sz="1800">
                <a:solidFill>
                  <a:schemeClr val="tx1">
                    <a:lumMod val="75000"/>
                    <a:lumOff val="25000"/>
                  </a:schemeClr>
                </a:solidFill>
              </a:defRPr>
            </a:lvl1pPr>
            <a:extLst/>
          </a:lstStyle>
          <a:p>
            <a:pPr lvl="0"/>
            <a:r>
              <a:rPr lang="en-US" dirty="0"/>
              <a:t>Click to add subtitle</a:t>
            </a:r>
          </a:p>
        </p:txBody>
      </p:sp>
      <p:sp>
        <p:nvSpPr>
          <p:cNvPr id="10" name="Rectangle 6"/>
          <p:cNvSpPr>
            <a:spLocks noGrp="1"/>
          </p:cNvSpPr>
          <p:nvPr>
            <p:ph type="pic" sz="quarter" idx="11"/>
          </p:nvPr>
        </p:nvSpPr>
        <p:spPr>
          <a:xfrm>
            <a:off x="654491"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1" name="Rectangle 6"/>
          <p:cNvSpPr>
            <a:spLocks noGrp="1"/>
          </p:cNvSpPr>
          <p:nvPr>
            <p:ph type="pic" sz="quarter" idx="15"/>
          </p:nvPr>
        </p:nvSpPr>
        <p:spPr>
          <a:xfrm>
            <a:off x="4238845"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2" name="Rectangle 6"/>
          <p:cNvSpPr>
            <a:spLocks noGrp="1"/>
          </p:cNvSpPr>
          <p:nvPr>
            <p:ph type="pic" sz="quarter" idx="16"/>
          </p:nvPr>
        </p:nvSpPr>
        <p:spPr>
          <a:xfrm>
            <a:off x="7823200"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8"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9" name="Footer Placeholder 4"/>
          <p:cNvSpPr>
            <a:spLocks noGrp="1"/>
          </p:cNvSpPr>
          <p:nvPr>
            <p:ph type="ftr" sz="quarter" idx="17"/>
          </p:nvPr>
        </p:nvSpPr>
        <p:spPr>
          <a:xfrm>
            <a:off x="3962400" y="6553200"/>
            <a:ext cx="3860800" cy="304800"/>
          </a:xfrm>
        </p:spPr>
        <p:txBody>
          <a:bodyPr/>
          <a:lstStyle/>
          <a:p>
            <a:endParaRPr lang="en-US">
              <a:solidFill>
                <a:prstClr val="black">
                  <a:tint val="75000"/>
                </a:prstClr>
              </a:solidFill>
            </a:endParaRPr>
          </a:p>
        </p:txBody>
      </p:sp>
      <p:sp>
        <p:nvSpPr>
          <p:cNvPr id="20"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21" name="Rectangle 20"/>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22" name="Straight Connector 21"/>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23079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lbum Cover">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1277600" cy="6858000"/>
          </a:xfrm>
          <a:prstGeom prst="rect">
            <a:avLst/>
          </a:prstGeom>
        </p:spPr>
      </p:pic>
      <p:sp>
        <p:nvSpPr>
          <p:cNvPr id="11" name="Text Placeholder 10"/>
          <p:cNvSpPr>
            <a:spLocks noGrp="1"/>
          </p:cNvSpPr>
          <p:nvPr>
            <p:ph type="body" sz="quarter" idx="14" hasCustomPrompt="1"/>
          </p:nvPr>
        </p:nvSpPr>
        <p:spPr>
          <a:xfrm>
            <a:off x="3934609" y="1191155"/>
            <a:ext cx="6583680" cy="983431"/>
          </a:xfrm>
          <a:solidFill>
            <a:schemeClr val="tx1">
              <a:lumMod val="95000"/>
              <a:lumOff val="5000"/>
              <a:alpha val="64000"/>
            </a:schemeClr>
          </a:solidFill>
          <a:ln w="38100" cmpd="dbl">
            <a:noFill/>
          </a:ln>
        </p:spPr>
        <p:txBody>
          <a:bodyPr tIns="137160" anchor="ctr" anchorCtr="0">
            <a:normAutofit/>
          </a:bodyPr>
          <a:lstStyle>
            <a:lvl1pPr algn="ctr">
              <a:buNone/>
              <a:defRPr sz="3200" b="1" baseline="0">
                <a:solidFill>
                  <a:schemeClr val="bg1"/>
                </a:solidFill>
              </a:defRPr>
            </a:lvl1pPr>
          </a:lstStyle>
          <a:p>
            <a:pPr lvl="0"/>
            <a:r>
              <a:rPr lang="en-US" dirty="0"/>
              <a:t>Click to add Master title</a:t>
            </a:r>
          </a:p>
        </p:txBody>
      </p:sp>
      <p:sp>
        <p:nvSpPr>
          <p:cNvPr id="7" name="Rectangle 6"/>
          <p:cNvSpPr/>
          <p:nvPr userDrawn="1"/>
        </p:nvSpPr>
        <p:spPr>
          <a:xfrm>
            <a:off x="3875964" y="1143000"/>
            <a:ext cx="6705600" cy="1066800"/>
          </a:xfrm>
          <a:prstGeom prst="rect">
            <a:avLst/>
          </a:prstGeom>
          <a:noFill/>
          <a:ln w="38100">
            <a:solidFill>
              <a:schemeClr val="tx1">
                <a:lumMod val="95000"/>
                <a:lumOff val="5000"/>
                <a:alpha val="5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Tree>
    <p:extLst>
      <p:ext uri="{BB962C8B-B14F-4D97-AF65-F5344CB8AC3E}">
        <p14:creationId xmlns:p14="http://schemas.microsoft.com/office/powerpoint/2010/main" val="33919771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30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Landscape with Transparent Caption">
    <p:spTree>
      <p:nvGrpSpPr>
        <p:cNvPr id="1" name=""/>
        <p:cNvGrpSpPr/>
        <p:nvPr/>
      </p:nvGrpSpPr>
      <p:grpSpPr>
        <a:xfrm>
          <a:off x="0" y="0"/>
          <a:ext cx="0" cy="0"/>
          <a:chOff x="0" y="0"/>
          <a:chExt cx="0" cy="0"/>
        </a:xfrm>
      </p:grpSpPr>
      <p:sp>
        <p:nvSpPr>
          <p:cNvPr id="6" name="Rectangle 9"/>
          <p:cNvSpPr>
            <a:spLocks noGrp="1" noChangeAspect="1"/>
          </p:cNvSpPr>
          <p:nvPr>
            <p:ph type="pic" sz="quarter" idx="14"/>
          </p:nvPr>
        </p:nvSpPr>
        <p:spPr>
          <a:xfrm>
            <a:off x="1524000" y="762000"/>
            <a:ext cx="8398933" cy="47244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9"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0"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1"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2" name="Rectangle 11"/>
          <p:cNvSpPr/>
          <p:nvPr userDrawn="1"/>
        </p:nvSpPr>
        <p:spPr>
          <a:xfrm>
            <a:off x="1560221" y="5669280"/>
            <a:ext cx="8396579" cy="731520"/>
          </a:xfrm>
          <a:prstGeom prst="rect">
            <a:avLst/>
          </a:prstGeom>
          <a:noFill/>
          <a:ln w="38100">
            <a:solidFill>
              <a:schemeClr val="tx1">
                <a:lumMod val="95000"/>
                <a:lumOff val="5000"/>
                <a:alpha val="5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Text Placeholder 14"/>
          <p:cNvSpPr>
            <a:spLocks noGrp="1"/>
          </p:cNvSpPr>
          <p:nvPr>
            <p:ph type="body" sz="quarter" idx="16" hasCustomPrompt="1"/>
          </p:nvPr>
        </p:nvSpPr>
        <p:spPr>
          <a:xfrm>
            <a:off x="1625599" y="5715001"/>
            <a:ext cx="8255591" cy="632637"/>
          </a:xfrm>
          <a:solidFill>
            <a:schemeClr val="tx1">
              <a:alpha val="35000"/>
            </a:schemeClr>
          </a:solidFill>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3000" b="1" kern="1200" dirty="0" smtClean="0">
                <a:solidFill>
                  <a:schemeClr val="tx1">
                    <a:lumMod val="85000"/>
                    <a:lumOff val="15000"/>
                  </a:schemeClr>
                </a:solidFill>
                <a:latin typeface="Arial" pitchFamily="34" charset="0"/>
                <a:ea typeface="+mn-ea"/>
                <a:cs typeface="Arial" pitchFamily="34" charset="0"/>
              </a:defRPr>
            </a:lvl1pPr>
          </a:lstStyle>
          <a:p>
            <a:pPr lvl="0"/>
            <a:r>
              <a:rPr lang="en-US" dirty="0"/>
              <a:t>Click to add title</a:t>
            </a:r>
          </a:p>
        </p:txBody>
      </p:sp>
    </p:spTree>
    <p:extLst>
      <p:ext uri="{BB962C8B-B14F-4D97-AF65-F5344CB8AC3E}">
        <p14:creationId xmlns:p14="http://schemas.microsoft.com/office/powerpoint/2010/main" val="411713563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Landscape with Caption">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5"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9"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2" name="Rectangle 9"/>
          <p:cNvSpPr>
            <a:spLocks noGrp="1" noChangeAspect="1"/>
          </p:cNvSpPr>
          <p:nvPr>
            <p:ph type="pic" sz="quarter" idx="14"/>
          </p:nvPr>
        </p:nvSpPr>
        <p:spPr>
          <a:xfrm>
            <a:off x="1659467" y="304800"/>
            <a:ext cx="8398933" cy="4724400"/>
          </a:xfrm>
          <a:solidFill>
            <a:schemeClr val="bg1">
              <a:lumMod val="95000"/>
            </a:schemeClr>
          </a:solid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t"/>
          <a:lstStyle>
            <a:lvl1pPr marL="0" marR="0" indent="1588" algn="ctr" rtl="0" latinLnBrk="0">
              <a:spcBef>
                <a:spcPct val="20000"/>
              </a:spcBef>
              <a:buFontTx/>
              <a:buNone/>
              <a:defRPr lang="en-US" sz="2800" i="0" smtClean="0">
                <a:solidFill>
                  <a:schemeClr val="tx1">
                    <a:lumMod val="50000"/>
                    <a:lumOff val="50000"/>
                  </a:schemeClr>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14" name="Text Placeholder 13"/>
          <p:cNvSpPr>
            <a:spLocks noGrp="1"/>
          </p:cNvSpPr>
          <p:nvPr>
            <p:ph type="body" sz="quarter" idx="15" hasCustomPrompt="1"/>
          </p:nvPr>
        </p:nvSpPr>
        <p:spPr>
          <a:xfrm>
            <a:off x="609600" y="5181600"/>
            <a:ext cx="10464800" cy="457200"/>
          </a:xfrm>
        </p:spPr>
        <p:txBody>
          <a:bodyPr>
            <a:normAutofit/>
          </a:bodyPr>
          <a:lstStyle>
            <a:lvl1pPr>
              <a:buNone/>
              <a:defRPr sz="2400" b="1" baseline="0">
                <a:solidFill>
                  <a:srgbClr val="FC7500"/>
                </a:solidFill>
              </a:defRPr>
            </a:lvl1pPr>
          </a:lstStyle>
          <a:p>
            <a:pPr lvl="0"/>
            <a:r>
              <a:rPr lang="en-US" dirty="0"/>
              <a:t>Click to add title</a:t>
            </a:r>
          </a:p>
        </p:txBody>
      </p:sp>
      <p:sp>
        <p:nvSpPr>
          <p:cNvPr id="16" name="Text Placeholder 15"/>
          <p:cNvSpPr>
            <a:spLocks noGrp="1"/>
          </p:cNvSpPr>
          <p:nvPr>
            <p:ph type="body" sz="quarter" idx="16" hasCustomPrompt="1"/>
          </p:nvPr>
        </p:nvSpPr>
        <p:spPr>
          <a:xfrm>
            <a:off x="609600" y="5715000"/>
            <a:ext cx="10464800" cy="685800"/>
          </a:xfrm>
        </p:spPr>
        <p:txBody>
          <a:bodyPr>
            <a:noAutofit/>
          </a:bodyPr>
          <a:lstStyle>
            <a:lvl1pPr>
              <a:buNone/>
              <a:defRPr sz="1800" baseline="0">
                <a:solidFill>
                  <a:schemeClr val="tx1">
                    <a:lumMod val="75000"/>
                    <a:lumOff val="25000"/>
                  </a:schemeClr>
                </a:solidFill>
              </a:defRPr>
            </a:lvl1pPr>
          </a:lstStyle>
          <a:p>
            <a:pPr lvl="0"/>
            <a:r>
              <a:rPr lang="en-US" dirty="0"/>
              <a:t>Click to add text</a:t>
            </a:r>
          </a:p>
        </p:txBody>
      </p:sp>
    </p:spTree>
    <p:extLst>
      <p:ext uri="{BB962C8B-B14F-4D97-AF65-F5344CB8AC3E}">
        <p14:creationId xmlns:p14="http://schemas.microsoft.com/office/powerpoint/2010/main" val="2062454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Landscape">
    <p:bg>
      <p:bgPr>
        <a:solidFill>
          <a:schemeClr val="bg1">
            <a:lumMod val="95000"/>
          </a:schemeClr>
        </a:solidFill>
        <a:effectLst/>
      </p:bgPr>
    </p:bg>
    <p:spTree>
      <p:nvGrpSpPr>
        <p:cNvPr id="1" name=""/>
        <p:cNvGrpSpPr/>
        <p:nvPr/>
      </p:nvGrpSpPr>
      <p:grpSpPr>
        <a:xfrm>
          <a:off x="0" y="0"/>
          <a:ext cx="0" cy="0"/>
          <a:chOff x="0" y="0"/>
          <a:chExt cx="0" cy="0"/>
        </a:xfrm>
      </p:grpSpPr>
      <p:sp>
        <p:nvSpPr>
          <p:cNvPr id="7" name="Rectangle 6"/>
          <p:cNvSpPr/>
          <p:nvPr userDrawn="1"/>
        </p:nvSpPr>
        <p:spPr>
          <a:xfrm>
            <a:off x="636105" y="228600"/>
            <a:ext cx="10919792" cy="6172200"/>
          </a:xfrm>
          <a:prstGeom prst="rect">
            <a:avLst/>
          </a:prstGeom>
          <a:noFill/>
          <a:ln w="117475" cmpd="thinThick">
            <a:solidFill>
              <a:srgbClr val="FC75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9"/>
          <p:cNvSpPr>
            <a:spLocks noGrp="1" noChangeAspect="1"/>
          </p:cNvSpPr>
          <p:nvPr>
            <p:ph type="pic" sz="quarter" idx="13"/>
          </p:nvPr>
        </p:nvSpPr>
        <p:spPr>
          <a:xfrm>
            <a:off x="735993" y="299695"/>
            <a:ext cx="10720017" cy="6030010"/>
          </a:xfrm>
          <a:solidFill>
            <a:schemeClr val="bg1"/>
          </a:solidFill>
          <a:ln w="57150">
            <a:noFill/>
          </a:ln>
          <a:effectLst/>
        </p:spPr>
        <p:txBody>
          <a:bodyPr vert="horz" lIns="91440" tIns="45720" rIns="91440" bIns="45720" rtlCol="0">
            <a:normAutofit/>
          </a:bodyPr>
          <a:lstStyle>
            <a:lvl1pPr marL="0" marR="0" indent="1588" algn="ctr" defTabSz="914400" rtl="0" eaLnBrk="1" latinLnBrk="0" hangingPunct="1">
              <a:spcBef>
                <a:spcPct val="20000"/>
              </a:spcBef>
              <a:buClr>
                <a:srgbClr val="438086"/>
              </a:buClr>
              <a:buSzPct val="60000"/>
              <a:buFontTx/>
              <a:buNone/>
              <a:defRPr lang="en-US" sz="2400" i="0" kern="1200" dirty="0">
                <a:solidFill>
                  <a:srgbClr val="FC7500"/>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8"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9" name="Footer Placeholder 4"/>
          <p:cNvSpPr>
            <a:spLocks noGrp="1"/>
          </p:cNvSpPr>
          <p:nvPr>
            <p:ph type="ftr" sz="quarter" idx="11"/>
          </p:nvPr>
        </p:nvSpPr>
        <p:spPr>
          <a:xfrm>
            <a:off x="4165600" y="6553200"/>
            <a:ext cx="3860800" cy="304800"/>
          </a:xfrm>
        </p:spPr>
        <p:txBody>
          <a:bodyPr/>
          <a:lstStyle/>
          <a:p>
            <a:endParaRPr lang="en-US">
              <a:solidFill>
                <a:prstClr val="black">
                  <a:tint val="75000"/>
                </a:prstClr>
              </a:solidFill>
            </a:endParaRPr>
          </a:p>
        </p:txBody>
      </p:sp>
      <p:sp>
        <p:nvSpPr>
          <p:cNvPr id="10" name="Slide Number Placeholder 5"/>
          <p:cNvSpPr>
            <a:spLocks noGrp="1"/>
          </p:cNvSpPr>
          <p:nvPr>
            <p:ph type="sldNum" sz="quarter" idx="12"/>
          </p:nvPr>
        </p:nvSpPr>
        <p:spPr>
          <a:xfrm>
            <a:off x="8737600" y="6553200"/>
            <a:ext cx="28448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034309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Landscape with Title">
    <p:bg>
      <p:bgPr>
        <a:solidFill>
          <a:srgbClr val="91BED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3" name="Date Placeholder 2"/>
          <p:cNvSpPr>
            <a:spLocks noGrp="1"/>
          </p:cNvSpPr>
          <p:nvPr>
            <p:ph type="dt" sz="half" idx="10"/>
          </p:nvPr>
        </p:nvSpPr>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
        <p:nvSpPr>
          <p:cNvPr id="6" name="Rectangle 9"/>
          <p:cNvSpPr>
            <a:spLocks noGrp="1" noChangeAspect="1"/>
          </p:cNvSpPr>
          <p:nvPr>
            <p:ph type="pic" sz="quarter" idx="13"/>
          </p:nvPr>
        </p:nvSpPr>
        <p:spPr>
          <a:xfrm>
            <a:off x="711201" y="370790"/>
            <a:ext cx="10720017" cy="603001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Clr>
                <a:srgbClr val="438086"/>
              </a:buClr>
              <a:buSzPct val="60000"/>
              <a:buFontTx/>
              <a:buNone/>
              <a:defRPr lang="en-US" sz="2400" i="0" kern="1200" dirty="0">
                <a:solidFill>
                  <a:srgbClr val="FC7500"/>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7" name="Text Placeholder 10"/>
          <p:cNvSpPr>
            <a:spLocks noGrp="1"/>
          </p:cNvSpPr>
          <p:nvPr>
            <p:ph type="body" sz="quarter" idx="14" hasCustomPrompt="1"/>
          </p:nvPr>
        </p:nvSpPr>
        <p:spPr>
          <a:xfrm>
            <a:off x="6807200" y="5257801"/>
            <a:ext cx="5384800" cy="505047"/>
          </a:xfrm>
          <a:solidFill>
            <a:schemeClr val="tx1">
              <a:alpha val="46000"/>
            </a:schemeClr>
          </a:solidFill>
        </p:spPr>
        <p:txBody>
          <a:bodyPr>
            <a:normAutofit/>
          </a:bodyPr>
          <a:lstStyle>
            <a:lvl1pPr>
              <a:buNone/>
              <a:defRPr sz="2800" baseline="0">
                <a:solidFill>
                  <a:schemeClr val="bg1"/>
                </a:solidFill>
              </a:defRPr>
            </a:lvl1pPr>
          </a:lstStyle>
          <a:p>
            <a:pPr lvl="0"/>
            <a:r>
              <a:rPr lang="en-US" dirty="0"/>
              <a:t>Click to add Title</a:t>
            </a:r>
          </a:p>
        </p:txBody>
      </p:sp>
    </p:spTree>
    <p:extLst>
      <p:ext uri="{BB962C8B-B14F-4D97-AF65-F5344CB8AC3E}">
        <p14:creationId xmlns:p14="http://schemas.microsoft.com/office/powerpoint/2010/main" val="26651902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Up Portrait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8"/>
          <p:cNvSpPr>
            <a:spLocks noGrp="1" noChangeAspect="1"/>
          </p:cNvSpPr>
          <p:nvPr>
            <p:ph type="pic" sz="quarter" idx="13"/>
          </p:nvPr>
        </p:nvSpPr>
        <p:spPr>
          <a:xfrm>
            <a:off x="6016664" y="381001"/>
            <a:ext cx="4575137" cy="4575141"/>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7" name="Rectangle 8"/>
          <p:cNvSpPr>
            <a:spLocks noGrp="1" noChangeAspect="1"/>
          </p:cNvSpPr>
          <p:nvPr>
            <p:ph type="pic" sz="quarter" idx="14"/>
          </p:nvPr>
        </p:nvSpPr>
        <p:spPr>
          <a:xfrm>
            <a:off x="1143000" y="381000"/>
            <a:ext cx="4572000" cy="4572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8" name="Rectangle 7"/>
          <p:cNvSpPr>
            <a:spLocks noGrp="1"/>
          </p:cNvSpPr>
          <p:nvPr>
            <p:ph type="body" sz="quarter" idx="15" hasCustomPrompt="1"/>
          </p:nvPr>
        </p:nvSpPr>
        <p:spPr>
          <a:xfrm>
            <a:off x="1117600" y="5181600"/>
            <a:ext cx="4635501" cy="1066800"/>
          </a:xfrm>
        </p:spPr>
        <p:txBody>
          <a:bodyPr lIns="91440" rIns="9144" anchor="t" anchorCtr="0">
            <a:noAutofit/>
          </a:bodyPr>
          <a:lstStyle>
            <a:lvl1pPr marL="0" marR="0" indent="0" algn="ctr"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9" name="Rectangle 7"/>
          <p:cNvSpPr>
            <a:spLocks noGrp="1"/>
          </p:cNvSpPr>
          <p:nvPr>
            <p:ph type="body" sz="quarter" idx="16" hasCustomPrompt="1"/>
          </p:nvPr>
        </p:nvSpPr>
        <p:spPr>
          <a:xfrm>
            <a:off x="6007099" y="5181600"/>
            <a:ext cx="4635500" cy="1066800"/>
          </a:xfrm>
        </p:spPr>
        <p:txBody>
          <a:bodyPr lIns="91440" rIns="9144" anchor="t" anchorCtr="0">
            <a:noAutofit/>
          </a:bodyPr>
          <a:lstStyle>
            <a:lvl1pPr marL="0" marR="0" indent="0" algn="ctr"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2"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3"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4"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5322488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2-Up Landscape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noChangeAspect="1"/>
          </p:cNvSpPr>
          <p:nvPr>
            <p:ph type="pic" sz="quarter" idx="13"/>
          </p:nvPr>
        </p:nvSpPr>
        <p:spPr>
          <a:xfrm>
            <a:off x="6400800" y="914400"/>
            <a:ext cx="5283200" cy="29718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noChangeAspect="1"/>
          </p:cNvSpPr>
          <p:nvPr>
            <p:ph type="pic" sz="quarter" idx="14"/>
          </p:nvPr>
        </p:nvSpPr>
        <p:spPr>
          <a:xfrm>
            <a:off x="609600" y="914400"/>
            <a:ext cx="5283200" cy="29718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Rectangle 7"/>
          <p:cNvSpPr>
            <a:spLocks noGrp="1"/>
          </p:cNvSpPr>
          <p:nvPr>
            <p:ph type="body" sz="quarter" idx="16" hasCustomPrompt="1"/>
          </p:nvPr>
        </p:nvSpPr>
        <p:spPr>
          <a:xfrm>
            <a:off x="609600" y="4114801"/>
            <a:ext cx="5283200" cy="1214887"/>
          </a:xfrm>
        </p:spPr>
        <p:txBody>
          <a:bodyPr vert="horz" lIns="91440" tIns="45720" rIns="9144" bIns="45720" rtlCol="0" anchor="t" anchorCtr="0">
            <a:noAutofit/>
          </a:bodyPr>
          <a:lstStyle>
            <a:lvl1pPr marL="0" marR="0" indent="0" algn="ctr" rtl="0" latinLnBrk="0">
              <a:spcBef>
                <a:spcPct val="20000"/>
              </a:spcBef>
              <a:buFontTx/>
              <a:buNone/>
              <a:defRPr lang="en-US" sz="1800" kern="1200" baseline="0" dirty="0">
                <a:solidFill>
                  <a:schemeClr val="tx1">
                    <a:lumMod val="75000"/>
                    <a:lumOff val="25000"/>
                  </a:schemeClr>
                </a:solidFill>
                <a:latin typeface="+mn-lt"/>
                <a:ea typeface="+mn-ea"/>
                <a:cs typeface="+mn-cs"/>
              </a:defRPr>
            </a:lvl1pPr>
            <a:extLst/>
          </a:lstStyle>
          <a:p>
            <a:pPr marL="0" marR="0" lvl="0" indent="0" algn="l" defTabSz="914400" rtl="0" eaLnBrk="1" latinLnBrk="0" hangingPunct="1">
              <a:spcBef>
                <a:spcPct val="20000"/>
              </a:spcBef>
              <a:buFontTx/>
              <a:buNone/>
            </a:pPr>
            <a:r>
              <a:rPr lang="en-US" dirty="0"/>
              <a:t>Click to add caption</a:t>
            </a:r>
          </a:p>
        </p:txBody>
      </p:sp>
      <p:sp>
        <p:nvSpPr>
          <p:cNvPr id="9" name="Rectangle 7"/>
          <p:cNvSpPr>
            <a:spLocks noGrp="1"/>
          </p:cNvSpPr>
          <p:nvPr>
            <p:ph type="body" sz="quarter" idx="17" hasCustomPrompt="1"/>
          </p:nvPr>
        </p:nvSpPr>
        <p:spPr>
          <a:xfrm>
            <a:off x="6400799" y="4114801"/>
            <a:ext cx="5321300" cy="1214887"/>
          </a:xfrm>
        </p:spPr>
        <p:txBody>
          <a:bodyPr vert="horz" lIns="91440" tIns="45720" rIns="9144" bIns="45720" rtlCol="0" anchor="t" anchorCtr="0">
            <a:noAutofit/>
          </a:bodyPr>
          <a:lstStyle>
            <a:lvl1pPr marL="0" marR="0" indent="0" algn="ctr" rtl="0" latinLnBrk="0">
              <a:spcBef>
                <a:spcPct val="20000"/>
              </a:spcBef>
              <a:buFontTx/>
              <a:buNone/>
              <a:defRPr lang="en-US" sz="1800" kern="1200" baseline="0" dirty="0">
                <a:solidFill>
                  <a:schemeClr val="tx1">
                    <a:lumMod val="75000"/>
                    <a:lumOff val="25000"/>
                  </a:schemeClr>
                </a:solidFill>
                <a:latin typeface="+mn-lt"/>
                <a:ea typeface="+mn-ea"/>
                <a:cs typeface="+mn-cs"/>
              </a:defRPr>
            </a:lvl1pPr>
            <a:extLst/>
          </a:lstStyle>
          <a:p>
            <a:pPr marL="0" marR="0" lvl="0" indent="0" algn="l" defTabSz="914400" rtl="0" eaLnBrk="1" latinLnBrk="0" hangingPunct="1">
              <a:spcBef>
                <a:spcPct val="20000"/>
              </a:spcBef>
              <a:buFontTx/>
              <a:buNone/>
            </a:pPr>
            <a:r>
              <a:rPr lang="en-US" dirty="0"/>
              <a:t>Click to add caption</a:t>
            </a:r>
          </a:p>
        </p:txBody>
      </p:sp>
      <p:grpSp>
        <p:nvGrpSpPr>
          <p:cNvPr id="10" name="Group 9"/>
          <p:cNvGrpSpPr/>
          <p:nvPr userDrawn="1"/>
        </p:nvGrpSpPr>
        <p:grpSpPr>
          <a:xfrm rot="5400000">
            <a:off x="5801032" y="467032"/>
            <a:ext cx="589936" cy="12192000"/>
            <a:chOff x="8524568" y="0"/>
            <a:chExt cx="589936" cy="6858000"/>
          </a:xfrm>
        </p:grpSpPr>
        <p:sp>
          <p:nvSpPr>
            <p:cNvPr id="11" name="Rectangle 10"/>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2" name="Straight Connector 11"/>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3"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4"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5"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25301564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3-Up Snapsho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11" name="Rectangle 10"/>
          <p:cNvSpPr/>
          <p:nvPr userDrawn="1"/>
        </p:nvSpPr>
        <p:spPr>
          <a:xfrm rot="1223811">
            <a:off x="6130833" y="530555"/>
            <a:ext cx="3043255" cy="2467504"/>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Picture Placeholder 7"/>
          <p:cNvSpPr>
            <a:spLocks noGrp="1"/>
          </p:cNvSpPr>
          <p:nvPr>
            <p:ph type="pic" sz="quarter" idx="15"/>
          </p:nvPr>
        </p:nvSpPr>
        <p:spPr>
          <a:xfrm rot="1223811">
            <a:off x="6392112" y="657038"/>
            <a:ext cx="2714253" cy="1912315"/>
          </a:xfrm>
          <a:solidFill>
            <a:schemeClr val="tx1">
              <a:lumMod val="85000"/>
              <a:lumOff val="15000"/>
            </a:schemeClr>
          </a:solidFill>
        </p:spPr>
        <p:txBody>
          <a:bodyPr>
            <a:normAutofit/>
          </a:bodyPr>
          <a:lstStyle>
            <a:lvl1pPr algn="ctr">
              <a:buNone/>
              <a:defRPr sz="1600">
                <a:solidFill>
                  <a:schemeClr val="bg1"/>
                </a:solidFill>
              </a:defRPr>
            </a:lvl1pPr>
          </a:lstStyle>
          <a:p>
            <a:r>
              <a:rPr lang="zh-TW" altLang="en-US"/>
              <a:t>按一下圖示以新增圖片</a:t>
            </a:r>
            <a:endParaRPr lang="en-US" dirty="0"/>
          </a:p>
        </p:txBody>
      </p:sp>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20" name="Text Placeholder 13"/>
          <p:cNvSpPr>
            <a:spLocks noGrp="1"/>
          </p:cNvSpPr>
          <p:nvPr>
            <p:ph type="body" sz="quarter" idx="18" hasCustomPrompt="1"/>
          </p:nvPr>
        </p:nvSpPr>
        <p:spPr>
          <a:xfrm>
            <a:off x="609600" y="5943600"/>
            <a:ext cx="10938933" cy="457200"/>
          </a:xfrm>
        </p:spPr>
        <p:txBody>
          <a:bodyPr>
            <a:normAutofit/>
          </a:bodyPr>
          <a:lstStyle>
            <a:lvl1pPr>
              <a:buNone/>
              <a:defRPr sz="2400" b="1" baseline="0">
                <a:solidFill>
                  <a:schemeClr val="tx1">
                    <a:lumMod val="75000"/>
                    <a:lumOff val="25000"/>
                  </a:schemeClr>
                </a:solidFill>
              </a:defRPr>
            </a:lvl1pPr>
          </a:lstStyle>
          <a:p>
            <a:pPr lvl="0"/>
            <a:r>
              <a:rPr lang="en-US" dirty="0"/>
              <a:t>Click to add title</a:t>
            </a:r>
          </a:p>
        </p:txBody>
      </p:sp>
      <p:sp>
        <p:nvSpPr>
          <p:cNvPr id="6" name="Rectangle 5"/>
          <p:cNvSpPr/>
          <p:nvPr userDrawn="1"/>
        </p:nvSpPr>
        <p:spPr>
          <a:xfrm>
            <a:off x="711200" y="1172147"/>
            <a:ext cx="5080000" cy="4148667"/>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Picture Placeholder 7"/>
          <p:cNvSpPr>
            <a:spLocks noGrp="1"/>
          </p:cNvSpPr>
          <p:nvPr>
            <p:ph type="pic" sz="quarter" idx="13"/>
          </p:nvPr>
        </p:nvSpPr>
        <p:spPr>
          <a:xfrm>
            <a:off x="1040713" y="1439693"/>
            <a:ext cx="4462163" cy="3175000"/>
          </a:xfrm>
          <a:solidFill>
            <a:schemeClr val="tx1">
              <a:lumMod val="85000"/>
              <a:lumOff val="15000"/>
            </a:schemeClr>
          </a:solidFill>
        </p:spPr>
        <p:txBody>
          <a:bodyPr>
            <a:normAutofit/>
          </a:bodyPr>
          <a:lstStyle>
            <a:lvl1pPr algn="ctr">
              <a:buNone/>
              <a:defRPr sz="2200">
                <a:solidFill>
                  <a:schemeClr val="bg1"/>
                </a:solidFill>
              </a:defRPr>
            </a:lvl1pPr>
          </a:lstStyle>
          <a:p>
            <a:r>
              <a:rPr lang="zh-TW" altLang="en-US"/>
              <a:t>按一下圖示以新增圖片</a:t>
            </a:r>
            <a:endParaRPr lang="en-US" dirty="0"/>
          </a:p>
        </p:txBody>
      </p:sp>
      <p:sp>
        <p:nvSpPr>
          <p:cNvPr id="10" name="Text Placeholder 9"/>
          <p:cNvSpPr>
            <a:spLocks noGrp="1"/>
          </p:cNvSpPr>
          <p:nvPr>
            <p:ph type="body" sz="quarter" idx="14" hasCustomPrompt="1"/>
          </p:nvPr>
        </p:nvSpPr>
        <p:spPr>
          <a:xfrm>
            <a:off x="1041400" y="4754393"/>
            <a:ext cx="4445000" cy="317500"/>
          </a:xfrm>
        </p:spPr>
        <p:txBody>
          <a:bodyPr>
            <a:noAutofit/>
          </a:bodyPr>
          <a:lstStyle>
            <a:lvl1pPr algn="ctr">
              <a:buNone/>
              <a:defRPr sz="1600" baseline="0">
                <a:solidFill>
                  <a:schemeClr val="tx1">
                    <a:lumMod val="65000"/>
                    <a:lumOff val="35000"/>
                  </a:schemeClr>
                </a:solidFill>
              </a:defRPr>
            </a:lvl1pPr>
          </a:lstStyle>
          <a:p>
            <a:pPr lvl="0"/>
            <a:r>
              <a:rPr lang="en-US" dirty="0"/>
              <a:t>Click to add short caption</a:t>
            </a:r>
          </a:p>
        </p:txBody>
      </p:sp>
      <p:sp>
        <p:nvSpPr>
          <p:cNvPr id="17" name="Rectangle 16"/>
          <p:cNvSpPr/>
          <p:nvPr userDrawn="1"/>
        </p:nvSpPr>
        <p:spPr>
          <a:xfrm>
            <a:off x="7980811" y="2877172"/>
            <a:ext cx="3499989" cy="2837829"/>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Picture Placeholder 7"/>
          <p:cNvSpPr>
            <a:spLocks noGrp="1"/>
          </p:cNvSpPr>
          <p:nvPr>
            <p:ph type="pic" sz="quarter" idx="17"/>
          </p:nvPr>
        </p:nvSpPr>
        <p:spPr>
          <a:xfrm>
            <a:off x="8183251" y="3013976"/>
            <a:ext cx="3121612" cy="2199318"/>
          </a:xfrm>
          <a:solidFill>
            <a:schemeClr val="tx1">
              <a:lumMod val="85000"/>
              <a:lumOff val="15000"/>
            </a:schemeClr>
          </a:solidFill>
        </p:spPr>
        <p:txBody>
          <a:bodyPr>
            <a:normAutofit/>
          </a:bodyPr>
          <a:lstStyle>
            <a:lvl1pPr algn="ctr">
              <a:buNone/>
              <a:defRPr sz="1600">
                <a:solidFill>
                  <a:schemeClr val="bg1"/>
                </a:solidFill>
              </a:defRPr>
            </a:lvl1pPr>
          </a:lstStyle>
          <a:p>
            <a:r>
              <a:rPr lang="zh-TW" altLang="en-US"/>
              <a:t>按一下圖示以新增圖片</a:t>
            </a:r>
            <a:endParaRPr lang="en-US" dirty="0"/>
          </a:p>
        </p:txBody>
      </p:sp>
    </p:spTree>
    <p:extLst>
      <p:ext uri="{BB962C8B-B14F-4D97-AF65-F5344CB8AC3E}">
        <p14:creationId xmlns:p14="http://schemas.microsoft.com/office/powerpoint/2010/main" val="21094770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3-Up Slide Film">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stretch>
            <a:fillRect/>
          </a:stretch>
        </p:blipFill>
        <p:spPr>
          <a:xfrm>
            <a:off x="1320800" y="1371600"/>
            <a:ext cx="5369009" cy="4038600"/>
          </a:xfrm>
          <a:prstGeom prst="rect">
            <a:avLst/>
          </a:prstGeom>
        </p:spPr>
      </p:pic>
      <p:sp>
        <p:nvSpPr>
          <p:cNvPr id="13" name="Picture Placeholder 12"/>
          <p:cNvSpPr>
            <a:spLocks noGrp="1"/>
          </p:cNvSpPr>
          <p:nvPr>
            <p:ph type="pic" sz="quarter" idx="13"/>
          </p:nvPr>
        </p:nvSpPr>
        <p:spPr>
          <a:xfrm>
            <a:off x="2122999" y="2370152"/>
            <a:ext cx="3739763" cy="1788380"/>
          </a:xfrm>
          <a:solidFill>
            <a:schemeClr val="tx1">
              <a:lumMod val="85000"/>
              <a:lumOff val="15000"/>
            </a:schemeClr>
          </a:solidFill>
        </p:spPr>
        <p:txBody>
          <a:bodyPr>
            <a:normAutofit/>
          </a:bodyPr>
          <a:lstStyle>
            <a:lvl1pPr algn="ctr">
              <a:buNone/>
              <a:defRPr sz="1400" baseline="0">
                <a:solidFill>
                  <a:schemeClr val="bg1"/>
                </a:solidFill>
              </a:defRPr>
            </a:lvl1pPr>
          </a:lstStyle>
          <a:p>
            <a:r>
              <a:rPr lang="zh-TW" altLang="en-US"/>
              <a:t>按一下圖示以新增圖片</a:t>
            </a:r>
            <a:endParaRPr lang="en-US" dirty="0"/>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20235" y="685801"/>
            <a:ext cx="3342965" cy="2514599"/>
          </a:xfrm>
          <a:prstGeom prst="rect">
            <a:avLst/>
          </a:prstGeom>
        </p:spPr>
      </p:pic>
      <p:sp>
        <p:nvSpPr>
          <p:cNvPr id="15" name="Picture Placeholder 12"/>
          <p:cNvSpPr>
            <a:spLocks noGrp="1"/>
          </p:cNvSpPr>
          <p:nvPr>
            <p:ph type="pic" sz="quarter" idx="14"/>
          </p:nvPr>
        </p:nvSpPr>
        <p:spPr>
          <a:xfrm>
            <a:off x="7608632" y="1371601"/>
            <a:ext cx="2133600" cy="1002547"/>
          </a:xfrm>
          <a:solidFill>
            <a:schemeClr val="tx1">
              <a:lumMod val="85000"/>
              <a:lumOff val="15000"/>
            </a:schemeClr>
          </a:solidFill>
        </p:spPr>
        <p:txBody>
          <a:bodyPr>
            <a:normAutofit/>
          </a:bodyPr>
          <a:lstStyle>
            <a:lvl1pPr algn="ctr">
              <a:buNone/>
              <a:defRPr sz="1100" baseline="0">
                <a:solidFill>
                  <a:schemeClr val="bg1"/>
                </a:solidFill>
              </a:defRPr>
            </a:lvl1pPr>
          </a:lstStyle>
          <a:p>
            <a:r>
              <a:rPr lang="zh-TW" altLang="en-US"/>
              <a:t>按一下圖示以新增圖片</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20235" y="3429002"/>
            <a:ext cx="3342965" cy="2514599"/>
          </a:xfrm>
          <a:prstGeom prst="rect">
            <a:avLst/>
          </a:prstGeom>
        </p:spPr>
      </p:pic>
      <p:sp>
        <p:nvSpPr>
          <p:cNvPr id="17" name="Picture Placeholder 12"/>
          <p:cNvSpPr>
            <a:spLocks noGrp="1"/>
          </p:cNvSpPr>
          <p:nvPr>
            <p:ph type="pic" sz="quarter" idx="15"/>
          </p:nvPr>
        </p:nvSpPr>
        <p:spPr>
          <a:xfrm>
            <a:off x="7608632" y="4114801"/>
            <a:ext cx="2133600" cy="1002547"/>
          </a:xfrm>
          <a:solidFill>
            <a:schemeClr val="tx1">
              <a:lumMod val="85000"/>
              <a:lumOff val="15000"/>
            </a:schemeClr>
          </a:solidFill>
        </p:spPr>
        <p:txBody>
          <a:bodyPr>
            <a:normAutofit/>
          </a:bodyPr>
          <a:lstStyle>
            <a:lvl1pPr algn="ctr">
              <a:buNone/>
              <a:defRPr sz="1100" baseline="0">
                <a:solidFill>
                  <a:schemeClr val="bg1"/>
                </a:solidFill>
              </a:defRPr>
            </a:lvl1pPr>
          </a:lstStyle>
          <a:p>
            <a:r>
              <a:rPr lang="zh-TW" altLang="en-US"/>
              <a:t>按一下圖示以新增圖片</a:t>
            </a:r>
            <a:endParaRPr lang="en-US" dirty="0"/>
          </a:p>
        </p:txBody>
      </p:sp>
      <p:sp>
        <p:nvSpPr>
          <p:cNvPr id="23"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24"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25"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0707740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3-Up Portrait with Captions">
    <p:spTree>
      <p:nvGrpSpPr>
        <p:cNvPr id="1" name=""/>
        <p:cNvGrpSpPr/>
        <p:nvPr/>
      </p:nvGrpSpPr>
      <p:grpSpPr>
        <a:xfrm>
          <a:off x="0" y="0"/>
          <a:ext cx="0" cy="0"/>
          <a:chOff x="0" y="0"/>
          <a:chExt cx="0" cy="0"/>
        </a:xfrm>
      </p:grpSpPr>
      <p:sp>
        <p:nvSpPr>
          <p:cNvPr id="6" name="Rectangle 8"/>
          <p:cNvSpPr>
            <a:spLocks noGrp="1" noChangeAspect="1"/>
          </p:cNvSpPr>
          <p:nvPr>
            <p:ph type="pic" sz="quarter" idx="13"/>
          </p:nvPr>
        </p:nvSpPr>
        <p:spPr>
          <a:xfrm>
            <a:off x="3048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7" name="Rectangle 8"/>
          <p:cNvSpPr>
            <a:spLocks noGrp="1" noChangeAspect="1"/>
          </p:cNvSpPr>
          <p:nvPr>
            <p:ph type="pic" sz="quarter" idx="14"/>
          </p:nvPr>
        </p:nvSpPr>
        <p:spPr>
          <a:xfrm>
            <a:off x="42672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8" name="Rectangle 8"/>
          <p:cNvSpPr>
            <a:spLocks noGrp="1" noChangeAspect="1"/>
          </p:cNvSpPr>
          <p:nvPr>
            <p:ph type="pic" sz="quarter" idx="15"/>
          </p:nvPr>
        </p:nvSpPr>
        <p:spPr>
          <a:xfrm>
            <a:off x="82296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9" name="Rectangle 6"/>
          <p:cNvSpPr>
            <a:spLocks noGrp="1"/>
          </p:cNvSpPr>
          <p:nvPr>
            <p:ph type="body" sz="quarter" idx="16" hasCustomPrompt="1"/>
          </p:nvPr>
        </p:nvSpPr>
        <p:spPr>
          <a:xfrm>
            <a:off x="3048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0" name="Rectangle 6"/>
          <p:cNvSpPr>
            <a:spLocks noGrp="1"/>
          </p:cNvSpPr>
          <p:nvPr>
            <p:ph type="body" sz="quarter" idx="17" hasCustomPrompt="1"/>
          </p:nvPr>
        </p:nvSpPr>
        <p:spPr>
          <a:xfrm>
            <a:off x="42672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1" name="Rectangle 6"/>
          <p:cNvSpPr>
            <a:spLocks noGrp="1"/>
          </p:cNvSpPr>
          <p:nvPr>
            <p:ph type="body" sz="quarter" idx="18" hasCustomPrompt="1"/>
          </p:nvPr>
        </p:nvSpPr>
        <p:spPr>
          <a:xfrm>
            <a:off x="82296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grpSp>
        <p:nvGrpSpPr>
          <p:cNvPr id="12" name="Group 11"/>
          <p:cNvGrpSpPr/>
          <p:nvPr userDrawn="1"/>
        </p:nvGrpSpPr>
        <p:grpSpPr>
          <a:xfrm rot="5400000">
            <a:off x="5801032" y="467032"/>
            <a:ext cx="589936" cy="12192000"/>
            <a:chOff x="8524568" y="0"/>
            <a:chExt cx="589936" cy="6858000"/>
          </a:xfrm>
        </p:grpSpPr>
        <p:sp>
          <p:nvSpPr>
            <p:cNvPr id="13" name="Rectangle 12"/>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4" name="Straight Connector 13"/>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5"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6"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7"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570751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3-Up Landscape with Caption">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noChangeAspect="1"/>
          </p:cNvSpPr>
          <p:nvPr>
            <p:ph type="pic" sz="quarter" idx="13"/>
          </p:nvPr>
        </p:nvSpPr>
        <p:spPr>
          <a:xfrm>
            <a:off x="6322176" y="3480024"/>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7" name="Rectangle 7"/>
          <p:cNvSpPr>
            <a:spLocks noGrp="1" noChangeAspect="1"/>
          </p:cNvSpPr>
          <p:nvPr>
            <p:ph type="pic" sz="quarter" idx="14"/>
          </p:nvPr>
        </p:nvSpPr>
        <p:spPr>
          <a:xfrm>
            <a:off x="745068" y="3480024"/>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8" name="Picture Placeholder 7"/>
          <p:cNvSpPr>
            <a:spLocks noGrp="1" noChangeAspect="1"/>
          </p:cNvSpPr>
          <p:nvPr>
            <p:ph type="pic" sz="quarter" idx="15"/>
          </p:nvPr>
        </p:nvSpPr>
        <p:spPr>
          <a:xfrm>
            <a:off x="6322176" y="355824"/>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9" name="Rectangle 11"/>
          <p:cNvSpPr>
            <a:spLocks noGrp="1"/>
          </p:cNvSpPr>
          <p:nvPr>
            <p:ph type="body" sz="quarter" idx="16" hasCustomPrompt="1"/>
          </p:nvPr>
        </p:nvSpPr>
        <p:spPr>
          <a:xfrm>
            <a:off x="745068" y="355824"/>
            <a:ext cx="5057025" cy="2844577"/>
          </a:xfrm>
        </p:spPr>
        <p:txBody>
          <a:bodyPr anchor="b" anchorCtr="0">
            <a:noAutofit/>
          </a:bodyPr>
          <a:lstStyle>
            <a:lvl1pPr marL="0" marR="0" indent="0" algn="ctr" rtl="0" latinLnBrk="0">
              <a:spcBef>
                <a:spcPct val="20000"/>
              </a:spcBef>
              <a:buFontTx/>
              <a:buNone/>
              <a:defRPr sz="1800" b="1" i="0" baseline="0">
                <a:solidFill>
                  <a:schemeClr val="tx1">
                    <a:lumMod val="75000"/>
                    <a:lumOff val="25000"/>
                  </a:schemeClr>
                </a:solidFill>
                <a:latin typeface="+mn-lt"/>
                <a:ea typeface="+mn-ea"/>
                <a:cs typeface="+mn-cs"/>
              </a:defRPr>
            </a:lvl1pPr>
            <a:extLst/>
          </a:lstStyle>
          <a:p>
            <a:pPr lvl="0"/>
            <a:r>
              <a:rPr lang="en-US" dirty="0"/>
              <a:t>Click to add caption</a:t>
            </a:r>
          </a:p>
        </p:txBody>
      </p:sp>
    </p:spTree>
    <p:extLst>
      <p:ext uri="{BB962C8B-B14F-4D97-AF65-F5344CB8AC3E}">
        <p14:creationId xmlns:p14="http://schemas.microsoft.com/office/powerpoint/2010/main" val="2912119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lbum Section ">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 y="0"/>
            <a:ext cx="5072063" cy="6858000"/>
          </a:xfrm>
          <a:prstGeom prst="rect">
            <a:avLst/>
          </a:prstGeom>
        </p:spPr>
      </p:pic>
      <p:sp>
        <p:nvSpPr>
          <p:cNvPr id="2" name="Title 1"/>
          <p:cNvSpPr>
            <a:spLocks noGrp="1"/>
          </p:cNvSpPr>
          <p:nvPr>
            <p:ph type="title"/>
          </p:nvPr>
        </p:nvSpPr>
        <p:spPr>
          <a:xfrm>
            <a:off x="812800" y="4646844"/>
            <a:ext cx="10363200" cy="1362075"/>
          </a:xfrm>
        </p:spPr>
        <p:txBody>
          <a:bodyPr anchor="t"/>
          <a:lstStyle>
            <a:lvl1pPr algn="l">
              <a:defRPr sz="4000" b="1" cap="all">
                <a:solidFill>
                  <a:schemeClr val="tx1">
                    <a:lumMod val="85000"/>
                    <a:lumOff val="15000"/>
                  </a:schemeClr>
                </a:solidFill>
              </a:defRPr>
            </a:lvl1pPr>
          </a:lstStyle>
          <a:p>
            <a:r>
              <a:rPr lang="zh-TW" altLang="en-US"/>
              <a:t>按一下以編輯母片標題樣式</a:t>
            </a:r>
            <a:endParaRPr lang="en-US" dirty="0"/>
          </a:p>
        </p:txBody>
      </p:sp>
      <p:sp>
        <p:nvSpPr>
          <p:cNvPr id="3" name="Text Placeholder 2"/>
          <p:cNvSpPr>
            <a:spLocks noGrp="1"/>
          </p:cNvSpPr>
          <p:nvPr>
            <p:ph type="body" idx="1"/>
          </p:nvPr>
        </p:nvSpPr>
        <p:spPr>
          <a:xfrm>
            <a:off x="812800" y="3146656"/>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9"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0"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1"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686768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Panorama Mixed">
    <p:bg>
      <p:bgPr>
        <a:solidFill>
          <a:srgbClr val="F0F0F0"/>
        </a:solidFill>
        <a:effectLst/>
      </p:bgPr>
    </p:bg>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4" name="Date Placeholder 3"/>
          <p:cNvSpPr>
            <a:spLocks noGrp="1"/>
          </p:cNvSpPr>
          <p:nvPr>
            <p:ph type="dt" sz="half" idx="10"/>
          </p:nvPr>
        </p:nvSpPr>
        <p:spPr>
          <a:xfrm>
            <a:off x="8128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5344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1" name="Picture Placeholder 10"/>
          <p:cNvSpPr>
            <a:spLocks noGrp="1"/>
          </p:cNvSpPr>
          <p:nvPr>
            <p:ph type="pic" sz="quarter" idx="13"/>
          </p:nvPr>
        </p:nvSpPr>
        <p:spPr>
          <a:xfrm>
            <a:off x="789856" y="592392"/>
            <a:ext cx="9855200" cy="2286000"/>
          </a:xfrm>
          <a:solidFill>
            <a:srgbClr val="F0F0F0"/>
          </a:solidFill>
          <a:ln w="57150">
            <a:solidFill>
              <a:schemeClr val="bg1"/>
            </a:solidFill>
          </a:ln>
          <a:effectLst>
            <a:outerShdw dist="38100" dir="2700000" algn="tl" rotWithShape="0">
              <a:prstClr val="black">
                <a:alpha val="17000"/>
              </a:prstClr>
            </a:outerShdw>
          </a:effectLst>
        </p:spPr>
        <p:txBody>
          <a:bodyPr>
            <a:normAutofit/>
          </a:bodyPr>
          <a:lstStyle>
            <a:lvl1pPr algn="ctr">
              <a:buNone/>
              <a:defRPr sz="2400">
                <a:solidFill>
                  <a:schemeClr val="tx1">
                    <a:lumMod val="65000"/>
                    <a:lumOff val="35000"/>
                  </a:schemeClr>
                </a:solidFill>
              </a:defRPr>
            </a:lvl1pPr>
          </a:lstStyle>
          <a:p>
            <a:r>
              <a:rPr lang="zh-TW" altLang="en-US"/>
              <a:t>按一下圖示以新增圖片</a:t>
            </a:r>
            <a:endParaRPr lang="en-US" dirty="0"/>
          </a:p>
        </p:txBody>
      </p:sp>
      <p:sp>
        <p:nvSpPr>
          <p:cNvPr id="13" name="Picture Placeholder 12"/>
          <p:cNvSpPr>
            <a:spLocks noGrp="1"/>
          </p:cNvSpPr>
          <p:nvPr>
            <p:ph type="pic" sz="quarter" idx="14"/>
          </p:nvPr>
        </p:nvSpPr>
        <p:spPr>
          <a:xfrm>
            <a:off x="812800" y="3352800"/>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1600" b="0" kern="1200" dirty="0" smtClean="0">
                <a:solidFill>
                  <a:schemeClr val="tx1">
                    <a:lumMod val="65000"/>
                    <a:lumOff val="35000"/>
                  </a:schemeClr>
                </a:solidFill>
                <a:latin typeface="+mn-lt"/>
                <a:ea typeface="+mn-ea"/>
                <a:cs typeface="+mn-cs"/>
              </a:defRPr>
            </a:lvl1pPr>
          </a:lstStyle>
          <a:p>
            <a:r>
              <a:rPr lang="zh-TW" altLang="en-US"/>
              <a:t>按一下圖示以新增圖片</a:t>
            </a:r>
            <a:endParaRPr lang="en-US" dirty="0"/>
          </a:p>
        </p:txBody>
      </p:sp>
      <p:sp>
        <p:nvSpPr>
          <p:cNvPr id="14" name="Picture Placeholder 12"/>
          <p:cNvSpPr>
            <a:spLocks noGrp="1"/>
          </p:cNvSpPr>
          <p:nvPr>
            <p:ph type="pic" sz="quarter" idx="15"/>
          </p:nvPr>
        </p:nvSpPr>
        <p:spPr>
          <a:xfrm>
            <a:off x="4368800" y="3352800"/>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1600" b="0" kern="1200" dirty="0" smtClean="0">
                <a:solidFill>
                  <a:schemeClr val="tx1">
                    <a:lumMod val="65000"/>
                    <a:lumOff val="35000"/>
                  </a:schemeClr>
                </a:solidFill>
                <a:latin typeface="+mn-lt"/>
                <a:ea typeface="+mn-ea"/>
                <a:cs typeface="+mn-cs"/>
              </a:defRPr>
            </a:lvl1pPr>
          </a:lstStyle>
          <a:p>
            <a:r>
              <a:rPr lang="zh-TW" altLang="en-US"/>
              <a:t>按一下圖示以新增圖片</a:t>
            </a:r>
            <a:endParaRPr lang="en-US" dirty="0"/>
          </a:p>
        </p:txBody>
      </p:sp>
      <p:sp>
        <p:nvSpPr>
          <p:cNvPr id="16" name="Text Placeholder 15"/>
          <p:cNvSpPr>
            <a:spLocks noGrp="1"/>
          </p:cNvSpPr>
          <p:nvPr>
            <p:ph type="body" sz="quarter" idx="16" hasCustomPrompt="1"/>
          </p:nvPr>
        </p:nvSpPr>
        <p:spPr>
          <a:xfrm>
            <a:off x="7721600" y="3352800"/>
            <a:ext cx="3048000" cy="381000"/>
          </a:xfrm>
        </p:spPr>
        <p:txBody>
          <a:bodyPr>
            <a:normAutofit/>
          </a:bodyPr>
          <a:lstStyle>
            <a:lvl1pPr>
              <a:buNone/>
              <a:defRPr sz="1800" b="1" baseline="0">
                <a:solidFill>
                  <a:srgbClr val="FC7500"/>
                </a:solidFill>
              </a:defRPr>
            </a:lvl1pPr>
          </a:lstStyle>
          <a:p>
            <a:pPr lvl="0"/>
            <a:r>
              <a:rPr lang="en-US" dirty="0"/>
              <a:t>CLICK TO ADD TITLE</a:t>
            </a:r>
          </a:p>
        </p:txBody>
      </p:sp>
      <p:sp>
        <p:nvSpPr>
          <p:cNvPr id="18" name="Text Placeholder 17"/>
          <p:cNvSpPr>
            <a:spLocks noGrp="1"/>
          </p:cNvSpPr>
          <p:nvPr>
            <p:ph type="body" sz="quarter" idx="17" hasCustomPrompt="1"/>
          </p:nvPr>
        </p:nvSpPr>
        <p:spPr>
          <a:xfrm>
            <a:off x="7721600" y="3886200"/>
            <a:ext cx="3048000" cy="1752600"/>
          </a:xfrm>
        </p:spPr>
        <p:txBody>
          <a:bodyPr>
            <a:normAutofit/>
          </a:bodyPr>
          <a:lstStyle>
            <a:lvl1pPr>
              <a:buNone/>
              <a:defRPr sz="1800">
                <a:solidFill>
                  <a:schemeClr val="tx1">
                    <a:lumMod val="75000"/>
                    <a:lumOff val="25000"/>
                  </a:schemeClr>
                </a:solidFill>
              </a:defRPr>
            </a:lvl1pPr>
          </a:lstStyle>
          <a:p>
            <a:pPr lvl="0"/>
            <a:r>
              <a:rPr lang="en-US" dirty="0"/>
              <a:t>Click to add subtext</a:t>
            </a:r>
          </a:p>
        </p:txBody>
      </p:sp>
      <p:sp>
        <p:nvSpPr>
          <p:cNvPr id="12" name="Rectangle 11"/>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5" name="Straight Connector 14"/>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95919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4-Up Portrait with Colored Captions">
    <p:bg>
      <p:bgPr>
        <a:solidFill>
          <a:srgbClr val="F0F0F0"/>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p:cNvSpPr>
          <p:nvPr>
            <p:ph type="pic" sz="quarter" idx="14"/>
          </p:nvPr>
        </p:nvSpPr>
        <p:spPr>
          <a:xfrm>
            <a:off x="2946400" y="2411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26"/>
          </p:nvPr>
        </p:nvSpPr>
        <p:spPr>
          <a:xfrm>
            <a:off x="29464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5"/>
          </p:nvPr>
        </p:nvSpPr>
        <p:spPr>
          <a:xfrm>
            <a:off x="6203627" y="241192"/>
            <a:ext cx="2956931"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27"/>
          </p:nvPr>
        </p:nvSpPr>
        <p:spPr>
          <a:xfrm>
            <a:off x="61976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16" hasCustomPrompt="1"/>
          </p:nvPr>
        </p:nvSpPr>
        <p:spPr>
          <a:xfrm>
            <a:off x="533996" y="1295400"/>
            <a:ext cx="2235200" cy="1905000"/>
          </a:xfrm>
          <a:solidFill>
            <a:srgbClr val="91BED4"/>
          </a:solidFill>
        </p:spPr>
        <p:txBody>
          <a:bodyPr anchor="b" anchorCtr="0">
            <a:noAutofit/>
          </a:bodyPr>
          <a:lstStyle>
            <a:lvl1pPr marL="0" marR="0" indent="0" algn="r" rtl="0" latinLnBrk="0">
              <a:spcBef>
                <a:spcPct val="20000"/>
              </a:spcBef>
              <a:buFontTx/>
              <a:buNone/>
              <a:defRPr sz="1600" baseline="0">
                <a:solidFill>
                  <a:schemeClr val="bg1"/>
                </a:solidFill>
                <a:latin typeface="+mn-lt"/>
                <a:ea typeface="+mn-ea"/>
                <a:cs typeface="+mn-cs"/>
              </a:defRPr>
            </a:lvl1pPr>
            <a:extLst/>
          </a:lstStyle>
          <a:p>
            <a:pPr lvl="0"/>
            <a:r>
              <a:rPr lang="en-US" dirty="0"/>
              <a:t>Click to add caption</a:t>
            </a:r>
          </a:p>
        </p:txBody>
      </p:sp>
      <p:sp>
        <p:nvSpPr>
          <p:cNvPr id="11" name="Rectangle 7"/>
          <p:cNvSpPr>
            <a:spLocks noGrp="1"/>
          </p:cNvSpPr>
          <p:nvPr>
            <p:ph type="body" sz="quarter" idx="29" hasCustomPrompt="1"/>
          </p:nvPr>
        </p:nvSpPr>
        <p:spPr>
          <a:xfrm>
            <a:off x="9448800" y="1295400"/>
            <a:ext cx="2235200" cy="1905000"/>
          </a:xfrm>
          <a:solidFill>
            <a:srgbClr val="FC7500"/>
          </a:solidFill>
        </p:spPr>
        <p:txBody>
          <a:bodyPr anchor="b" anchorCtr="0"/>
          <a:lstStyle>
            <a:lvl1pPr marL="0" marR="0" indent="0" algn="l">
              <a:buFontTx/>
              <a:buNone/>
              <a:defRPr sz="1600" baseline="0">
                <a:solidFill>
                  <a:schemeClr val="bg1"/>
                </a:solidFill>
              </a:defRPr>
            </a:lvl1pPr>
            <a:extLst/>
          </a:lstStyle>
          <a:p>
            <a:pPr lvl="0"/>
            <a:r>
              <a:rPr lang="en-US" dirty="0"/>
              <a:t>Click to add caption</a:t>
            </a:r>
          </a:p>
        </p:txBody>
      </p:sp>
      <p:sp>
        <p:nvSpPr>
          <p:cNvPr id="12" name="Rectangle 7"/>
          <p:cNvSpPr>
            <a:spLocks noGrp="1"/>
          </p:cNvSpPr>
          <p:nvPr>
            <p:ph type="body" sz="quarter" idx="28" hasCustomPrompt="1"/>
          </p:nvPr>
        </p:nvSpPr>
        <p:spPr>
          <a:xfrm>
            <a:off x="533996" y="3352800"/>
            <a:ext cx="2235200" cy="1905000"/>
          </a:xfrm>
          <a:solidFill>
            <a:srgbClr val="FC7500"/>
          </a:solidFill>
        </p:spPr>
        <p:txBody>
          <a:bodyPr anchor="t" anchorCtr="0"/>
          <a:lstStyle>
            <a:lvl1pPr marL="0" marR="0" indent="0" algn="r">
              <a:buFontTx/>
              <a:buNone/>
              <a:defRPr sz="1600" baseline="0">
                <a:solidFill>
                  <a:schemeClr val="bg1"/>
                </a:solidFill>
              </a:defRPr>
            </a:lvl1pPr>
            <a:extLst/>
          </a:lstStyle>
          <a:p>
            <a:pPr lvl="0"/>
            <a:r>
              <a:rPr lang="en-US" dirty="0"/>
              <a:t>Click to add caption</a:t>
            </a:r>
          </a:p>
        </p:txBody>
      </p:sp>
      <p:sp>
        <p:nvSpPr>
          <p:cNvPr id="13" name="Rectangle 7"/>
          <p:cNvSpPr>
            <a:spLocks noGrp="1"/>
          </p:cNvSpPr>
          <p:nvPr>
            <p:ph type="body" sz="quarter" idx="30" hasCustomPrompt="1"/>
          </p:nvPr>
        </p:nvSpPr>
        <p:spPr>
          <a:xfrm>
            <a:off x="9448800" y="3352800"/>
            <a:ext cx="2235200" cy="1905000"/>
          </a:xfrm>
          <a:solidFill>
            <a:srgbClr val="91BED4"/>
          </a:solidFill>
        </p:spPr>
        <p:txBody>
          <a:bodyPr anchor="t" anchorCtr="0"/>
          <a:lstStyle>
            <a:lvl1pPr marL="0" marR="0" indent="0" algn="l">
              <a:buFontTx/>
              <a:buNone/>
              <a:defRPr sz="1600" baseline="0">
                <a:solidFill>
                  <a:schemeClr val="bg1"/>
                </a:solidFill>
              </a:defRPr>
            </a:lvl1pPr>
            <a:extLst/>
          </a:lstStyle>
          <a:p>
            <a:pPr lvl="0"/>
            <a:r>
              <a:rPr lang="en-US" dirty="0"/>
              <a:t>Click to add caption</a:t>
            </a:r>
          </a:p>
        </p:txBody>
      </p:sp>
    </p:spTree>
    <p:extLst>
      <p:ext uri="{BB962C8B-B14F-4D97-AF65-F5344CB8AC3E}">
        <p14:creationId xmlns:p14="http://schemas.microsoft.com/office/powerpoint/2010/main" val="979413712"/>
      </p:ext>
    </p:extLst>
  </p:cSld>
  <p:clrMapOvr>
    <a:overrideClrMapping bg1="lt1" tx1="dk1" bg2="lt2" tx2="dk2" accent1="accent1" accent2="accent2" accent3="accent3" accent4="accent4" accent5="accent5" accent6="accent6" hlink="hlink" folHlink="folHlink"/>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4-Up Portrait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p:cNvSpPr>
          <p:nvPr>
            <p:ph type="pic" sz="quarter" idx="14"/>
          </p:nvPr>
        </p:nvSpPr>
        <p:spPr>
          <a:xfrm>
            <a:off x="2997200" y="2411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26"/>
          </p:nvPr>
        </p:nvSpPr>
        <p:spPr>
          <a:xfrm>
            <a:off x="29972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5"/>
          </p:nvPr>
        </p:nvSpPr>
        <p:spPr>
          <a:xfrm>
            <a:off x="6254427" y="241192"/>
            <a:ext cx="2956931"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27"/>
          </p:nvPr>
        </p:nvSpPr>
        <p:spPr>
          <a:xfrm>
            <a:off x="62484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16" hasCustomPrompt="1"/>
          </p:nvPr>
        </p:nvSpPr>
        <p:spPr>
          <a:xfrm>
            <a:off x="457200" y="1257300"/>
            <a:ext cx="2235200" cy="1905000"/>
          </a:xfrm>
          <a:noFill/>
        </p:spPr>
        <p:txBody>
          <a:bodyPr anchor="b" anchorCtr="0">
            <a:noAutofit/>
          </a:bodyPr>
          <a:lstStyle>
            <a:lvl1pPr marL="0" marR="0" indent="0" algn="r" rtl="0" latinLnBrk="0">
              <a:spcBef>
                <a:spcPct val="20000"/>
              </a:spcBef>
              <a:buFontTx/>
              <a:buNone/>
              <a:defRPr sz="1600" baseline="0">
                <a:solidFill>
                  <a:schemeClr val="tx1">
                    <a:lumMod val="50000"/>
                    <a:lumOff val="50000"/>
                  </a:schemeClr>
                </a:solidFill>
                <a:latin typeface="+mn-lt"/>
                <a:ea typeface="+mn-ea"/>
                <a:cs typeface="+mn-cs"/>
              </a:defRPr>
            </a:lvl1pPr>
            <a:extLst/>
          </a:lstStyle>
          <a:p>
            <a:pPr lvl="0"/>
            <a:r>
              <a:rPr lang="en-US" dirty="0"/>
              <a:t>Click to add caption</a:t>
            </a:r>
          </a:p>
        </p:txBody>
      </p:sp>
      <p:sp>
        <p:nvSpPr>
          <p:cNvPr id="12" name="Rectangle 7"/>
          <p:cNvSpPr>
            <a:spLocks noGrp="1"/>
          </p:cNvSpPr>
          <p:nvPr>
            <p:ph type="body" sz="quarter" idx="28" hasCustomPrompt="1"/>
          </p:nvPr>
        </p:nvSpPr>
        <p:spPr>
          <a:xfrm>
            <a:off x="457200" y="3352800"/>
            <a:ext cx="2235200" cy="1905000"/>
          </a:xfrm>
          <a:noFill/>
        </p:spPr>
        <p:txBody>
          <a:bodyPr anchor="t" anchorCtr="0"/>
          <a:lstStyle>
            <a:lvl1pPr marL="0" marR="0" indent="0" algn="r">
              <a:buFontTx/>
              <a:buNone/>
              <a:defRPr sz="1600" baseline="0">
                <a:solidFill>
                  <a:schemeClr val="tx1">
                    <a:lumMod val="50000"/>
                    <a:lumOff val="50000"/>
                  </a:schemeClr>
                </a:solidFill>
              </a:defRPr>
            </a:lvl1pPr>
            <a:extLst/>
          </a:lstStyle>
          <a:p>
            <a:pPr lvl="0"/>
            <a:r>
              <a:rPr lang="en-US" dirty="0"/>
              <a:t>Click to add caption</a:t>
            </a:r>
          </a:p>
        </p:txBody>
      </p:sp>
      <p:sp>
        <p:nvSpPr>
          <p:cNvPr id="13" name="Rectangle 7"/>
          <p:cNvSpPr>
            <a:spLocks noGrp="1"/>
          </p:cNvSpPr>
          <p:nvPr>
            <p:ph type="body" sz="quarter" idx="30" hasCustomPrompt="1"/>
          </p:nvPr>
        </p:nvSpPr>
        <p:spPr>
          <a:xfrm>
            <a:off x="9499600" y="3352800"/>
            <a:ext cx="2235200" cy="1905000"/>
          </a:xfrm>
          <a:noFill/>
        </p:spPr>
        <p:txBody>
          <a:bodyPr anchor="t" anchorCtr="0"/>
          <a:lstStyle>
            <a:lvl1pPr marL="0" marR="0" indent="0" algn="l">
              <a:buFontTx/>
              <a:buNone/>
              <a:defRPr sz="1600" baseline="0">
                <a:solidFill>
                  <a:schemeClr val="tx1">
                    <a:lumMod val="50000"/>
                    <a:lumOff val="50000"/>
                  </a:schemeClr>
                </a:solidFill>
              </a:defRPr>
            </a:lvl1pPr>
            <a:extLst/>
          </a:lstStyle>
          <a:p>
            <a:pPr lvl="0"/>
            <a:r>
              <a:rPr lang="en-US" dirty="0"/>
              <a:t>Click to add caption</a:t>
            </a:r>
          </a:p>
        </p:txBody>
      </p:sp>
      <p:sp>
        <p:nvSpPr>
          <p:cNvPr id="14" name="Rectangle 7"/>
          <p:cNvSpPr>
            <a:spLocks noGrp="1"/>
          </p:cNvSpPr>
          <p:nvPr>
            <p:ph type="body" sz="quarter" idx="31" hasCustomPrompt="1"/>
          </p:nvPr>
        </p:nvSpPr>
        <p:spPr>
          <a:xfrm>
            <a:off x="9499600" y="1257300"/>
            <a:ext cx="2235200" cy="1905000"/>
          </a:xfrm>
        </p:spPr>
        <p:txBody>
          <a:bodyPr anchor="b" anchorCtr="0"/>
          <a:lstStyle>
            <a:lvl1pPr marL="0" marR="0" indent="0" algn="l">
              <a:buFontTx/>
              <a:buNone/>
              <a:defRPr sz="1600" baseline="0">
                <a:solidFill>
                  <a:schemeClr val="tx1">
                    <a:lumMod val="50000"/>
                    <a:lumOff val="50000"/>
                  </a:schemeClr>
                </a:solidFill>
              </a:defRPr>
            </a:lvl1pPr>
            <a:extLst/>
          </a:lstStyle>
          <a:p>
            <a:pPr lvl="0"/>
            <a:r>
              <a:rPr lang="en-US" dirty="0"/>
              <a:t>Click to add caption</a:t>
            </a:r>
          </a:p>
        </p:txBody>
      </p:sp>
    </p:spTree>
    <p:extLst>
      <p:ext uri="{BB962C8B-B14F-4D97-AF65-F5344CB8AC3E}">
        <p14:creationId xmlns:p14="http://schemas.microsoft.com/office/powerpoint/2010/main" val="35725622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4-Up Portrait with Title and Large Capti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p:cNvSpPr>
          <p:nvPr>
            <p:ph type="pic" sz="quarter" idx="14"/>
          </p:nvPr>
        </p:nvSpPr>
        <p:spPr>
          <a:xfrm>
            <a:off x="304800"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31"/>
          </p:nvPr>
        </p:nvSpPr>
        <p:spPr>
          <a:xfrm>
            <a:off x="6163733"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p:cNvSpPr>
          <p:nvPr>
            <p:ph type="pic" sz="quarter" idx="30"/>
          </p:nvPr>
        </p:nvSpPr>
        <p:spPr>
          <a:xfrm>
            <a:off x="3233680"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32"/>
          </p:nvPr>
        </p:nvSpPr>
        <p:spPr>
          <a:xfrm>
            <a:off x="9088488"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29" hasCustomPrompt="1"/>
          </p:nvPr>
        </p:nvSpPr>
        <p:spPr>
          <a:xfrm>
            <a:off x="304800" y="3733799"/>
            <a:ext cx="11480800" cy="457200"/>
          </a:xfrm>
        </p:spPr>
        <p:txBody>
          <a:bodyPr anchor="t" anchorCtr="0">
            <a:noAutofit/>
          </a:bodyPr>
          <a:lstStyle>
            <a:lvl1pPr marL="0" marR="0" indent="0" algn="l">
              <a:buFontTx/>
              <a:buNone/>
              <a:defRPr sz="2600" b="1" baseline="0">
                <a:solidFill>
                  <a:srgbClr val="FC7500"/>
                </a:solidFill>
              </a:defRPr>
            </a:lvl1pPr>
            <a:extLst/>
          </a:lstStyle>
          <a:p>
            <a:pPr lvl="0"/>
            <a:r>
              <a:rPr lang="en-US" dirty="0"/>
              <a:t>Click to add title style</a:t>
            </a:r>
          </a:p>
        </p:txBody>
      </p:sp>
      <p:sp>
        <p:nvSpPr>
          <p:cNvPr id="12" name="Text Placeholder 11"/>
          <p:cNvSpPr>
            <a:spLocks noGrp="1"/>
          </p:cNvSpPr>
          <p:nvPr>
            <p:ph type="body" sz="quarter" idx="33" hasCustomPrompt="1"/>
          </p:nvPr>
        </p:nvSpPr>
        <p:spPr>
          <a:xfrm>
            <a:off x="304800" y="4343399"/>
            <a:ext cx="11480800" cy="1600200"/>
          </a:xfrm>
        </p:spPr>
        <p:txBody>
          <a:bodyPr>
            <a:normAutofit/>
          </a:bodyPr>
          <a:lstStyle>
            <a:lvl1pPr>
              <a:buNone/>
              <a:defRPr sz="2000">
                <a:solidFill>
                  <a:schemeClr val="tx1">
                    <a:lumMod val="75000"/>
                    <a:lumOff val="25000"/>
                  </a:schemeClr>
                </a:solidFill>
              </a:defRPr>
            </a:lvl1pPr>
          </a:lstStyle>
          <a:p>
            <a:pPr lvl="0"/>
            <a:r>
              <a:rPr lang="en-US" dirty="0"/>
              <a:t>Click to add caption text</a:t>
            </a:r>
          </a:p>
        </p:txBody>
      </p:sp>
      <p:grpSp>
        <p:nvGrpSpPr>
          <p:cNvPr id="11" name="Group 10"/>
          <p:cNvGrpSpPr/>
          <p:nvPr userDrawn="1"/>
        </p:nvGrpSpPr>
        <p:grpSpPr>
          <a:xfrm rot="5400000">
            <a:off x="5801032" y="467032"/>
            <a:ext cx="589936" cy="12192000"/>
            <a:chOff x="8524568" y="0"/>
            <a:chExt cx="589936" cy="6858000"/>
          </a:xfrm>
        </p:grpSpPr>
        <p:sp>
          <p:nvSpPr>
            <p:cNvPr id="13" name="Rectangle 12"/>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4" name="Straight Connector 13"/>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5"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6"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7"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96666462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4-Up Mixed">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6" name="Rectangle 7"/>
          <p:cNvSpPr>
            <a:spLocks noGrp="1"/>
          </p:cNvSpPr>
          <p:nvPr>
            <p:ph type="pic" sz="quarter" idx="14"/>
          </p:nvPr>
        </p:nvSpPr>
        <p:spPr>
          <a:xfrm>
            <a:off x="1016001" y="257666"/>
            <a:ext cx="5975943" cy="5990735"/>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noChangeAspect="1"/>
          </p:cNvSpPr>
          <p:nvPr>
            <p:ph type="pic" sz="quarter" idx="18"/>
          </p:nvPr>
        </p:nvSpPr>
        <p:spPr>
          <a:xfrm>
            <a:off x="7540585" y="257666"/>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2"/>
          </p:nvPr>
        </p:nvSpPr>
        <p:spPr>
          <a:xfrm>
            <a:off x="7540585" y="2362201"/>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noChangeAspect="1"/>
          </p:cNvSpPr>
          <p:nvPr>
            <p:ph type="pic" sz="quarter" idx="23"/>
          </p:nvPr>
        </p:nvSpPr>
        <p:spPr>
          <a:xfrm>
            <a:off x="7540585" y="4495801"/>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2"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3"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4"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5" name="Rectangle 14"/>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6" name="Straight Connector 15"/>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4894314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5-Up: 3 Landscape with 2 Portrait">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p:cNvSpPr>
          <p:nvPr>
            <p:ph type="pic" sz="quarter" idx="14"/>
          </p:nvPr>
        </p:nvSpPr>
        <p:spPr>
          <a:xfrm>
            <a:off x="812800" y="3480498"/>
            <a:ext cx="2561275" cy="275762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17"/>
          </p:nvPr>
        </p:nvSpPr>
        <p:spPr>
          <a:xfrm>
            <a:off x="3841930" y="228600"/>
            <a:ext cx="7012547" cy="394455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p:cNvSpPr>
          <p:nvPr>
            <p:ph type="pic" sz="quarter" idx="26"/>
          </p:nvPr>
        </p:nvSpPr>
        <p:spPr>
          <a:xfrm>
            <a:off x="812800" y="228601"/>
            <a:ext cx="2561275" cy="275762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noChangeAspect="1"/>
          </p:cNvSpPr>
          <p:nvPr>
            <p:ph type="pic" sz="quarter" idx="27"/>
          </p:nvPr>
        </p:nvSpPr>
        <p:spPr>
          <a:xfrm>
            <a:off x="7733193" y="4563307"/>
            <a:ext cx="3239608" cy="170773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noChangeAspect="1"/>
          </p:cNvSpPr>
          <p:nvPr>
            <p:ph type="pic" sz="quarter" idx="28"/>
          </p:nvPr>
        </p:nvSpPr>
        <p:spPr>
          <a:xfrm>
            <a:off x="3860800" y="4563307"/>
            <a:ext cx="3349360" cy="170773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3"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4"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5"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904675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5-Up: 2 Landscape with 3 Portrait">
    <p:bg>
      <p:bgPr>
        <a:solidFill>
          <a:schemeClr val="bg1">
            <a:lumMod val="95000"/>
          </a:schemeClr>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0" name="Rectangle 7"/>
          <p:cNvSpPr>
            <a:spLocks noGrp="1"/>
          </p:cNvSpPr>
          <p:nvPr>
            <p:ph type="pic" sz="quarter" idx="26"/>
          </p:nvPr>
        </p:nvSpPr>
        <p:spPr>
          <a:xfrm>
            <a:off x="705474" y="3124201"/>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1" name="Rectangle 7"/>
          <p:cNvSpPr>
            <a:spLocks noGrp="1"/>
          </p:cNvSpPr>
          <p:nvPr>
            <p:ph type="pic" sz="quarter" idx="29"/>
          </p:nvPr>
        </p:nvSpPr>
        <p:spPr>
          <a:xfrm>
            <a:off x="681832" y="228602"/>
            <a:ext cx="5106533" cy="2651469"/>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2" name="Rectangle 7"/>
          <p:cNvSpPr>
            <a:spLocks noGrp="1"/>
          </p:cNvSpPr>
          <p:nvPr>
            <p:ph type="pic" sz="quarter" idx="30"/>
          </p:nvPr>
        </p:nvSpPr>
        <p:spPr>
          <a:xfrm>
            <a:off x="6374267" y="228602"/>
            <a:ext cx="5106533" cy="2651469"/>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3" name="Rectangle 7"/>
          <p:cNvSpPr>
            <a:spLocks noGrp="1"/>
          </p:cNvSpPr>
          <p:nvPr>
            <p:ph type="pic" sz="quarter" idx="27"/>
          </p:nvPr>
        </p:nvSpPr>
        <p:spPr>
          <a:xfrm>
            <a:off x="4413874" y="3124201"/>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4" name="Rectangle 7"/>
          <p:cNvSpPr>
            <a:spLocks noGrp="1"/>
          </p:cNvSpPr>
          <p:nvPr>
            <p:ph type="pic" sz="quarter" idx="28"/>
          </p:nvPr>
        </p:nvSpPr>
        <p:spPr>
          <a:xfrm>
            <a:off x="8122274" y="3124201"/>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Tree>
    <p:extLst>
      <p:ext uri="{BB962C8B-B14F-4D97-AF65-F5344CB8AC3E}">
        <p14:creationId xmlns:p14="http://schemas.microsoft.com/office/powerpoint/2010/main" val="112004724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Photo Grid with Colored Captions">
    <p:bg>
      <p:bgPr>
        <a:solidFill>
          <a:schemeClr val="bg1"/>
        </a:solidFill>
        <a:effectLst/>
      </p:bgPr>
    </p:bg>
    <p:spTree>
      <p:nvGrpSpPr>
        <p:cNvPr id="1" name=""/>
        <p:cNvGrpSpPr/>
        <p:nvPr/>
      </p:nvGrpSpPr>
      <p:grpSpPr>
        <a:xfrm>
          <a:off x="0" y="0"/>
          <a:ext cx="0" cy="0"/>
          <a:chOff x="0" y="0"/>
          <a:chExt cx="0" cy="0"/>
        </a:xfrm>
      </p:grpSpPr>
      <p:sp>
        <p:nvSpPr>
          <p:cNvPr id="51" name="Rectangle 50"/>
          <p:cNvSpPr/>
          <p:nvPr userDrawn="1"/>
        </p:nvSpPr>
        <p:spPr>
          <a:xfrm>
            <a:off x="6197600" y="4558210"/>
            <a:ext cx="2743200" cy="199499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Text Placeholder 25"/>
          <p:cNvSpPr>
            <a:spLocks noGrp="1"/>
          </p:cNvSpPr>
          <p:nvPr>
            <p:ph type="body" sz="quarter" idx="31" hasCustomPrompt="1"/>
          </p:nvPr>
        </p:nvSpPr>
        <p:spPr>
          <a:xfrm>
            <a:off x="6299200" y="47106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53" name="Text Placeholder 28"/>
          <p:cNvSpPr>
            <a:spLocks noGrp="1"/>
          </p:cNvSpPr>
          <p:nvPr>
            <p:ph type="body" sz="quarter" idx="32" hasCustomPrompt="1"/>
          </p:nvPr>
        </p:nvSpPr>
        <p:spPr>
          <a:xfrm>
            <a:off x="6299200" y="51678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right</a:t>
            </a:r>
          </a:p>
        </p:txBody>
      </p:sp>
      <p:sp>
        <p:nvSpPr>
          <p:cNvPr id="35" name="Rectangle 34"/>
          <p:cNvSpPr/>
          <p:nvPr userDrawn="1"/>
        </p:nvSpPr>
        <p:spPr>
          <a:xfrm>
            <a:off x="6197600" y="291010"/>
            <a:ext cx="2743200" cy="1994990"/>
          </a:xfrm>
          <a:prstGeom prst="rect">
            <a:avLst/>
          </a:prstGeom>
          <a:solidFill>
            <a:srgbClr val="D9E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Text Placeholder 25"/>
          <p:cNvSpPr>
            <a:spLocks noGrp="1"/>
          </p:cNvSpPr>
          <p:nvPr>
            <p:ph type="body" sz="quarter" idx="19" hasCustomPrompt="1"/>
          </p:nvPr>
        </p:nvSpPr>
        <p:spPr>
          <a:xfrm>
            <a:off x="6299200" y="443411"/>
            <a:ext cx="2540000" cy="366889"/>
          </a:xfrm>
        </p:spPr>
        <p:txBody>
          <a:bodyPr>
            <a:normAutofit/>
          </a:bodyPr>
          <a:lstStyle>
            <a:lvl1pPr algn="l">
              <a:buNone/>
              <a:defRPr sz="1600" b="1" baseline="0">
                <a:solidFill>
                  <a:schemeClr val="accent1">
                    <a:lumMod val="75000"/>
                  </a:schemeClr>
                </a:solidFill>
              </a:defRPr>
            </a:lvl1pPr>
          </a:lstStyle>
          <a:p>
            <a:pPr lvl="0"/>
            <a:r>
              <a:rPr lang="en-US" dirty="0"/>
              <a:t>CLICK TO ADD TITLE</a:t>
            </a:r>
          </a:p>
        </p:txBody>
      </p:sp>
      <p:sp>
        <p:nvSpPr>
          <p:cNvPr id="37" name="Text Placeholder 28"/>
          <p:cNvSpPr>
            <a:spLocks noGrp="1"/>
          </p:cNvSpPr>
          <p:nvPr>
            <p:ph type="body" sz="quarter" idx="20" hasCustomPrompt="1"/>
          </p:nvPr>
        </p:nvSpPr>
        <p:spPr>
          <a:xfrm>
            <a:off x="6299200" y="9006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30" name="Rectangle 29"/>
          <p:cNvSpPr/>
          <p:nvPr userDrawn="1"/>
        </p:nvSpPr>
        <p:spPr>
          <a:xfrm>
            <a:off x="304800" y="291010"/>
            <a:ext cx="2743200" cy="199499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C7500"/>
              </a:solidFill>
            </a:endParaRPr>
          </a:p>
        </p:txBody>
      </p:sp>
      <p:sp>
        <p:nvSpPr>
          <p:cNvPr id="31" name="Picture Placeholder 11"/>
          <p:cNvSpPr>
            <a:spLocks noGrp="1"/>
          </p:cNvSpPr>
          <p:nvPr>
            <p:ph type="pic" sz="quarter" idx="13"/>
          </p:nvPr>
        </p:nvSpPr>
        <p:spPr>
          <a:xfrm>
            <a:off x="3247923" y="295275"/>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32" name="Picture Placeholder 11"/>
          <p:cNvSpPr>
            <a:spLocks noGrp="1"/>
          </p:cNvSpPr>
          <p:nvPr>
            <p:ph type="pic" sz="quarter" idx="16"/>
          </p:nvPr>
        </p:nvSpPr>
        <p:spPr>
          <a:xfrm>
            <a:off x="9140723" y="2910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33" name="Text Placeholder 25"/>
          <p:cNvSpPr>
            <a:spLocks noGrp="1"/>
          </p:cNvSpPr>
          <p:nvPr>
            <p:ph type="body" sz="quarter" idx="17" hasCustomPrompt="1"/>
          </p:nvPr>
        </p:nvSpPr>
        <p:spPr>
          <a:xfrm>
            <a:off x="406400" y="4434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34" name="Text Placeholder 28"/>
          <p:cNvSpPr>
            <a:spLocks noGrp="1"/>
          </p:cNvSpPr>
          <p:nvPr>
            <p:ph type="body" sz="quarter" idx="18" hasCustomPrompt="1"/>
          </p:nvPr>
        </p:nvSpPr>
        <p:spPr>
          <a:xfrm>
            <a:off x="406400" y="9006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right</a:t>
            </a:r>
          </a:p>
        </p:txBody>
      </p:sp>
      <p:sp>
        <p:nvSpPr>
          <p:cNvPr id="38" name="Rectangle 37"/>
          <p:cNvSpPr/>
          <p:nvPr userDrawn="1"/>
        </p:nvSpPr>
        <p:spPr>
          <a:xfrm>
            <a:off x="3254476" y="2424610"/>
            <a:ext cx="2743200" cy="199499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Picture Placeholder 11"/>
          <p:cNvSpPr>
            <a:spLocks noGrp="1"/>
          </p:cNvSpPr>
          <p:nvPr>
            <p:ph type="pic" sz="quarter" idx="21"/>
          </p:nvPr>
        </p:nvSpPr>
        <p:spPr>
          <a:xfrm>
            <a:off x="304800"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0" name="Picture Placeholder 11"/>
          <p:cNvSpPr>
            <a:spLocks noGrp="1"/>
          </p:cNvSpPr>
          <p:nvPr>
            <p:ph type="pic" sz="quarter" idx="22"/>
          </p:nvPr>
        </p:nvSpPr>
        <p:spPr>
          <a:xfrm>
            <a:off x="6200876"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1" name="Text Placeholder 25"/>
          <p:cNvSpPr>
            <a:spLocks noGrp="1"/>
          </p:cNvSpPr>
          <p:nvPr>
            <p:ph type="body" sz="quarter" idx="23" hasCustomPrompt="1"/>
          </p:nvPr>
        </p:nvSpPr>
        <p:spPr>
          <a:xfrm>
            <a:off x="3356076" y="25770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42" name="Text Placeholder 28"/>
          <p:cNvSpPr>
            <a:spLocks noGrp="1"/>
          </p:cNvSpPr>
          <p:nvPr>
            <p:ph type="body" sz="quarter" idx="24" hasCustomPrompt="1"/>
          </p:nvPr>
        </p:nvSpPr>
        <p:spPr>
          <a:xfrm>
            <a:off x="3356076" y="30342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left</a:t>
            </a:r>
          </a:p>
        </p:txBody>
      </p:sp>
      <p:sp>
        <p:nvSpPr>
          <p:cNvPr id="43" name="Rectangle 42"/>
          <p:cNvSpPr/>
          <p:nvPr userDrawn="1"/>
        </p:nvSpPr>
        <p:spPr>
          <a:xfrm>
            <a:off x="9147276" y="2424610"/>
            <a:ext cx="2743200" cy="19949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Text Placeholder 25"/>
          <p:cNvSpPr>
            <a:spLocks noGrp="1"/>
          </p:cNvSpPr>
          <p:nvPr>
            <p:ph type="body" sz="quarter" idx="25" hasCustomPrompt="1"/>
          </p:nvPr>
        </p:nvSpPr>
        <p:spPr>
          <a:xfrm>
            <a:off x="9248876" y="25770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45" name="Text Placeholder 28"/>
          <p:cNvSpPr>
            <a:spLocks noGrp="1"/>
          </p:cNvSpPr>
          <p:nvPr>
            <p:ph type="body" sz="quarter" idx="26" hasCustomPrompt="1"/>
          </p:nvPr>
        </p:nvSpPr>
        <p:spPr>
          <a:xfrm>
            <a:off x="9248876" y="30342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left</a:t>
            </a:r>
          </a:p>
        </p:txBody>
      </p:sp>
      <p:sp>
        <p:nvSpPr>
          <p:cNvPr id="46" name="Rectangle 45"/>
          <p:cNvSpPr/>
          <p:nvPr userDrawn="1"/>
        </p:nvSpPr>
        <p:spPr>
          <a:xfrm>
            <a:off x="304800" y="4558210"/>
            <a:ext cx="2743200" cy="1994990"/>
          </a:xfrm>
          <a:prstGeom prst="rect">
            <a:avLst/>
          </a:prstGeom>
          <a:solidFill>
            <a:srgbClr val="D9E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Picture Placeholder 11"/>
          <p:cNvSpPr>
            <a:spLocks noGrp="1"/>
          </p:cNvSpPr>
          <p:nvPr>
            <p:ph type="pic" sz="quarter" idx="27"/>
          </p:nvPr>
        </p:nvSpPr>
        <p:spPr>
          <a:xfrm>
            <a:off x="3251200"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8" name="Picture Placeholder 11"/>
          <p:cNvSpPr>
            <a:spLocks noGrp="1"/>
          </p:cNvSpPr>
          <p:nvPr>
            <p:ph type="pic" sz="quarter" idx="28"/>
          </p:nvPr>
        </p:nvSpPr>
        <p:spPr>
          <a:xfrm>
            <a:off x="9144000"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9" name="Text Placeholder 25"/>
          <p:cNvSpPr>
            <a:spLocks noGrp="1"/>
          </p:cNvSpPr>
          <p:nvPr>
            <p:ph type="body" sz="quarter" idx="29" hasCustomPrompt="1"/>
          </p:nvPr>
        </p:nvSpPr>
        <p:spPr>
          <a:xfrm>
            <a:off x="406400" y="4710611"/>
            <a:ext cx="2540000" cy="366889"/>
          </a:xfrm>
        </p:spPr>
        <p:txBody>
          <a:bodyPr>
            <a:normAutofit/>
          </a:bodyPr>
          <a:lstStyle>
            <a:lvl1pPr algn="l">
              <a:buNone/>
              <a:defRPr sz="1600" b="1" baseline="0">
                <a:solidFill>
                  <a:schemeClr val="accent1">
                    <a:lumMod val="75000"/>
                  </a:schemeClr>
                </a:solidFill>
              </a:defRPr>
            </a:lvl1pPr>
          </a:lstStyle>
          <a:p>
            <a:pPr lvl="0"/>
            <a:r>
              <a:rPr lang="en-US" dirty="0"/>
              <a:t>CLICK TO ADD TITLE</a:t>
            </a:r>
          </a:p>
        </p:txBody>
      </p:sp>
      <p:sp>
        <p:nvSpPr>
          <p:cNvPr id="50" name="Text Placeholder 28"/>
          <p:cNvSpPr>
            <a:spLocks noGrp="1"/>
          </p:cNvSpPr>
          <p:nvPr>
            <p:ph type="body" sz="quarter" idx="30" hasCustomPrompt="1"/>
          </p:nvPr>
        </p:nvSpPr>
        <p:spPr>
          <a:xfrm>
            <a:off x="406400" y="51678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29" name="Date Placeholder 6"/>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54" name="Footer Placeholder 7"/>
          <p:cNvSpPr>
            <a:spLocks noGrp="1"/>
          </p:cNvSpPr>
          <p:nvPr>
            <p:ph type="ftr" sz="quarter" idx="11"/>
          </p:nvPr>
        </p:nvSpPr>
        <p:spPr>
          <a:xfrm>
            <a:off x="4165600" y="6553200"/>
            <a:ext cx="3860800" cy="304800"/>
          </a:xfrm>
        </p:spPr>
        <p:txBody>
          <a:bodyPr/>
          <a:lstStyle/>
          <a:p>
            <a:endParaRPr lang="en-US">
              <a:solidFill>
                <a:prstClr val="black">
                  <a:tint val="75000"/>
                </a:prstClr>
              </a:solidFill>
            </a:endParaRPr>
          </a:p>
        </p:txBody>
      </p:sp>
      <p:sp>
        <p:nvSpPr>
          <p:cNvPr id="55" name="Slide Number Placeholder 8"/>
          <p:cNvSpPr>
            <a:spLocks noGrp="1"/>
          </p:cNvSpPr>
          <p:nvPr>
            <p:ph type="sldNum" sz="quarter" idx="12"/>
          </p:nvPr>
        </p:nvSpPr>
        <p:spPr>
          <a:xfrm>
            <a:off x="8737600" y="6553200"/>
            <a:ext cx="28448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1293916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Panoramic with Caption">
    <p:bg>
      <p:bgPr>
        <a:solidFill>
          <a:schemeClr val="bg1">
            <a:lumMod val="95000"/>
          </a:schemeClr>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7" name="W¥ل云玗İαЂôÁûÂÚ丫:Pïçtúrê Plå¢éhõlðér 表¥鷗字㌍ 表_W 2"/>
          <p:cNvSpPr>
            <a:spLocks noGrp="1"/>
          </p:cNvSpPr>
          <p:nvPr>
            <p:ph type="pic" sz="quarter" idx="30"/>
          </p:nvPr>
        </p:nvSpPr>
        <p:spPr>
          <a:xfrm>
            <a:off x="622300" y="1371599"/>
            <a:ext cx="10922001" cy="2771776"/>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W¥ل云玗İαЂÕØÚáÛ丫:Téxt Plàçèhòlðêr 表¥鷗字㌍_W 3"/>
          <p:cNvSpPr>
            <a:spLocks noGrp="1"/>
          </p:cNvSpPr>
          <p:nvPr>
            <p:ph type="body" sz="quarter" idx="31" hasCustomPrompt="1"/>
          </p:nvPr>
        </p:nvSpPr>
        <p:spPr>
          <a:xfrm>
            <a:off x="609600" y="4343400"/>
            <a:ext cx="10972800" cy="1447800"/>
          </a:xfrm>
          <a:solidFill>
            <a:schemeClr val="bg1"/>
          </a:solidFill>
        </p:spPr>
        <p:txBody>
          <a:bodyPr tIns="91440" rIns="9144" bIns="91440" anchor="t"/>
          <a:lstStyle>
            <a:lvl1pPr marL="0" marR="0" indent="0" algn="l">
              <a:buFontTx/>
              <a:buNone/>
              <a:defRPr sz="1800" i="0">
                <a:solidFill>
                  <a:schemeClr val="tx1">
                    <a:lumMod val="75000"/>
                    <a:lumOff val="25000"/>
                  </a:schemeClr>
                </a:solidFill>
              </a:defRPr>
            </a:lvl1pPr>
            <a:extLst/>
          </a:lstStyle>
          <a:p>
            <a:pPr lvl="0"/>
            <a:r>
              <a:rPr lang="en-US" dirty="0"/>
              <a:t>Click to add caption</a:t>
            </a:r>
          </a:p>
        </p:txBody>
      </p:sp>
      <p:grpSp>
        <p:nvGrpSpPr>
          <p:cNvPr id="9" name="Group 8"/>
          <p:cNvGrpSpPr/>
          <p:nvPr userDrawn="1"/>
        </p:nvGrpSpPr>
        <p:grpSpPr>
          <a:xfrm rot="5400000">
            <a:off x="5801032" y="467032"/>
            <a:ext cx="589936" cy="12192000"/>
            <a:chOff x="8524568" y="0"/>
            <a:chExt cx="589936" cy="6858000"/>
          </a:xfrm>
        </p:grpSpPr>
        <p:sp>
          <p:nvSpPr>
            <p:cNvPr id="10" name="Rectangle 9"/>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1" name="Straight Connector 10"/>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2"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3"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4"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945317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Square with Caption">
    <p:spTree>
      <p:nvGrpSpPr>
        <p:cNvPr id="1" name=""/>
        <p:cNvGrpSpPr/>
        <p:nvPr/>
      </p:nvGrpSpPr>
      <p:grpSpPr>
        <a:xfrm>
          <a:off x="0" y="0"/>
          <a:ext cx="0" cy="0"/>
          <a:chOff x="0" y="0"/>
          <a:chExt cx="0" cy="0"/>
        </a:xfrm>
      </p:grpSpPr>
      <p:sp>
        <p:nvSpPr>
          <p:cNvPr id="8" name="Rectangle 7"/>
          <p:cNvSpPr/>
          <p:nvPr userDrawn="1"/>
        </p:nvSpPr>
        <p:spPr>
          <a:xfrm rot="5400000">
            <a:off x="5825613" y="442451"/>
            <a:ext cx="540774" cy="12192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9" name="Straight Connector 8"/>
          <p:cNvCxnSpPr/>
          <p:nvPr userDrawn="1"/>
        </p:nvCxnSpPr>
        <p:spPr>
          <a:xfrm rot="10800000">
            <a:off x="0" y="6858000"/>
            <a:ext cx="12192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userDrawn="1">
            <p:ph type="dt" sz="half" idx="10"/>
          </p:nvPr>
        </p:nvSpPr>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4" name="Footer Placeholder 3"/>
          <p:cNvSpPr>
            <a:spLocks noGrp="1"/>
          </p:cNvSpPr>
          <p:nvPr userDrawn="1">
            <p:ph type="ftr" sz="quarter" idx="11"/>
          </p:nvPr>
        </p:nvSpPr>
        <p:spPr/>
        <p:txBody>
          <a:bodyPr/>
          <a:lstStyle>
            <a:lvl1pPr>
              <a:defRPr>
                <a:solidFill>
                  <a:schemeClr val="bg1"/>
                </a:solidFill>
              </a:defRPr>
            </a:lvl1pPr>
          </a:lstStyle>
          <a:p>
            <a:endParaRPr lang="en-US" dirty="0">
              <a:solidFill>
                <a:prstClr val="white"/>
              </a:solidFill>
            </a:endParaRPr>
          </a:p>
        </p:txBody>
      </p:sp>
      <p:sp>
        <p:nvSpPr>
          <p:cNvPr id="5" name="Slide Number Placeholder 4"/>
          <p:cNvSpPr>
            <a:spLocks noGrp="1"/>
          </p:cNvSpPr>
          <p:nvPr userDrawn="1">
            <p:ph type="sldNum" sz="quarter" idx="12"/>
          </p:nvPr>
        </p:nvSpPr>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
        <p:nvSpPr>
          <p:cNvPr id="6" name="W¥ل云玗İαЂôÁûÂÚ丫:Pïçtúrê Plå¢éhõlðér 表¥鷗字㌍ 表_W 3"/>
          <p:cNvSpPr>
            <a:spLocks noGrp="1" noChangeAspect="1"/>
          </p:cNvSpPr>
          <p:nvPr userDrawn="1">
            <p:ph type="pic" sz="quarter" idx="13"/>
          </p:nvPr>
        </p:nvSpPr>
        <p:spPr>
          <a:xfrm>
            <a:off x="3965432" y="609600"/>
            <a:ext cx="4264169" cy="32004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7" name="W¥ل云玗İαЂÕØÚáÛ丫:Téxt Plàçèhòlðêr 表¥鷗字㌍_W 6"/>
          <p:cNvSpPr>
            <a:spLocks noGrp="1"/>
          </p:cNvSpPr>
          <p:nvPr userDrawn="1">
            <p:ph type="body" sz="quarter" idx="15" hasCustomPrompt="1"/>
          </p:nvPr>
        </p:nvSpPr>
        <p:spPr>
          <a:xfrm>
            <a:off x="3962400" y="4038600"/>
            <a:ext cx="4267200" cy="1600200"/>
          </a:xfrm>
        </p:spPr>
        <p:txBody>
          <a:bodyPr tIns="91440" rIns="9144" bIns="91440" anchor="t"/>
          <a:lstStyle>
            <a:lvl1pPr marL="0" marR="0" indent="0" algn="l">
              <a:buFontTx/>
              <a:buNone/>
              <a:defRPr sz="1800" i="0">
                <a:solidFill>
                  <a:schemeClr val="tx1">
                    <a:lumMod val="75000"/>
                    <a:lumOff val="25000"/>
                  </a:schemeClr>
                </a:solidFill>
              </a:defRPr>
            </a:lvl1pPr>
            <a:extLst/>
          </a:lstStyle>
          <a:p>
            <a:pPr lvl="0"/>
            <a:r>
              <a:rPr lang="en-US" dirty="0"/>
              <a:t>Click to add caption</a:t>
            </a:r>
          </a:p>
        </p:txBody>
      </p:sp>
    </p:spTree>
    <p:extLst>
      <p:ext uri="{BB962C8B-B14F-4D97-AF65-F5344CB8AC3E}">
        <p14:creationId xmlns:p14="http://schemas.microsoft.com/office/powerpoint/2010/main" val="3471458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lbum Section with 3 Portrait">
    <p:bg>
      <p:bgPr>
        <a:solidFill>
          <a:schemeClr val="bg1">
            <a:lumMod val="95000"/>
          </a:schemeClr>
        </a:solidFill>
        <a:effectLst/>
      </p:bgPr>
    </p:bg>
    <p:spTree>
      <p:nvGrpSpPr>
        <p:cNvPr id="1" name=""/>
        <p:cNvGrpSpPr/>
        <p:nvPr/>
      </p:nvGrpSpPr>
      <p:grpSpPr>
        <a:xfrm>
          <a:off x="0" y="0"/>
          <a:ext cx="0" cy="0"/>
          <a:chOff x="0" y="0"/>
          <a:chExt cx="0" cy="0"/>
        </a:xfrm>
      </p:grpSpPr>
      <p:sp>
        <p:nvSpPr>
          <p:cNvPr id="8" name="Rectangle 2"/>
          <p:cNvSpPr>
            <a:spLocks noGrp="1"/>
          </p:cNvSpPr>
          <p:nvPr>
            <p:ph type="title" hasCustomPrompt="1"/>
          </p:nvPr>
        </p:nvSpPr>
        <p:spPr>
          <a:xfrm>
            <a:off x="609600" y="3390900"/>
            <a:ext cx="10375640" cy="990600"/>
          </a:xfrm>
        </p:spPr>
        <p:txBody>
          <a:bodyPr vert="horz" bIns="0" anchor="b" anchorCtr="0">
            <a:normAutofit/>
          </a:bodyPr>
          <a:lstStyle>
            <a:lvl1pPr>
              <a:defRPr sz="4400" b="1" baseline="0">
                <a:solidFill>
                  <a:srgbClr val="FC7500"/>
                </a:solidFill>
              </a:defRPr>
            </a:lvl1pPr>
            <a:extLst/>
          </a:lstStyle>
          <a:p>
            <a:r>
              <a:rPr lang="en-US" dirty="0"/>
              <a:t>Click to add section title</a:t>
            </a:r>
          </a:p>
        </p:txBody>
      </p:sp>
      <p:sp>
        <p:nvSpPr>
          <p:cNvPr id="9" name="Rectangle 11"/>
          <p:cNvSpPr>
            <a:spLocks noGrp="1"/>
          </p:cNvSpPr>
          <p:nvPr>
            <p:ph type="body" sz="quarter" idx="14" hasCustomPrompt="1"/>
          </p:nvPr>
        </p:nvSpPr>
        <p:spPr>
          <a:xfrm>
            <a:off x="609600" y="4572000"/>
            <a:ext cx="10363200" cy="838200"/>
          </a:xfrm>
        </p:spPr>
        <p:txBody>
          <a:bodyPr vert="horz" tIns="0"/>
          <a:lstStyle>
            <a:lvl1pPr algn="ctr">
              <a:buFontTx/>
              <a:buNone/>
              <a:defRPr sz="1800">
                <a:solidFill>
                  <a:schemeClr val="tx1">
                    <a:lumMod val="75000"/>
                    <a:lumOff val="25000"/>
                  </a:schemeClr>
                </a:solidFill>
              </a:defRPr>
            </a:lvl1pPr>
            <a:extLst/>
          </a:lstStyle>
          <a:p>
            <a:pPr lvl="0"/>
            <a:r>
              <a:rPr lang="en-US" dirty="0"/>
              <a:t>Click to add subtitle</a:t>
            </a:r>
          </a:p>
        </p:txBody>
      </p:sp>
      <p:sp>
        <p:nvSpPr>
          <p:cNvPr id="10" name="Rectangle 6"/>
          <p:cNvSpPr>
            <a:spLocks noGrp="1"/>
          </p:cNvSpPr>
          <p:nvPr>
            <p:ph type="pic" sz="quarter" idx="11"/>
          </p:nvPr>
        </p:nvSpPr>
        <p:spPr>
          <a:xfrm>
            <a:off x="654491"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1" name="Rectangle 6"/>
          <p:cNvSpPr>
            <a:spLocks noGrp="1"/>
          </p:cNvSpPr>
          <p:nvPr>
            <p:ph type="pic" sz="quarter" idx="15"/>
          </p:nvPr>
        </p:nvSpPr>
        <p:spPr>
          <a:xfrm>
            <a:off x="4238845"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2" name="Rectangle 6"/>
          <p:cNvSpPr>
            <a:spLocks noGrp="1"/>
          </p:cNvSpPr>
          <p:nvPr>
            <p:ph type="pic" sz="quarter" idx="16"/>
          </p:nvPr>
        </p:nvSpPr>
        <p:spPr>
          <a:xfrm>
            <a:off x="7823200"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8"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9" name="Footer Placeholder 4"/>
          <p:cNvSpPr>
            <a:spLocks noGrp="1"/>
          </p:cNvSpPr>
          <p:nvPr>
            <p:ph type="ftr" sz="quarter" idx="17"/>
          </p:nvPr>
        </p:nvSpPr>
        <p:spPr>
          <a:xfrm>
            <a:off x="3962400" y="6553200"/>
            <a:ext cx="3860800" cy="304800"/>
          </a:xfrm>
        </p:spPr>
        <p:txBody>
          <a:bodyPr/>
          <a:lstStyle/>
          <a:p>
            <a:endParaRPr lang="en-US">
              <a:solidFill>
                <a:prstClr val="black">
                  <a:tint val="75000"/>
                </a:prstClr>
              </a:solidFill>
            </a:endParaRPr>
          </a:p>
        </p:txBody>
      </p:sp>
      <p:sp>
        <p:nvSpPr>
          <p:cNvPr id="20"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21" name="Rectangle 20"/>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7500"/>
              </a:solidFill>
            </a:endParaRPr>
          </a:p>
        </p:txBody>
      </p:sp>
      <p:cxnSp>
        <p:nvCxnSpPr>
          <p:cNvPr id="22" name="Straight Connector 21"/>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902824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Portrait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8"/>
          <p:cNvSpPr>
            <a:spLocks noGrp="1"/>
          </p:cNvSpPr>
          <p:nvPr>
            <p:ph type="pic" sz="quarter" idx="13"/>
          </p:nvPr>
        </p:nvSpPr>
        <p:spPr>
          <a:xfrm>
            <a:off x="860936" y="290540"/>
            <a:ext cx="5743065" cy="572926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i="0"/>
              <a:t>按一下圖示以新增圖片</a:t>
            </a:r>
            <a:endParaRPr lang="en-US" i="0" dirty="0"/>
          </a:p>
        </p:txBody>
      </p:sp>
      <p:sp>
        <p:nvSpPr>
          <p:cNvPr id="10" name="Rectangle 6"/>
          <p:cNvSpPr>
            <a:spLocks noGrp="1"/>
          </p:cNvSpPr>
          <p:nvPr>
            <p:ph type="body" sz="quarter" idx="14" hasCustomPrompt="1"/>
          </p:nvPr>
        </p:nvSpPr>
        <p:spPr>
          <a:xfrm>
            <a:off x="7124700" y="2859716"/>
            <a:ext cx="4241800" cy="3181350"/>
          </a:xfrm>
        </p:spPr>
        <p:txBody>
          <a:bodyPr tIns="91440" bIns="91440" anchor="b" anchorCtr="0">
            <a:noAutofit/>
          </a:bodyPr>
          <a:lstStyle>
            <a:lvl1pPr marL="0" marR="0" indent="0" algn="l" rtl="0" latinLnBrk="0">
              <a:spcBef>
                <a:spcPct val="20000"/>
              </a:spcBef>
              <a:buFontTx/>
              <a:buNone/>
              <a:defRPr sz="1800" i="0" baseline="0">
                <a:solidFill>
                  <a:schemeClr val="tx1">
                    <a:lumMod val="75000"/>
                    <a:lumOff val="25000"/>
                  </a:schemeClr>
                </a:solidFill>
                <a:latin typeface="+mn-lt"/>
                <a:ea typeface="+mn-ea"/>
                <a:cs typeface="+mn-cs"/>
              </a:defRPr>
            </a:lvl1pPr>
            <a:extLst/>
          </a:lstStyle>
          <a:p>
            <a:pPr lvl="0"/>
            <a:r>
              <a:rPr lang="en-US" dirty="0"/>
              <a:t>Click to add caption</a:t>
            </a:r>
          </a:p>
        </p:txBody>
      </p:sp>
      <p:grpSp>
        <p:nvGrpSpPr>
          <p:cNvPr id="13" name="Group 12"/>
          <p:cNvGrpSpPr/>
          <p:nvPr userDrawn="1"/>
        </p:nvGrpSpPr>
        <p:grpSpPr>
          <a:xfrm rot="5400000">
            <a:off x="5801032" y="467032"/>
            <a:ext cx="589936" cy="12192000"/>
            <a:chOff x="8524568" y="0"/>
            <a:chExt cx="589936" cy="6858000"/>
          </a:xfrm>
        </p:grpSpPr>
        <p:sp>
          <p:nvSpPr>
            <p:cNvPr id="14" name="Rectangle 13"/>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5" name="Straight Connector 14"/>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6"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7"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8"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615872654"/>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with Title">
    <p:spTree>
      <p:nvGrpSpPr>
        <p:cNvPr id="1" name=""/>
        <p:cNvGrpSpPr/>
        <p:nvPr/>
      </p:nvGrpSpPr>
      <p:grpSpPr>
        <a:xfrm>
          <a:off x="0" y="0"/>
          <a:ext cx="0" cy="0"/>
          <a:chOff x="0" y="0"/>
          <a:chExt cx="0" cy="0"/>
        </a:xfrm>
      </p:grpSpPr>
      <p:sp>
        <p:nvSpPr>
          <p:cNvPr id="8" name="Rectangle 7"/>
          <p:cNvSpPr/>
          <p:nvPr userDrawn="1"/>
        </p:nvSpPr>
        <p:spPr>
          <a:xfrm>
            <a:off x="0" y="6096000"/>
            <a:ext cx="113792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Picture Placeholder 6"/>
          <p:cNvSpPr>
            <a:spLocks noGrp="1"/>
          </p:cNvSpPr>
          <p:nvPr>
            <p:ph type="pic" sz="quarter" idx="10"/>
          </p:nvPr>
        </p:nvSpPr>
        <p:spPr>
          <a:xfrm>
            <a:off x="0" y="0"/>
            <a:ext cx="11379200" cy="6096000"/>
          </a:xfrm>
        </p:spPr>
        <p:txBody>
          <a:bodyPr/>
          <a:lstStyle>
            <a:lvl1pPr algn="ctr">
              <a:buNone/>
              <a:defRPr>
                <a:solidFill>
                  <a:schemeClr val="tx1">
                    <a:lumMod val="85000"/>
                    <a:lumOff val="15000"/>
                  </a:schemeClr>
                </a:solidFill>
              </a:defRPr>
            </a:lvl1pPr>
          </a:lstStyle>
          <a:p>
            <a:r>
              <a:rPr lang="zh-TW" altLang="en-US"/>
              <a:t>按一下圖示以新增圖片</a:t>
            </a:r>
            <a:endParaRPr lang="en-US" dirty="0"/>
          </a:p>
        </p:txBody>
      </p:sp>
      <p:sp>
        <p:nvSpPr>
          <p:cNvPr id="2" name="Title 1"/>
          <p:cNvSpPr>
            <a:spLocks noGrp="1"/>
          </p:cNvSpPr>
          <p:nvPr>
            <p:ph type="title"/>
          </p:nvPr>
        </p:nvSpPr>
        <p:spPr>
          <a:xfrm>
            <a:off x="203200" y="6172200"/>
            <a:ext cx="10972800" cy="571500"/>
          </a:xfrm>
        </p:spPr>
        <p:txBody>
          <a:bodyPr>
            <a:noAutofit/>
          </a:bodyPr>
          <a:lstStyle>
            <a:lvl1pPr algn="l">
              <a:defRPr sz="3600" b="1">
                <a:solidFill>
                  <a:schemeClr val="tx1">
                    <a:lumMod val="85000"/>
                    <a:lumOff val="15000"/>
                  </a:schemeClr>
                </a:solidFill>
              </a:defRPr>
            </a:lvl1pPr>
          </a:lstStyle>
          <a:p>
            <a:r>
              <a:rPr lang="zh-TW" altLang="en-US"/>
              <a:t>按一下以編輯母片標題樣式</a:t>
            </a:r>
            <a:endParaRPr lang="en-US" dirty="0"/>
          </a:p>
        </p:txBody>
      </p:sp>
    </p:spTree>
    <p:extLst>
      <p:ext uri="{BB962C8B-B14F-4D97-AF65-F5344CB8AC3E}">
        <p14:creationId xmlns:p14="http://schemas.microsoft.com/office/powerpoint/2010/main" val="243493601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Full Page Photo with Titl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8" name="Rectangle 6"/>
          <p:cNvSpPr>
            <a:spLocks noGrp="1" noChangeAspect="1"/>
          </p:cNvSpPr>
          <p:nvPr>
            <p:ph type="pic" sz="quarter" idx="13"/>
          </p:nvPr>
        </p:nvSpPr>
        <p:spPr>
          <a:xfrm>
            <a:off x="0" y="0"/>
            <a:ext cx="12192000" cy="6858000"/>
          </a:xfrm>
          <a:no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t">
            <a:normAutofit/>
          </a:bodyPr>
          <a:lstStyle>
            <a:lvl1pPr marL="0" marR="0" indent="0" algn="ctr" rtl="0" latinLnBrk="0">
              <a:spcBef>
                <a:spcPct val="20000"/>
              </a:spcBef>
              <a:buFontTx/>
              <a:buNone/>
              <a:defRPr sz="2400" i="0">
                <a:solidFill>
                  <a:schemeClr val="tx1">
                    <a:lumMod val="75000"/>
                    <a:lumOff val="25000"/>
                  </a:schemeClr>
                </a:solidFill>
                <a:latin typeface="+mn-lt"/>
                <a:ea typeface="+mn-ea"/>
                <a:cs typeface="+mn-cs"/>
              </a:defRPr>
            </a:lvl1pPr>
            <a:extLst/>
          </a:lstStyle>
          <a:p>
            <a:pPr marL="0" marR="0" indent="0" algn="ctr">
              <a:buFontTx/>
              <a:buNone/>
            </a:pPr>
            <a:r>
              <a:rPr lang="zh-TW" altLang="en-US" i="0"/>
              <a:t>按一下圖示以新增圖片</a:t>
            </a:r>
            <a:endParaRPr lang="en-US" i="0" dirty="0"/>
          </a:p>
        </p:txBody>
      </p:sp>
      <p:sp>
        <p:nvSpPr>
          <p:cNvPr id="12" name="Text Placeholder 10"/>
          <p:cNvSpPr>
            <a:spLocks noGrp="1"/>
          </p:cNvSpPr>
          <p:nvPr>
            <p:ph type="body" sz="quarter" idx="14" hasCustomPrompt="1"/>
          </p:nvPr>
        </p:nvSpPr>
        <p:spPr>
          <a:xfrm>
            <a:off x="6807200" y="5257801"/>
            <a:ext cx="5384800" cy="505047"/>
          </a:xfrm>
          <a:solidFill>
            <a:schemeClr val="tx1">
              <a:alpha val="46000"/>
            </a:schemeClr>
          </a:solidFill>
        </p:spPr>
        <p:txBody>
          <a:bodyPr>
            <a:normAutofit/>
          </a:bodyPr>
          <a:lstStyle>
            <a:lvl1pPr>
              <a:buNone/>
              <a:defRPr sz="2800" baseline="0">
                <a:solidFill>
                  <a:schemeClr val="bg1"/>
                </a:solidFill>
              </a:defRPr>
            </a:lvl1pPr>
          </a:lstStyle>
          <a:p>
            <a:pPr lvl="0"/>
            <a:r>
              <a:rPr lang="en-US" dirty="0"/>
              <a:t>Click to add Title</a:t>
            </a:r>
          </a:p>
        </p:txBody>
      </p:sp>
    </p:spTree>
    <p:extLst>
      <p:ext uri="{BB962C8B-B14F-4D97-AF65-F5344CB8AC3E}">
        <p14:creationId xmlns:p14="http://schemas.microsoft.com/office/powerpoint/2010/main" val="156075964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with Color">
    <p:spTree>
      <p:nvGrpSpPr>
        <p:cNvPr id="1" name=""/>
        <p:cNvGrpSpPr/>
        <p:nvPr/>
      </p:nvGrpSpPr>
      <p:grpSpPr>
        <a:xfrm>
          <a:off x="0" y="0"/>
          <a:ext cx="0" cy="0"/>
          <a:chOff x="0" y="0"/>
          <a:chExt cx="0" cy="0"/>
        </a:xfrm>
      </p:grpSpPr>
      <p:sp>
        <p:nvSpPr>
          <p:cNvPr id="5"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7"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6013732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空白">
    <p:bg>
      <p:bgRef idx="1001">
        <a:schemeClr val="bg1"/>
      </p:bgRef>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F934E2-BBB6-4D34-BB01-078E9AA25260}" type="datetimeFigureOut">
              <a:rPr lang="en-US" smtClean="0">
                <a:solidFill>
                  <a:srgbClr val="000000">
                    <a:lumMod val="50000"/>
                    <a:lumOff val="50000"/>
                  </a:srgbClr>
                </a:solidFill>
              </a:rPr>
              <a:pPr/>
              <a:t>1/7/2021</a:t>
            </a:fld>
            <a:endParaRPr lang="en-US" dirty="0">
              <a:solidFill>
                <a:srgbClr val="000000">
                  <a:lumMod val="50000"/>
                  <a:lumOff val="50000"/>
                </a:srgbClr>
              </a:solidFill>
            </a:endParaRPr>
          </a:p>
        </p:txBody>
      </p:sp>
      <p:sp>
        <p:nvSpPr>
          <p:cNvPr id="3" name="Footer Placeholder 2"/>
          <p:cNvSpPr>
            <a:spLocks noGrp="1"/>
          </p:cNvSpPr>
          <p:nvPr>
            <p:ph type="ftr" sz="quarter" idx="11"/>
          </p:nvPr>
        </p:nvSpPr>
        <p:spPr/>
        <p:txBody>
          <a:bodyPr/>
          <a:lstStyle/>
          <a:p>
            <a:endParaRPr lang="en-US" dirty="0">
              <a:solidFill>
                <a:srgbClr val="000000">
                  <a:lumMod val="50000"/>
                  <a:lumOff val="50000"/>
                </a:srgbClr>
              </a:solidFill>
            </a:endParaRPr>
          </a:p>
        </p:txBody>
      </p:sp>
      <p:sp>
        <p:nvSpPr>
          <p:cNvPr id="4" name="Slide Number Placeholder 3"/>
          <p:cNvSpPr>
            <a:spLocks noGrp="1"/>
          </p:cNvSpPr>
          <p:nvPr>
            <p:ph type="sldNum" sz="quarter" idx="12"/>
          </p:nvPr>
        </p:nvSpPr>
        <p:spPr/>
        <p:txBody>
          <a:bodyPr/>
          <a:lstStyle/>
          <a:p>
            <a:fld id="{73820FCD-5F4C-4989-BE05-0A8208BCBC21}" type="slidenum">
              <a:rPr lang="en-US" smtClean="0">
                <a:solidFill>
                  <a:srgbClr val="40BAD2"/>
                </a:solidFill>
              </a:rPr>
              <a:pPr/>
              <a:t>‹#›</a:t>
            </a:fld>
            <a:endParaRPr lang="en-US" dirty="0">
              <a:solidFill>
                <a:srgbClr val="40BAD2"/>
              </a:solidFill>
            </a:endParaRPr>
          </a:p>
        </p:txBody>
      </p:sp>
    </p:spTree>
    <p:extLst>
      <p:ext uri="{BB962C8B-B14F-4D97-AF65-F5344CB8AC3E}">
        <p14:creationId xmlns:p14="http://schemas.microsoft.com/office/powerpoint/2010/main" val="2959874788"/>
      </p:ext>
    </p:extLst>
  </p:cSld>
  <p:clrMapOvr>
    <a:overrideClrMapping bg1="lt1" tx1="dk1" bg2="lt2" tx2="dk2" accent1="accent1" accent2="accent2" accent3="accent3" accent4="accent4" accent5="accent5" accent6="accent6" hlink="hlink" folHlink="folHlink"/>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_含標題的內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4258733" y="1066801"/>
            <a:ext cx="6815667" cy="46783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Text Placeholder 3"/>
          <p:cNvSpPr>
            <a:spLocks noGrp="1"/>
          </p:cNvSpPr>
          <p:nvPr>
            <p:ph type="body" sz="half" idx="2"/>
          </p:nvPr>
        </p:nvSpPr>
        <p:spPr>
          <a:xfrm>
            <a:off x="1219200" y="1066801"/>
            <a:ext cx="3149600" cy="4373563"/>
          </a:xfrm>
        </p:spPr>
        <p:txBody>
          <a:bodyPr>
            <a:normAutofit/>
          </a:bodyPr>
          <a:lstStyle>
            <a:lvl1pPr marL="0" indent="0">
              <a:lnSpc>
                <a:spcPts val="1600"/>
              </a:lnSpc>
              <a:buNone/>
              <a:defRPr sz="12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12" name="Slide Number Placeholder 11"/>
          <p:cNvSpPr>
            <a:spLocks noGrp="1"/>
          </p:cNvSpPr>
          <p:nvPr>
            <p:ph type="sldNum" sz="quarter" idx="14"/>
          </p:nvPr>
        </p:nvSpPr>
        <p:spPr/>
        <p:txBody>
          <a:bodyPr/>
          <a:lstStyle/>
          <a:p>
            <a:fld id="{81582BD6-FC20-4557-852B-8433F8572D30}" type="slidenum">
              <a:rPr lang="en-US" smtClean="0">
                <a:solidFill>
                  <a:srgbClr val="40BAD2"/>
                </a:solidFill>
              </a:rPr>
              <a:pPr/>
              <a:t>‹#›</a:t>
            </a:fld>
            <a:endParaRPr lang="en-US" dirty="0">
              <a:solidFill>
                <a:srgbClr val="40BAD2"/>
              </a:solidFill>
            </a:endParaRPr>
          </a:p>
        </p:txBody>
      </p:sp>
      <p:sp>
        <p:nvSpPr>
          <p:cNvPr id="13" name="Footer Placeholder 12"/>
          <p:cNvSpPr>
            <a:spLocks noGrp="1"/>
          </p:cNvSpPr>
          <p:nvPr>
            <p:ph type="ftr" sz="quarter" idx="15"/>
          </p:nvPr>
        </p:nvSpPr>
        <p:spPr/>
        <p:txBody>
          <a:bodyPr/>
          <a:lstStyle/>
          <a:p>
            <a:endParaRPr lang="en-US" dirty="0">
              <a:solidFill>
                <a:srgbClr val="000000">
                  <a:lumMod val="50000"/>
                  <a:lumOff val="50000"/>
                </a:srgbClr>
              </a:solidFill>
            </a:endParaRPr>
          </a:p>
        </p:txBody>
      </p:sp>
      <p:sp>
        <p:nvSpPr>
          <p:cNvPr id="14" name="Title 13"/>
          <p:cNvSpPr>
            <a:spLocks noGrp="1"/>
          </p:cNvSpPr>
          <p:nvPr>
            <p:ph type="title"/>
          </p:nvPr>
        </p:nvSpPr>
        <p:spPr>
          <a:xfrm>
            <a:off x="711200" y="198438"/>
            <a:ext cx="10972800" cy="639763"/>
          </a:xfrm>
        </p:spPr>
        <p:txBody>
          <a:bodyPr/>
          <a:lstStyle>
            <a:lvl1pPr algn="ctr">
              <a:defRPr>
                <a:solidFill>
                  <a:schemeClr val="bg1"/>
                </a:solidFill>
              </a:defRPr>
            </a:lvl1pPr>
          </a:lstStyle>
          <a:p>
            <a:r>
              <a:rPr lang="zh-TW" altLang="en-US"/>
              <a:t>按一下以編輯母片標題樣式</a:t>
            </a:r>
            <a:endParaRPr lang="en-US" dirty="0"/>
          </a:p>
        </p:txBody>
      </p:sp>
    </p:spTree>
    <p:extLst>
      <p:ext uri="{BB962C8B-B14F-4D97-AF65-F5344CB8AC3E}">
        <p14:creationId xmlns:p14="http://schemas.microsoft.com/office/powerpoint/2010/main" val="4497973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3" y="761999"/>
            <a:ext cx="2925318"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zh-TW" altLang="en-US"/>
              <a:t>按一下以編輯母片標題樣式</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zh-TW" altLang="en-US"/>
              <a:t>按一下以編輯母片副標題樣式</a:t>
            </a:r>
            <a:endParaRPr lang="en-US" dirty="0"/>
          </a:p>
        </p:txBody>
      </p:sp>
      <p:sp>
        <p:nvSpPr>
          <p:cNvPr id="4" name="Date Placeholder 3"/>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245958455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Content Placeholder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24332553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zh-TW" altLang="en-US"/>
              <a:t>按一下以編輯母片標題樣式</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4" name="Date Placeholder 3"/>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13722297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8" name="Date Placeholder 7"/>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9" name="Footer Placeholder 8"/>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7115546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andscape with Transparent Caption">
    <p:spTree>
      <p:nvGrpSpPr>
        <p:cNvPr id="1" name=""/>
        <p:cNvGrpSpPr/>
        <p:nvPr/>
      </p:nvGrpSpPr>
      <p:grpSpPr>
        <a:xfrm>
          <a:off x="0" y="0"/>
          <a:ext cx="0" cy="0"/>
          <a:chOff x="0" y="0"/>
          <a:chExt cx="0" cy="0"/>
        </a:xfrm>
      </p:grpSpPr>
      <p:sp>
        <p:nvSpPr>
          <p:cNvPr id="6" name="Rectangle 9"/>
          <p:cNvSpPr>
            <a:spLocks noGrp="1" noChangeAspect="1"/>
          </p:cNvSpPr>
          <p:nvPr>
            <p:ph type="pic" sz="quarter" idx="14"/>
          </p:nvPr>
        </p:nvSpPr>
        <p:spPr>
          <a:xfrm>
            <a:off x="1524000" y="762000"/>
            <a:ext cx="8398933" cy="47244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9"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0"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1"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2" name="Rectangle 11"/>
          <p:cNvSpPr/>
          <p:nvPr userDrawn="1"/>
        </p:nvSpPr>
        <p:spPr>
          <a:xfrm>
            <a:off x="1560221" y="5669280"/>
            <a:ext cx="8396579" cy="731520"/>
          </a:xfrm>
          <a:prstGeom prst="rect">
            <a:avLst/>
          </a:prstGeom>
          <a:noFill/>
          <a:ln w="38100">
            <a:solidFill>
              <a:schemeClr val="tx1">
                <a:lumMod val="95000"/>
                <a:lumOff val="5000"/>
                <a:alpha val="5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5" name="Text Placeholder 14"/>
          <p:cNvSpPr>
            <a:spLocks noGrp="1"/>
          </p:cNvSpPr>
          <p:nvPr>
            <p:ph type="body" sz="quarter" idx="16" hasCustomPrompt="1"/>
          </p:nvPr>
        </p:nvSpPr>
        <p:spPr>
          <a:xfrm>
            <a:off x="1625602" y="5715005"/>
            <a:ext cx="8255591" cy="632637"/>
          </a:xfrm>
          <a:solidFill>
            <a:schemeClr val="tx1">
              <a:alpha val="35000"/>
            </a:schemeClr>
          </a:solidFill>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3000" b="1" kern="1200" dirty="0" smtClean="0">
                <a:solidFill>
                  <a:schemeClr val="tx1">
                    <a:lumMod val="85000"/>
                    <a:lumOff val="15000"/>
                  </a:schemeClr>
                </a:solidFill>
                <a:latin typeface="Arial" pitchFamily="34" charset="0"/>
                <a:ea typeface="+mn-ea"/>
                <a:cs typeface="Arial" pitchFamily="34" charset="0"/>
              </a:defRPr>
            </a:lvl1pPr>
          </a:lstStyle>
          <a:p>
            <a:pPr lvl="0"/>
            <a:r>
              <a:rPr lang="en-US" dirty="0"/>
              <a:t>Click to add title</a:t>
            </a:r>
          </a:p>
        </p:txBody>
      </p:sp>
    </p:spTree>
    <p:extLst>
      <p:ext uri="{BB962C8B-B14F-4D97-AF65-F5344CB8AC3E}">
        <p14:creationId xmlns:p14="http://schemas.microsoft.com/office/powerpoint/2010/main" val="369906917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zh-TW" altLang="en-US"/>
              <a:t>按一下以編輯母片標題樣式</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2" name="Date Placeholder 1"/>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11" name="Footer Placeholder 10"/>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12" name="Slide Number Placeholder 11"/>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9370704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zh-TW" altLang="en-US"/>
              <a:t>按一下以編輯母片標題樣式</a:t>
            </a:r>
            <a:endParaRPr lang="en-US" dirty="0"/>
          </a:p>
        </p:txBody>
      </p:sp>
      <p:sp>
        <p:nvSpPr>
          <p:cNvPr id="2" name="Date Placeholder 1"/>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7" name="Footer Placeholder 6"/>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8" name="Slide Number Placeholder 7"/>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367463640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6" name="Footer Placeholder 5"/>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7" name="Slide Number Placeholder 6"/>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423966295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zh-TW" altLang="en-US"/>
              <a:t>按一下以編輯母片標題樣式</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8" name="Date Placeholder 7"/>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9" name="Footer Placeholder 8"/>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3095944428"/>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zh-TW" altLang="en-US"/>
              <a:t>按一下以編輯母片標題樣式</a:t>
            </a:r>
            <a:endParaRPr lang="en-US" dirty="0"/>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8" name="Date Placeholder 7"/>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9" name="Footer Placeholder 8"/>
          <p:cNvSpPr>
            <a:spLocks noGrp="1"/>
          </p:cNvSpPr>
          <p:nvPr>
            <p:ph type="ftr" sz="quarter" idx="11"/>
          </p:nvPr>
        </p:nvSpPr>
        <p:spPr>
          <a:xfrm>
            <a:off x="3499101" y="6356350"/>
            <a:ext cx="5911517" cy="365125"/>
          </a:xfrm>
        </p:spPr>
        <p:txBody>
          <a:bodyPr/>
          <a:lstStyle/>
          <a:p>
            <a:endParaRPr lang="en-US" dirty="0">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161012768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Vertical Text Placeholder 2"/>
          <p:cNvSpPr>
            <a:spLocks noGrp="1"/>
          </p:cNvSpPr>
          <p:nvPr>
            <p:ph type="body" orient="vert" idx="1"/>
          </p:nvPr>
        </p:nvSpPr>
        <p:spPr/>
        <p:txBody>
          <a:bodyPr vert="eaVert" ancho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7" name="Date Placeholder 6"/>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8" name="Footer Placeholder 7"/>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9" name="Slide Number Placeholder 8"/>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254732164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zh-TW" altLang="en-US"/>
              <a:t>按一下以編輯母片標題樣式</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7" name="Date Placeholder 6"/>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8" name="Footer Placeholder 7"/>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9" name="Slide Number Placeholder 8"/>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409258360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userDrawn="1">
  <p:cSld name="Photo Grid with Captions">
    <p:bg>
      <p:bgRef idx="1001">
        <a:schemeClr val="bg1"/>
      </p:bgRef>
    </p:bg>
    <p:spTree>
      <p:nvGrpSpPr>
        <p:cNvPr id="1" name=""/>
        <p:cNvGrpSpPr/>
        <p:nvPr/>
      </p:nvGrpSpPr>
      <p:grpSpPr>
        <a:xfrm>
          <a:off x="0" y="0"/>
          <a:ext cx="0" cy="0"/>
          <a:chOff x="0" y="0"/>
          <a:chExt cx="0" cy="0"/>
        </a:xfrm>
      </p:grpSpPr>
      <p:sp>
        <p:nvSpPr>
          <p:cNvPr id="65" name="Rectangle 64"/>
          <p:cNvSpPr/>
          <p:nvPr userDrawn="1"/>
        </p:nvSpPr>
        <p:spPr>
          <a:xfrm>
            <a:off x="6197600" y="45582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Text Placeholder 25"/>
          <p:cNvSpPr>
            <a:spLocks noGrp="1"/>
          </p:cNvSpPr>
          <p:nvPr>
            <p:ph type="body" sz="quarter" idx="31" hasCustomPrompt="1"/>
          </p:nvPr>
        </p:nvSpPr>
        <p:spPr>
          <a:xfrm>
            <a:off x="6299200" y="47106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67" name="Text Placeholder 28"/>
          <p:cNvSpPr>
            <a:spLocks noGrp="1"/>
          </p:cNvSpPr>
          <p:nvPr>
            <p:ph type="body" sz="quarter" idx="32" hasCustomPrompt="1"/>
          </p:nvPr>
        </p:nvSpPr>
        <p:spPr>
          <a:xfrm>
            <a:off x="6299200" y="51678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33" name="Rectangle 32"/>
          <p:cNvSpPr/>
          <p:nvPr userDrawn="1"/>
        </p:nvSpPr>
        <p:spPr>
          <a:xfrm>
            <a:off x="6197600" y="2910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Text Placeholder 25"/>
          <p:cNvSpPr>
            <a:spLocks noGrp="1"/>
          </p:cNvSpPr>
          <p:nvPr>
            <p:ph type="body" sz="quarter" idx="19" hasCustomPrompt="1"/>
          </p:nvPr>
        </p:nvSpPr>
        <p:spPr>
          <a:xfrm>
            <a:off x="6299200" y="4434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35" name="Text Placeholder 28"/>
          <p:cNvSpPr>
            <a:spLocks noGrp="1"/>
          </p:cNvSpPr>
          <p:nvPr>
            <p:ph type="body" sz="quarter" idx="20" hasCustomPrompt="1"/>
          </p:nvPr>
        </p:nvSpPr>
        <p:spPr>
          <a:xfrm>
            <a:off x="6299200" y="9006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27" name="Rectangle 26"/>
          <p:cNvSpPr/>
          <p:nvPr userDrawn="1"/>
        </p:nvSpPr>
        <p:spPr>
          <a:xfrm>
            <a:off x="304800" y="2910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Picture Placeholder 11"/>
          <p:cNvSpPr>
            <a:spLocks noGrp="1"/>
          </p:cNvSpPr>
          <p:nvPr>
            <p:ph type="pic" sz="quarter" idx="13"/>
          </p:nvPr>
        </p:nvSpPr>
        <p:spPr>
          <a:xfrm>
            <a:off x="3251200" y="2910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24" name="Picture Placeholder 11"/>
          <p:cNvSpPr>
            <a:spLocks noGrp="1"/>
          </p:cNvSpPr>
          <p:nvPr>
            <p:ph type="pic" sz="quarter" idx="16"/>
          </p:nvPr>
        </p:nvSpPr>
        <p:spPr>
          <a:xfrm>
            <a:off x="9144000" y="2910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26" name="Text Placeholder 25"/>
          <p:cNvSpPr>
            <a:spLocks noGrp="1"/>
          </p:cNvSpPr>
          <p:nvPr>
            <p:ph type="body" sz="quarter" idx="17" hasCustomPrompt="1"/>
          </p:nvPr>
        </p:nvSpPr>
        <p:spPr>
          <a:xfrm>
            <a:off x="406400" y="4434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29" name="Text Placeholder 28"/>
          <p:cNvSpPr>
            <a:spLocks noGrp="1"/>
          </p:cNvSpPr>
          <p:nvPr>
            <p:ph type="body" sz="quarter" idx="18" hasCustomPrompt="1"/>
          </p:nvPr>
        </p:nvSpPr>
        <p:spPr>
          <a:xfrm>
            <a:off x="406400" y="9006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52" name="Rectangle 51"/>
          <p:cNvSpPr/>
          <p:nvPr userDrawn="1"/>
        </p:nvSpPr>
        <p:spPr>
          <a:xfrm>
            <a:off x="3254476" y="24246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Picture Placeholder 11"/>
          <p:cNvSpPr>
            <a:spLocks noGrp="1"/>
          </p:cNvSpPr>
          <p:nvPr>
            <p:ph type="pic" sz="quarter" idx="21"/>
          </p:nvPr>
        </p:nvSpPr>
        <p:spPr>
          <a:xfrm>
            <a:off x="304800"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54" name="Picture Placeholder 11"/>
          <p:cNvSpPr>
            <a:spLocks noGrp="1"/>
          </p:cNvSpPr>
          <p:nvPr>
            <p:ph type="pic" sz="quarter" idx="22"/>
          </p:nvPr>
        </p:nvSpPr>
        <p:spPr>
          <a:xfrm>
            <a:off x="6200876"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55" name="Text Placeholder 25"/>
          <p:cNvSpPr>
            <a:spLocks noGrp="1"/>
          </p:cNvSpPr>
          <p:nvPr>
            <p:ph type="body" sz="quarter" idx="23" hasCustomPrompt="1"/>
          </p:nvPr>
        </p:nvSpPr>
        <p:spPr>
          <a:xfrm>
            <a:off x="3356076" y="25770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56" name="Text Placeholder 28"/>
          <p:cNvSpPr>
            <a:spLocks noGrp="1"/>
          </p:cNvSpPr>
          <p:nvPr>
            <p:ph type="body" sz="quarter" idx="24" hasCustomPrompt="1"/>
          </p:nvPr>
        </p:nvSpPr>
        <p:spPr>
          <a:xfrm>
            <a:off x="3356076" y="30342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left</a:t>
            </a:r>
          </a:p>
        </p:txBody>
      </p:sp>
      <p:sp>
        <p:nvSpPr>
          <p:cNvPr id="57" name="Rectangle 56"/>
          <p:cNvSpPr/>
          <p:nvPr userDrawn="1"/>
        </p:nvSpPr>
        <p:spPr>
          <a:xfrm>
            <a:off x="9147276" y="24246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Text Placeholder 25"/>
          <p:cNvSpPr>
            <a:spLocks noGrp="1"/>
          </p:cNvSpPr>
          <p:nvPr>
            <p:ph type="body" sz="quarter" idx="25" hasCustomPrompt="1"/>
          </p:nvPr>
        </p:nvSpPr>
        <p:spPr>
          <a:xfrm>
            <a:off x="9248876" y="25770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59" name="Text Placeholder 28"/>
          <p:cNvSpPr>
            <a:spLocks noGrp="1"/>
          </p:cNvSpPr>
          <p:nvPr>
            <p:ph type="body" sz="quarter" idx="26" hasCustomPrompt="1"/>
          </p:nvPr>
        </p:nvSpPr>
        <p:spPr>
          <a:xfrm>
            <a:off x="9248876" y="30342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left</a:t>
            </a:r>
          </a:p>
        </p:txBody>
      </p:sp>
      <p:sp>
        <p:nvSpPr>
          <p:cNvPr id="60" name="Rectangle 59"/>
          <p:cNvSpPr/>
          <p:nvPr userDrawn="1"/>
        </p:nvSpPr>
        <p:spPr>
          <a:xfrm>
            <a:off x="304800" y="45582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Picture Placeholder 11"/>
          <p:cNvSpPr>
            <a:spLocks noGrp="1"/>
          </p:cNvSpPr>
          <p:nvPr>
            <p:ph type="pic" sz="quarter" idx="27"/>
          </p:nvPr>
        </p:nvSpPr>
        <p:spPr>
          <a:xfrm>
            <a:off x="3247923"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62" name="Picture Placeholder 11"/>
          <p:cNvSpPr>
            <a:spLocks noGrp="1"/>
          </p:cNvSpPr>
          <p:nvPr>
            <p:ph type="pic" sz="quarter" idx="28"/>
          </p:nvPr>
        </p:nvSpPr>
        <p:spPr>
          <a:xfrm>
            <a:off x="9140723"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63" name="Text Placeholder 25"/>
          <p:cNvSpPr>
            <a:spLocks noGrp="1"/>
          </p:cNvSpPr>
          <p:nvPr>
            <p:ph type="body" sz="quarter" idx="29" hasCustomPrompt="1"/>
          </p:nvPr>
        </p:nvSpPr>
        <p:spPr>
          <a:xfrm>
            <a:off x="406400" y="47106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64" name="Text Placeholder 28"/>
          <p:cNvSpPr>
            <a:spLocks noGrp="1"/>
          </p:cNvSpPr>
          <p:nvPr>
            <p:ph type="body" sz="quarter" idx="30" hasCustomPrompt="1"/>
          </p:nvPr>
        </p:nvSpPr>
        <p:spPr>
          <a:xfrm>
            <a:off x="406400" y="51678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28" name="Date Placeholder 6"/>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30" name="Footer Placeholder 7"/>
          <p:cNvSpPr>
            <a:spLocks noGrp="1"/>
          </p:cNvSpPr>
          <p:nvPr>
            <p:ph type="ftr" sz="quarter" idx="11"/>
          </p:nvPr>
        </p:nvSpPr>
        <p:spPr>
          <a:xfrm>
            <a:off x="4165600" y="6553200"/>
            <a:ext cx="3860800" cy="304800"/>
          </a:xfrm>
        </p:spPr>
        <p:txBody>
          <a:bodyPr/>
          <a:lstStyle/>
          <a:p>
            <a:endParaRPr lang="en-US">
              <a:solidFill>
                <a:prstClr val="black">
                  <a:tint val="75000"/>
                </a:prstClr>
              </a:solidFill>
            </a:endParaRPr>
          </a:p>
        </p:txBody>
      </p:sp>
      <p:sp>
        <p:nvSpPr>
          <p:cNvPr id="31" name="Slide Number Placeholder 8"/>
          <p:cNvSpPr>
            <a:spLocks noGrp="1"/>
          </p:cNvSpPr>
          <p:nvPr>
            <p:ph type="sldNum" sz="quarter" idx="12"/>
          </p:nvPr>
        </p:nvSpPr>
        <p:spPr>
          <a:xfrm>
            <a:off x="8737600" y="6553200"/>
            <a:ext cx="28448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1128972"/>
      </p:ext>
    </p:extLst>
  </p:cSld>
  <p:clrMapOvr>
    <a:overrideClrMapping bg1="lt1" tx1="dk1" bg2="lt2" tx2="dk2" accent1="accent1" accent2="accent2" accent3="accent3" accent4="accent4" accent5="accent5" accent6="accent6" hlink="hlink" folHlink="folHlink"/>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Album Cover">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1277600" cy="6858000"/>
          </a:xfrm>
          <a:prstGeom prst="rect">
            <a:avLst/>
          </a:prstGeom>
        </p:spPr>
      </p:pic>
      <p:sp>
        <p:nvSpPr>
          <p:cNvPr id="11" name="Text Placeholder 10"/>
          <p:cNvSpPr>
            <a:spLocks noGrp="1"/>
          </p:cNvSpPr>
          <p:nvPr>
            <p:ph type="body" sz="quarter" idx="14" hasCustomPrompt="1"/>
          </p:nvPr>
        </p:nvSpPr>
        <p:spPr>
          <a:xfrm>
            <a:off x="3934609" y="1191151"/>
            <a:ext cx="6583680" cy="983431"/>
          </a:xfrm>
          <a:solidFill>
            <a:schemeClr val="tx1">
              <a:lumMod val="95000"/>
              <a:lumOff val="5000"/>
              <a:alpha val="64000"/>
            </a:schemeClr>
          </a:solidFill>
          <a:ln w="38100" cmpd="dbl">
            <a:noFill/>
          </a:ln>
        </p:spPr>
        <p:txBody>
          <a:bodyPr tIns="137160" anchor="ctr" anchorCtr="0">
            <a:normAutofit/>
          </a:bodyPr>
          <a:lstStyle>
            <a:lvl1pPr algn="ctr">
              <a:buNone/>
              <a:defRPr sz="3200" b="1" baseline="0">
                <a:solidFill>
                  <a:schemeClr val="bg1"/>
                </a:solidFill>
              </a:defRPr>
            </a:lvl1pPr>
          </a:lstStyle>
          <a:p>
            <a:pPr lvl="0"/>
            <a:r>
              <a:rPr lang="en-US" dirty="0"/>
              <a:t>Click to add Master title</a:t>
            </a:r>
          </a:p>
        </p:txBody>
      </p:sp>
      <p:sp>
        <p:nvSpPr>
          <p:cNvPr id="7" name="Rectangle 6"/>
          <p:cNvSpPr/>
          <p:nvPr userDrawn="1"/>
        </p:nvSpPr>
        <p:spPr>
          <a:xfrm>
            <a:off x="3875964" y="1143000"/>
            <a:ext cx="6705600" cy="1066800"/>
          </a:xfrm>
          <a:prstGeom prst="rect">
            <a:avLst/>
          </a:prstGeom>
          <a:noFill/>
          <a:ln w="38100">
            <a:solidFill>
              <a:schemeClr val="tx1">
                <a:lumMod val="95000"/>
                <a:lumOff val="5000"/>
                <a:alpha val="5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9514686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30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Album Section ">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2" name="Title 1"/>
          <p:cNvSpPr>
            <a:spLocks noGrp="1"/>
          </p:cNvSpPr>
          <p:nvPr>
            <p:ph type="title"/>
          </p:nvPr>
        </p:nvSpPr>
        <p:spPr>
          <a:xfrm>
            <a:off x="812800" y="4646840"/>
            <a:ext cx="10363200" cy="1362075"/>
          </a:xfrm>
        </p:spPr>
        <p:txBody>
          <a:bodyPr anchor="t"/>
          <a:lstStyle>
            <a:lvl1pPr algn="l">
              <a:defRPr sz="4000" b="1" cap="all">
                <a:solidFill>
                  <a:schemeClr val="tx1">
                    <a:lumMod val="85000"/>
                    <a:lumOff val="15000"/>
                  </a:schemeClr>
                </a:solidFill>
              </a:defRPr>
            </a:lvl1pPr>
          </a:lstStyle>
          <a:p>
            <a:r>
              <a:rPr lang="zh-TW" altLang="en-US"/>
              <a:t>按一下以編輯母片標題樣式</a:t>
            </a:r>
            <a:endParaRPr lang="en-US" dirty="0"/>
          </a:p>
        </p:txBody>
      </p:sp>
      <p:sp>
        <p:nvSpPr>
          <p:cNvPr id="3" name="Text Placeholder 2"/>
          <p:cNvSpPr>
            <a:spLocks noGrp="1"/>
          </p:cNvSpPr>
          <p:nvPr>
            <p:ph type="body" idx="1"/>
          </p:nvPr>
        </p:nvSpPr>
        <p:spPr>
          <a:xfrm>
            <a:off x="812800" y="314665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9"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0"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1"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62104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ndscape with Caption">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 y="0"/>
            <a:ext cx="5072063" cy="6858000"/>
          </a:xfrm>
          <a:prstGeom prst="rect">
            <a:avLst/>
          </a:prstGeom>
        </p:spPr>
      </p:pic>
      <p:sp>
        <p:nvSpPr>
          <p:cNvPr id="5"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9"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2" name="Rectangle 9"/>
          <p:cNvSpPr>
            <a:spLocks noGrp="1" noChangeAspect="1"/>
          </p:cNvSpPr>
          <p:nvPr>
            <p:ph type="pic" sz="quarter" idx="14"/>
          </p:nvPr>
        </p:nvSpPr>
        <p:spPr>
          <a:xfrm>
            <a:off x="1659468" y="304800"/>
            <a:ext cx="8398933" cy="4724400"/>
          </a:xfrm>
          <a:solidFill>
            <a:schemeClr val="bg1">
              <a:lumMod val="95000"/>
            </a:schemeClr>
          </a:solid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t"/>
          <a:lstStyle>
            <a:lvl1pPr marL="0" marR="0" indent="1588" algn="ctr" rtl="0" latinLnBrk="0">
              <a:spcBef>
                <a:spcPct val="20000"/>
              </a:spcBef>
              <a:buFontTx/>
              <a:buNone/>
              <a:defRPr lang="en-US" sz="2800" i="0" smtClean="0">
                <a:solidFill>
                  <a:schemeClr val="tx1">
                    <a:lumMod val="50000"/>
                    <a:lumOff val="50000"/>
                  </a:schemeClr>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14" name="Text Placeholder 13"/>
          <p:cNvSpPr>
            <a:spLocks noGrp="1"/>
          </p:cNvSpPr>
          <p:nvPr>
            <p:ph type="body" sz="quarter" idx="15" hasCustomPrompt="1"/>
          </p:nvPr>
        </p:nvSpPr>
        <p:spPr>
          <a:xfrm>
            <a:off x="609600" y="5181600"/>
            <a:ext cx="10464800" cy="457200"/>
          </a:xfrm>
        </p:spPr>
        <p:txBody>
          <a:bodyPr>
            <a:normAutofit/>
          </a:bodyPr>
          <a:lstStyle>
            <a:lvl1pPr>
              <a:buNone/>
              <a:defRPr sz="2400" b="1" baseline="0">
                <a:solidFill>
                  <a:srgbClr val="FC7500"/>
                </a:solidFill>
              </a:defRPr>
            </a:lvl1pPr>
          </a:lstStyle>
          <a:p>
            <a:pPr lvl="0"/>
            <a:r>
              <a:rPr lang="en-US" dirty="0"/>
              <a:t>Click to add title</a:t>
            </a:r>
          </a:p>
        </p:txBody>
      </p:sp>
      <p:sp>
        <p:nvSpPr>
          <p:cNvPr id="16" name="Text Placeholder 15"/>
          <p:cNvSpPr>
            <a:spLocks noGrp="1"/>
          </p:cNvSpPr>
          <p:nvPr>
            <p:ph type="body" sz="quarter" idx="16" hasCustomPrompt="1"/>
          </p:nvPr>
        </p:nvSpPr>
        <p:spPr>
          <a:xfrm>
            <a:off x="609600" y="5715000"/>
            <a:ext cx="10464800" cy="685800"/>
          </a:xfrm>
        </p:spPr>
        <p:txBody>
          <a:bodyPr>
            <a:noAutofit/>
          </a:bodyPr>
          <a:lstStyle>
            <a:lvl1pPr>
              <a:buNone/>
              <a:defRPr sz="1800" baseline="0">
                <a:solidFill>
                  <a:schemeClr val="tx1">
                    <a:lumMod val="75000"/>
                    <a:lumOff val="25000"/>
                  </a:schemeClr>
                </a:solidFill>
              </a:defRPr>
            </a:lvl1pPr>
          </a:lstStyle>
          <a:p>
            <a:pPr lvl="0"/>
            <a:r>
              <a:rPr lang="en-US" dirty="0"/>
              <a:t>Click to add text</a:t>
            </a:r>
          </a:p>
        </p:txBody>
      </p:sp>
    </p:spTree>
    <p:extLst>
      <p:ext uri="{BB962C8B-B14F-4D97-AF65-F5344CB8AC3E}">
        <p14:creationId xmlns:p14="http://schemas.microsoft.com/office/powerpoint/2010/main" val="40411730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lbum Section with 3 Portrait">
    <p:bg>
      <p:bgPr>
        <a:solidFill>
          <a:schemeClr val="bg1">
            <a:lumMod val="95000"/>
          </a:schemeClr>
        </a:solidFill>
        <a:effectLst/>
      </p:bgPr>
    </p:bg>
    <p:spTree>
      <p:nvGrpSpPr>
        <p:cNvPr id="1" name=""/>
        <p:cNvGrpSpPr/>
        <p:nvPr/>
      </p:nvGrpSpPr>
      <p:grpSpPr>
        <a:xfrm>
          <a:off x="0" y="0"/>
          <a:ext cx="0" cy="0"/>
          <a:chOff x="0" y="0"/>
          <a:chExt cx="0" cy="0"/>
        </a:xfrm>
      </p:grpSpPr>
      <p:sp>
        <p:nvSpPr>
          <p:cNvPr id="8" name="Rectangle 2"/>
          <p:cNvSpPr>
            <a:spLocks noGrp="1"/>
          </p:cNvSpPr>
          <p:nvPr>
            <p:ph type="title" hasCustomPrompt="1"/>
          </p:nvPr>
        </p:nvSpPr>
        <p:spPr>
          <a:xfrm>
            <a:off x="609600" y="3390900"/>
            <a:ext cx="10375640" cy="990600"/>
          </a:xfrm>
        </p:spPr>
        <p:txBody>
          <a:bodyPr vert="horz" bIns="0" anchor="b" anchorCtr="0">
            <a:normAutofit/>
          </a:bodyPr>
          <a:lstStyle>
            <a:lvl1pPr>
              <a:defRPr sz="4400" b="1" baseline="0">
                <a:solidFill>
                  <a:srgbClr val="FC7500"/>
                </a:solidFill>
              </a:defRPr>
            </a:lvl1pPr>
            <a:extLst/>
          </a:lstStyle>
          <a:p>
            <a:r>
              <a:rPr lang="en-US" dirty="0"/>
              <a:t>Click to add section title</a:t>
            </a:r>
          </a:p>
        </p:txBody>
      </p:sp>
      <p:sp>
        <p:nvSpPr>
          <p:cNvPr id="9" name="Rectangle 11"/>
          <p:cNvSpPr>
            <a:spLocks noGrp="1"/>
          </p:cNvSpPr>
          <p:nvPr>
            <p:ph type="body" sz="quarter" idx="14" hasCustomPrompt="1"/>
          </p:nvPr>
        </p:nvSpPr>
        <p:spPr>
          <a:xfrm>
            <a:off x="609600" y="4572000"/>
            <a:ext cx="10363200" cy="838200"/>
          </a:xfrm>
        </p:spPr>
        <p:txBody>
          <a:bodyPr vert="horz" tIns="0"/>
          <a:lstStyle>
            <a:lvl1pPr algn="ctr">
              <a:buFontTx/>
              <a:buNone/>
              <a:defRPr sz="1800">
                <a:solidFill>
                  <a:schemeClr val="tx1">
                    <a:lumMod val="75000"/>
                    <a:lumOff val="25000"/>
                  </a:schemeClr>
                </a:solidFill>
              </a:defRPr>
            </a:lvl1pPr>
            <a:extLst/>
          </a:lstStyle>
          <a:p>
            <a:pPr lvl="0"/>
            <a:r>
              <a:rPr lang="en-US" dirty="0"/>
              <a:t>Click to add subtitle</a:t>
            </a:r>
          </a:p>
        </p:txBody>
      </p:sp>
      <p:sp>
        <p:nvSpPr>
          <p:cNvPr id="10" name="Rectangle 6"/>
          <p:cNvSpPr>
            <a:spLocks noGrp="1"/>
          </p:cNvSpPr>
          <p:nvPr>
            <p:ph type="pic" sz="quarter" idx="11"/>
          </p:nvPr>
        </p:nvSpPr>
        <p:spPr>
          <a:xfrm>
            <a:off x="654491"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1" name="Rectangle 6"/>
          <p:cNvSpPr>
            <a:spLocks noGrp="1"/>
          </p:cNvSpPr>
          <p:nvPr>
            <p:ph type="pic" sz="quarter" idx="15"/>
          </p:nvPr>
        </p:nvSpPr>
        <p:spPr>
          <a:xfrm>
            <a:off x="4238845"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2" name="Rectangle 6"/>
          <p:cNvSpPr>
            <a:spLocks noGrp="1"/>
          </p:cNvSpPr>
          <p:nvPr>
            <p:ph type="pic" sz="quarter" idx="16"/>
          </p:nvPr>
        </p:nvSpPr>
        <p:spPr>
          <a:xfrm>
            <a:off x="7823200"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8"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9" name="Footer Placeholder 4"/>
          <p:cNvSpPr>
            <a:spLocks noGrp="1"/>
          </p:cNvSpPr>
          <p:nvPr>
            <p:ph type="ftr" sz="quarter" idx="17"/>
          </p:nvPr>
        </p:nvSpPr>
        <p:spPr>
          <a:xfrm>
            <a:off x="3962400" y="6553200"/>
            <a:ext cx="3860800" cy="304800"/>
          </a:xfrm>
        </p:spPr>
        <p:txBody>
          <a:bodyPr/>
          <a:lstStyle/>
          <a:p>
            <a:endParaRPr lang="en-US">
              <a:solidFill>
                <a:prstClr val="black">
                  <a:tint val="75000"/>
                </a:prstClr>
              </a:solidFill>
            </a:endParaRPr>
          </a:p>
        </p:txBody>
      </p:sp>
      <p:sp>
        <p:nvSpPr>
          <p:cNvPr id="20"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21" name="Rectangle 20"/>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22" name="Straight Connector 21"/>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42708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Landscape with Transparent Caption">
    <p:spTree>
      <p:nvGrpSpPr>
        <p:cNvPr id="1" name=""/>
        <p:cNvGrpSpPr/>
        <p:nvPr/>
      </p:nvGrpSpPr>
      <p:grpSpPr>
        <a:xfrm>
          <a:off x="0" y="0"/>
          <a:ext cx="0" cy="0"/>
          <a:chOff x="0" y="0"/>
          <a:chExt cx="0" cy="0"/>
        </a:xfrm>
      </p:grpSpPr>
      <p:sp>
        <p:nvSpPr>
          <p:cNvPr id="6" name="Rectangle 9"/>
          <p:cNvSpPr>
            <a:spLocks noGrp="1" noChangeAspect="1"/>
          </p:cNvSpPr>
          <p:nvPr>
            <p:ph type="pic" sz="quarter" idx="14"/>
          </p:nvPr>
        </p:nvSpPr>
        <p:spPr>
          <a:xfrm>
            <a:off x="1524000" y="762000"/>
            <a:ext cx="8398933" cy="47244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9"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0"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1"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2" name="Rectangle 11"/>
          <p:cNvSpPr/>
          <p:nvPr userDrawn="1"/>
        </p:nvSpPr>
        <p:spPr>
          <a:xfrm>
            <a:off x="1560221" y="5669280"/>
            <a:ext cx="8396579" cy="731520"/>
          </a:xfrm>
          <a:prstGeom prst="rect">
            <a:avLst/>
          </a:prstGeom>
          <a:noFill/>
          <a:ln w="38100">
            <a:solidFill>
              <a:schemeClr val="tx1">
                <a:lumMod val="95000"/>
                <a:lumOff val="5000"/>
                <a:alpha val="5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Text Placeholder 14"/>
          <p:cNvSpPr>
            <a:spLocks noGrp="1"/>
          </p:cNvSpPr>
          <p:nvPr>
            <p:ph type="body" sz="quarter" idx="16" hasCustomPrompt="1"/>
          </p:nvPr>
        </p:nvSpPr>
        <p:spPr>
          <a:xfrm>
            <a:off x="1625599" y="5715001"/>
            <a:ext cx="8255591" cy="632637"/>
          </a:xfrm>
          <a:solidFill>
            <a:schemeClr val="tx1">
              <a:alpha val="35000"/>
            </a:schemeClr>
          </a:solidFill>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3000" b="1" kern="1200" dirty="0" smtClean="0">
                <a:solidFill>
                  <a:schemeClr val="tx1">
                    <a:lumMod val="85000"/>
                    <a:lumOff val="15000"/>
                  </a:schemeClr>
                </a:solidFill>
                <a:latin typeface="Arial" pitchFamily="34" charset="0"/>
                <a:ea typeface="+mn-ea"/>
                <a:cs typeface="Arial" pitchFamily="34" charset="0"/>
              </a:defRPr>
            </a:lvl1pPr>
          </a:lstStyle>
          <a:p>
            <a:pPr lvl="0"/>
            <a:r>
              <a:rPr lang="en-US" dirty="0"/>
              <a:t>Click to add title</a:t>
            </a:r>
          </a:p>
        </p:txBody>
      </p:sp>
    </p:spTree>
    <p:extLst>
      <p:ext uri="{BB962C8B-B14F-4D97-AF65-F5344CB8AC3E}">
        <p14:creationId xmlns:p14="http://schemas.microsoft.com/office/powerpoint/2010/main" val="53973319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Landscape with Caption">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5"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9"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2" name="Rectangle 9"/>
          <p:cNvSpPr>
            <a:spLocks noGrp="1" noChangeAspect="1"/>
          </p:cNvSpPr>
          <p:nvPr>
            <p:ph type="pic" sz="quarter" idx="14"/>
          </p:nvPr>
        </p:nvSpPr>
        <p:spPr>
          <a:xfrm>
            <a:off x="1659467" y="304800"/>
            <a:ext cx="8398933" cy="4724400"/>
          </a:xfrm>
          <a:solidFill>
            <a:schemeClr val="bg1">
              <a:lumMod val="95000"/>
            </a:schemeClr>
          </a:solid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t"/>
          <a:lstStyle>
            <a:lvl1pPr marL="0" marR="0" indent="1588" algn="ctr" rtl="0" latinLnBrk="0">
              <a:spcBef>
                <a:spcPct val="20000"/>
              </a:spcBef>
              <a:buFontTx/>
              <a:buNone/>
              <a:defRPr lang="en-US" sz="2800" i="0" smtClean="0">
                <a:solidFill>
                  <a:schemeClr val="tx1">
                    <a:lumMod val="50000"/>
                    <a:lumOff val="50000"/>
                  </a:schemeClr>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14" name="Text Placeholder 13"/>
          <p:cNvSpPr>
            <a:spLocks noGrp="1"/>
          </p:cNvSpPr>
          <p:nvPr>
            <p:ph type="body" sz="quarter" idx="15" hasCustomPrompt="1"/>
          </p:nvPr>
        </p:nvSpPr>
        <p:spPr>
          <a:xfrm>
            <a:off x="609600" y="5181600"/>
            <a:ext cx="10464800" cy="457200"/>
          </a:xfrm>
        </p:spPr>
        <p:txBody>
          <a:bodyPr>
            <a:normAutofit/>
          </a:bodyPr>
          <a:lstStyle>
            <a:lvl1pPr>
              <a:buNone/>
              <a:defRPr sz="2400" b="1" baseline="0">
                <a:solidFill>
                  <a:srgbClr val="FC7500"/>
                </a:solidFill>
              </a:defRPr>
            </a:lvl1pPr>
          </a:lstStyle>
          <a:p>
            <a:pPr lvl="0"/>
            <a:r>
              <a:rPr lang="en-US" dirty="0"/>
              <a:t>Click to add title</a:t>
            </a:r>
          </a:p>
        </p:txBody>
      </p:sp>
      <p:sp>
        <p:nvSpPr>
          <p:cNvPr id="16" name="Text Placeholder 15"/>
          <p:cNvSpPr>
            <a:spLocks noGrp="1"/>
          </p:cNvSpPr>
          <p:nvPr>
            <p:ph type="body" sz="quarter" idx="16" hasCustomPrompt="1"/>
          </p:nvPr>
        </p:nvSpPr>
        <p:spPr>
          <a:xfrm>
            <a:off x="609600" y="5715000"/>
            <a:ext cx="10464800" cy="685800"/>
          </a:xfrm>
        </p:spPr>
        <p:txBody>
          <a:bodyPr>
            <a:noAutofit/>
          </a:bodyPr>
          <a:lstStyle>
            <a:lvl1pPr>
              <a:buNone/>
              <a:defRPr sz="1800" baseline="0">
                <a:solidFill>
                  <a:schemeClr val="tx1">
                    <a:lumMod val="75000"/>
                    <a:lumOff val="25000"/>
                  </a:schemeClr>
                </a:solidFill>
              </a:defRPr>
            </a:lvl1pPr>
          </a:lstStyle>
          <a:p>
            <a:pPr lvl="0"/>
            <a:r>
              <a:rPr lang="en-US" dirty="0"/>
              <a:t>Click to add text</a:t>
            </a:r>
          </a:p>
        </p:txBody>
      </p:sp>
    </p:spTree>
    <p:extLst>
      <p:ext uri="{BB962C8B-B14F-4D97-AF65-F5344CB8AC3E}">
        <p14:creationId xmlns:p14="http://schemas.microsoft.com/office/powerpoint/2010/main" val="2714457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Landscape">
    <p:bg>
      <p:bgPr>
        <a:solidFill>
          <a:schemeClr val="bg1">
            <a:lumMod val="95000"/>
          </a:schemeClr>
        </a:solidFill>
        <a:effectLst/>
      </p:bgPr>
    </p:bg>
    <p:spTree>
      <p:nvGrpSpPr>
        <p:cNvPr id="1" name=""/>
        <p:cNvGrpSpPr/>
        <p:nvPr/>
      </p:nvGrpSpPr>
      <p:grpSpPr>
        <a:xfrm>
          <a:off x="0" y="0"/>
          <a:ext cx="0" cy="0"/>
          <a:chOff x="0" y="0"/>
          <a:chExt cx="0" cy="0"/>
        </a:xfrm>
      </p:grpSpPr>
      <p:sp>
        <p:nvSpPr>
          <p:cNvPr id="7" name="Rectangle 6"/>
          <p:cNvSpPr/>
          <p:nvPr userDrawn="1"/>
        </p:nvSpPr>
        <p:spPr>
          <a:xfrm>
            <a:off x="636105" y="228600"/>
            <a:ext cx="10919792" cy="6172200"/>
          </a:xfrm>
          <a:prstGeom prst="rect">
            <a:avLst/>
          </a:prstGeom>
          <a:noFill/>
          <a:ln w="117475" cmpd="thinThick">
            <a:solidFill>
              <a:srgbClr val="FC75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9"/>
          <p:cNvSpPr>
            <a:spLocks noGrp="1" noChangeAspect="1"/>
          </p:cNvSpPr>
          <p:nvPr>
            <p:ph type="pic" sz="quarter" idx="13"/>
          </p:nvPr>
        </p:nvSpPr>
        <p:spPr>
          <a:xfrm>
            <a:off x="735993" y="299695"/>
            <a:ext cx="10720017" cy="6030010"/>
          </a:xfrm>
          <a:solidFill>
            <a:schemeClr val="bg1"/>
          </a:solidFill>
          <a:ln w="57150">
            <a:noFill/>
          </a:ln>
          <a:effectLst/>
        </p:spPr>
        <p:txBody>
          <a:bodyPr vert="horz" lIns="91440" tIns="45720" rIns="91440" bIns="45720" rtlCol="0">
            <a:normAutofit/>
          </a:bodyPr>
          <a:lstStyle>
            <a:lvl1pPr marL="0" marR="0" indent="1588" algn="ctr" defTabSz="914400" rtl="0" eaLnBrk="1" latinLnBrk="0" hangingPunct="1">
              <a:spcBef>
                <a:spcPct val="20000"/>
              </a:spcBef>
              <a:buClr>
                <a:srgbClr val="438086"/>
              </a:buClr>
              <a:buSzPct val="60000"/>
              <a:buFontTx/>
              <a:buNone/>
              <a:defRPr lang="en-US" sz="2400" i="0" kern="1200" dirty="0">
                <a:solidFill>
                  <a:srgbClr val="FC7500"/>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8"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9" name="Footer Placeholder 4"/>
          <p:cNvSpPr>
            <a:spLocks noGrp="1"/>
          </p:cNvSpPr>
          <p:nvPr>
            <p:ph type="ftr" sz="quarter" idx="11"/>
          </p:nvPr>
        </p:nvSpPr>
        <p:spPr>
          <a:xfrm>
            <a:off x="4165600" y="6553200"/>
            <a:ext cx="3860800" cy="304800"/>
          </a:xfrm>
        </p:spPr>
        <p:txBody>
          <a:bodyPr/>
          <a:lstStyle/>
          <a:p>
            <a:endParaRPr lang="en-US">
              <a:solidFill>
                <a:prstClr val="black">
                  <a:tint val="75000"/>
                </a:prstClr>
              </a:solidFill>
            </a:endParaRPr>
          </a:p>
        </p:txBody>
      </p:sp>
      <p:sp>
        <p:nvSpPr>
          <p:cNvPr id="10" name="Slide Number Placeholder 5"/>
          <p:cNvSpPr>
            <a:spLocks noGrp="1"/>
          </p:cNvSpPr>
          <p:nvPr>
            <p:ph type="sldNum" sz="quarter" idx="12"/>
          </p:nvPr>
        </p:nvSpPr>
        <p:spPr>
          <a:xfrm>
            <a:off x="8737600" y="6553200"/>
            <a:ext cx="28448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9294519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Landscape with Title">
    <p:bg>
      <p:bgPr>
        <a:solidFill>
          <a:srgbClr val="91BED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3" name="Date Placeholder 2"/>
          <p:cNvSpPr>
            <a:spLocks noGrp="1"/>
          </p:cNvSpPr>
          <p:nvPr>
            <p:ph type="dt" sz="half" idx="10"/>
          </p:nvPr>
        </p:nvSpPr>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
        <p:nvSpPr>
          <p:cNvPr id="6" name="Rectangle 9"/>
          <p:cNvSpPr>
            <a:spLocks noGrp="1" noChangeAspect="1"/>
          </p:cNvSpPr>
          <p:nvPr>
            <p:ph type="pic" sz="quarter" idx="13"/>
          </p:nvPr>
        </p:nvSpPr>
        <p:spPr>
          <a:xfrm>
            <a:off x="711201" y="370790"/>
            <a:ext cx="10720017" cy="603001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Clr>
                <a:srgbClr val="438086"/>
              </a:buClr>
              <a:buSzPct val="60000"/>
              <a:buFontTx/>
              <a:buNone/>
              <a:defRPr lang="en-US" sz="2400" i="0" kern="1200" dirty="0">
                <a:solidFill>
                  <a:srgbClr val="FC7500"/>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7" name="Text Placeholder 10"/>
          <p:cNvSpPr>
            <a:spLocks noGrp="1"/>
          </p:cNvSpPr>
          <p:nvPr>
            <p:ph type="body" sz="quarter" idx="14" hasCustomPrompt="1"/>
          </p:nvPr>
        </p:nvSpPr>
        <p:spPr>
          <a:xfrm>
            <a:off x="6807200" y="5257801"/>
            <a:ext cx="5384800" cy="505047"/>
          </a:xfrm>
          <a:solidFill>
            <a:schemeClr val="tx1">
              <a:alpha val="46000"/>
            </a:schemeClr>
          </a:solidFill>
        </p:spPr>
        <p:txBody>
          <a:bodyPr>
            <a:normAutofit/>
          </a:bodyPr>
          <a:lstStyle>
            <a:lvl1pPr>
              <a:buNone/>
              <a:defRPr sz="2800" baseline="0">
                <a:solidFill>
                  <a:schemeClr val="bg1"/>
                </a:solidFill>
              </a:defRPr>
            </a:lvl1pPr>
          </a:lstStyle>
          <a:p>
            <a:pPr lvl="0"/>
            <a:r>
              <a:rPr lang="en-US" dirty="0"/>
              <a:t>Click to add Title</a:t>
            </a:r>
          </a:p>
        </p:txBody>
      </p:sp>
    </p:spTree>
    <p:extLst>
      <p:ext uri="{BB962C8B-B14F-4D97-AF65-F5344CB8AC3E}">
        <p14:creationId xmlns:p14="http://schemas.microsoft.com/office/powerpoint/2010/main" val="398179450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2-Up Portrait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8"/>
          <p:cNvSpPr>
            <a:spLocks noGrp="1" noChangeAspect="1"/>
          </p:cNvSpPr>
          <p:nvPr>
            <p:ph type="pic" sz="quarter" idx="13"/>
          </p:nvPr>
        </p:nvSpPr>
        <p:spPr>
          <a:xfrm>
            <a:off x="6016664" y="381001"/>
            <a:ext cx="4575137" cy="4575141"/>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7" name="Rectangle 8"/>
          <p:cNvSpPr>
            <a:spLocks noGrp="1" noChangeAspect="1"/>
          </p:cNvSpPr>
          <p:nvPr>
            <p:ph type="pic" sz="quarter" idx="14"/>
          </p:nvPr>
        </p:nvSpPr>
        <p:spPr>
          <a:xfrm>
            <a:off x="1143000" y="381000"/>
            <a:ext cx="4572000" cy="4572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8" name="Rectangle 7"/>
          <p:cNvSpPr>
            <a:spLocks noGrp="1"/>
          </p:cNvSpPr>
          <p:nvPr>
            <p:ph type="body" sz="quarter" idx="15" hasCustomPrompt="1"/>
          </p:nvPr>
        </p:nvSpPr>
        <p:spPr>
          <a:xfrm>
            <a:off x="1117600" y="5181600"/>
            <a:ext cx="4635501" cy="1066800"/>
          </a:xfrm>
        </p:spPr>
        <p:txBody>
          <a:bodyPr lIns="91440" rIns="9144" anchor="t" anchorCtr="0">
            <a:noAutofit/>
          </a:bodyPr>
          <a:lstStyle>
            <a:lvl1pPr marL="0" marR="0" indent="0" algn="ctr"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9" name="Rectangle 7"/>
          <p:cNvSpPr>
            <a:spLocks noGrp="1"/>
          </p:cNvSpPr>
          <p:nvPr>
            <p:ph type="body" sz="quarter" idx="16" hasCustomPrompt="1"/>
          </p:nvPr>
        </p:nvSpPr>
        <p:spPr>
          <a:xfrm>
            <a:off x="6007099" y="5181600"/>
            <a:ext cx="4635500" cy="1066800"/>
          </a:xfrm>
        </p:spPr>
        <p:txBody>
          <a:bodyPr lIns="91440" rIns="9144" anchor="t" anchorCtr="0">
            <a:noAutofit/>
          </a:bodyPr>
          <a:lstStyle>
            <a:lvl1pPr marL="0" marR="0" indent="0" algn="ctr"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2"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3"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4"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52779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2-Up Landscape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noChangeAspect="1"/>
          </p:cNvSpPr>
          <p:nvPr>
            <p:ph type="pic" sz="quarter" idx="13"/>
          </p:nvPr>
        </p:nvSpPr>
        <p:spPr>
          <a:xfrm>
            <a:off x="6400800" y="914400"/>
            <a:ext cx="5283200" cy="29718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noChangeAspect="1"/>
          </p:cNvSpPr>
          <p:nvPr>
            <p:ph type="pic" sz="quarter" idx="14"/>
          </p:nvPr>
        </p:nvSpPr>
        <p:spPr>
          <a:xfrm>
            <a:off x="609600" y="914400"/>
            <a:ext cx="5283200" cy="29718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Rectangle 7"/>
          <p:cNvSpPr>
            <a:spLocks noGrp="1"/>
          </p:cNvSpPr>
          <p:nvPr>
            <p:ph type="body" sz="quarter" idx="16" hasCustomPrompt="1"/>
          </p:nvPr>
        </p:nvSpPr>
        <p:spPr>
          <a:xfrm>
            <a:off x="609600" y="4114801"/>
            <a:ext cx="5283200" cy="1214887"/>
          </a:xfrm>
        </p:spPr>
        <p:txBody>
          <a:bodyPr vert="horz" lIns="91440" tIns="45720" rIns="9144" bIns="45720" rtlCol="0" anchor="t" anchorCtr="0">
            <a:noAutofit/>
          </a:bodyPr>
          <a:lstStyle>
            <a:lvl1pPr marL="0" marR="0" indent="0" algn="ctr" rtl="0" latinLnBrk="0">
              <a:spcBef>
                <a:spcPct val="20000"/>
              </a:spcBef>
              <a:buFontTx/>
              <a:buNone/>
              <a:defRPr lang="en-US" sz="1800" kern="1200" baseline="0" dirty="0">
                <a:solidFill>
                  <a:schemeClr val="tx1">
                    <a:lumMod val="75000"/>
                    <a:lumOff val="25000"/>
                  </a:schemeClr>
                </a:solidFill>
                <a:latin typeface="+mn-lt"/>
                <a:ea typeface="+mn-ea"/>
                <a:cs typeface="+mn-cs"/>
              </a:defRPr>
            </a:lvl1pPr>
            <a:extLst/>
          </a:lstStyle>
          <a:p>
            <a:pPr marL="0" marR="0" lvl="0" indent="0" algn="l" defTabSz="914400" rtl="0" eaLnBrk="1" latinLnBrk="0" hangingPunct="1">
              <a:spcBef>
                <a:spcPct val="20000"/>
              </a:spcBef>
              <a:buFontTx/>
              <a:buNone/>
            </a:pPr>
            <a:r>
              <a:rPr lang="en-US" dirty="0"/>
              <a:t>Click to add caption</a:t>
            </a:r>
          </a:p>
        </p:txBody>
      </p:sp>
      <p:sp>
        <p:nvSpPr>
          <p:cNvPr id="9" name="Rectangle 7"/>
          <p:cNvSpPr>
            <a:spLocks noGrp="1"/>
          </p:cNvSpPr>
          <p:nvPr>
            <p:ph type="body" sz="quarter" idx="17" hasCustomPrompt="1"/>
          </p:nvPr>
        </p:nvSpPr>
        <p:spPr>
          <a:xfrm>
            <a:off x="6400799" y="4114801"/>
            <a:ext cx="5321300" cy="1214887"/>
          </a:xfrm>
        </p:spPr>
        <p:txBody>
          <a:bodyPr vert="horz" lIns="91440" tIns="45720" rIns="9144" bIns="45720" rtlCol="0" anchor="t" anchorCtr="0">
            <a:noAutofit/>
          </a:bodyPr>
          <a:lstStyle>
            <a:lvl1pPr marL="0" marR="0" indent="0" algn="ctr" rtl="0" latinLnBrk="0">
              <a:spcBef>
                <a:spcPct val="20000"/>
              </a:spcBef>
              <a:buFontTx/>
              <a:buNone/>
              <a:defRPr lang="en-US" sz="1800" kern="1200" baseline="0" dirty="0">
                <a:solidFill>
                  <a:schemeClr val="tx1">
                    <a:lumMod val="75000"/>
                    <a:lumOff val="25000"/>
                  </a:schemeClr>
                </a:solidFill>
                <a:latin typeface="+mn-lt"/>
                <a:ea typeface="+mn-ea"/>
                <a:cs typeface="+mn-cs"/>
              </a:defRPr>
            </a:lvl1pPr>
            <a:extLst/>
          </a:lstStyle>
          <a:p>
            <a:pPr marL="0" marR="0" lvl="0" indent="0" algn="l" defTabSz="914400" rtl="0" eaLnBrk="1" latinLnBrk="0" hangingPunct="1">
              <a:spcBef>
                <a:spcPct val="20000"/>
              </a:spcBef>
              <a:buFontTx/>
              <a:buNone/>
            </a:pPr>
            <a:r>
              <a:rPr lang="en-US" dirty="0"/>
              <a:t>Click to add caption</a:t>
            </a:r>
          </a:p>
        </p:txBody>
      </p:sp>
      <p:grpSp>
        <p:nvGrpSpPr>
          <p:cNvPr id="10" name="Group 9"/>
          <p:cNvGrpSpPr/>
          <p:nvPr userDrawn="1"/>
        </p:nvGrpSpPr>
        <p:grpSpPr>
          <a:xfrm rot="5400000">
            <a:off x="5801032" y="467032"/>
            <a:ext cx="589936" cy="12192000"/>
            <a:chOff x="8524568" y="0"/>
            <a:chExt cx="589936" cy="6858000"/>
          </a:xfrm>
        </p:grpSpPr>
        <p:sp>
          <p:nvSpPr>
            <p:cNvPr id="11" name="Rectangle 10"/>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2" name="Straight Connector 11"/>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3"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4"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5"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83907897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3-Up Snapsho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11" name="Rectangle 10"/>
          <p:cNvSpPr/>
          <p:nvPr userDrawn="1"/>
        </p:nvSpPr>
        <p:spPr>
          <a:xfrm rot="1223811">
            <a:off x="6130833" y="530555"/>
            <a:ext cx="3043255" cy="2467504"/>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Picture Placeholder 7"/>
          <p:cNvSpPr>
            <a:spLocks noGrp="1"/>
          </p:cNvSpPr>
          <p:nvPr>
            <p:ph type="pic" sz="quarter" idx="15"/>
          </p:nvPr>
        </p:nvSpPr>
        <p:spPr>
          <a:xfrm rot="1223811">
            <a:off x="6392112" y="657038"/>
            <a:ext cx="2714253" cy="1912315"/>
          </a:xfrm>
          <a:solidFill>
            <a:schemeClr val="tx1">
              <a:lumMod val="85000"/>
              <a:lumOff val="15000"/>
            </a:schemeClr>
          </a:solidFill>
        </p:spPr>
        <p:txBody>
          <a:bodyPr>
            <a:normAutofit/>
          </a:bodyPr>
          <a:lstStyle>
            <a:lvl1pPr algn="ctr">
              <a:buNone/>
              <a:defRPr sz="1600">
                <a:solidFill>
                  <a:schemeClr val="bg1"/>
                </a:solidFill>
              </a:defRPr>
            </a:lvl1pPr>
          </a:lstStyle>
          <a:p>
            <a:r>
              <a:rPr lang="zh-TW" altLang="en-US"/>
              <a:t>按一下圖示以新增圖片</a:t>
            </a:r>
            <a:endParaRPr lang="en-US" dirty="0"/>
          </a:p>
        </p:txBody>
      </p:sp>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20" name="Text Placeholder 13"/>
          <p:cNvSpPr>
            <a:spLocks noGrp="1"/>
          </p:cNvSpPr>
          <p:nvPr>
            <p:ph type="body" sz="quarter" idx="18" hasCustomPrompt="1"/>
          </p:nvPr>
        </p:nvSpPr>
        <p:spPr>
          <a:xfrm>
            <a:off x="609600" y="5943600"/>
            <a:ext cx="10938933" cy="457200"/>
          </a:xfrm>
        </p:spPr>
        <p:txBody>
          <a:bodyPr>
            <a:normAutofit/>
          </a:bodyPr>
          <a:lstStyle>
            <a:lvl1pPr>
              <a:buNone/>
              <a:defRPr sz="2400" b="1" baseline="0">
                <a:solidFill>
                  <a:schemeClr val="tx1">
                    <a:lumMod val="75000"/>
                    <a:lumOff val="25000"/>
                  </a:schemeClr>
                </a:solidFill>
              </a:defRPr>
            </a:lvl1pPr>
          </a:lstStyle>
          <a:p>
            <a:pPr lvl="0"/>
            <a:r>
              <a:rPr lang="en-US" dirty="0"/>
              <a:t>Click to add title</a:t>
            </a:r>
          </a:p>
        </p:txBody>
      </p:sp>
      <p:sp>
        <p:nvSpPr>
          <p:cNvPr id="6" name="Rectangle 5"/>
          <p:cNvSpPr/>
          <p:nvPr userDrawn="1"/>
        </p:nvSpPr>
        <p:spPr>
          <a:xfrm>
            <a:off x="711200" y="1172147"/>
            <a:ext cx="5080000" cy="4148667"/>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Picture Placeholder 7"/>
          <p:cNvSpPr>
            <a:spLocks noGrp="1"/>
          </p:cNvSpPr>
          <p:nvPr>
            <p:ph type="pic" sz="quarter" idx="13"/>
          </p:nvPr>
        </p:nvSpPr>
        <p:spPr>
          <a:xfrm>
            <a:off x="1040713" y="1439693"/>
            <a:ext cx="4462163" cy="3175000"/>
          </a:xfrm>
          <a:solidFill>
            <a:schemeClr val="tx1">
              <a:lumMod val="85000"/>
              <a:lumOff val="15000"/>
            </a:schemeClr>
          </a:solidFill>
        </p:spPr>
        <p:txBody>
          <a:bodyPr>
            <a:normAutofit/>
          </a:bodyPr>
          <a:lstStyle>
            <a:lvl1pPr algn="ctr">
              <a:buNone/>
              <a:defRPr sz="2200">
                <a:solidFill>
                  <a:schemeClr val="bg1"/>
                </a:solidFill>
              </a:defRPr>
            </a:lvl1pPr>
          </a:lstStyle>
          <a:p>
            <a:r>
              <a:rPr lang="zh-TW" altLang="en-US"/>
              <a:t>按一下圖示以新增圖片</a:t>
            </a:r>
            <a:endParaRPr lang="en-US" dirty="0"/>
          </a:p>
        </p:txBody>
      </p:sp>
      <p:sp>
        <p:nvSpPr>
          <p:cNvPr id="10" name="Text Placeholder 9"/>
          <p:cNvSpPr>
            <a:spLocks noGrp="1"/>
          </p:cNvSpPr>
          <p:nvPr>
            <p:ph type="body" sz="quarter" idx="14" hasCustomPrompt="1"/>
          </p:nvPr>
        </p:nvSpPr>
        <p:spPr>
          <a:xfrm>
            <a:off x="1041400" y="4754393"/>
            <a:ext cx="4445000" cy="317500"/>
          </a:xfrm>
        </p:spPr>
        <p:txBody>
          <a:bodyPr>
            <a:noAutofit/>
          </a:bodyPr>
          <a:lstStyle>
            <a:lvl1pPr algn="ctr">
              <a:buNone/>
              <a:defRPr sz="1600" baseline="0">
                <a:solidFill>
                  <a:schemeClr val="tx1">
                    <a:lumMod val="65000"/>
                    <a:lumOff val="35000"/>
                  </a:schemeClr>
                </a:solidFill>
              </a:defRPr>
            </a:lvl1pPr>
          </a:lstStyle>
          <a:p>
            <a:pPr lvl="0"/>
            <a:r>
              <a:rPr lang="en-US" dirty="0"/>
              <a:t>Click to add short caption</a:t>
            </a:r>
          </a:p>
        </p:txBody>
      </p:sp>
      <p:sp>
        <p:nvSpPr>
          <p:cNvPr id="17" name="Rectangle 16"/>
          <p:cNvSpPr/>
          <p:nvPr userDrawn="1"/>
        </p:nvSpPr>
        <p:spPr>
          <a:xfrm>
            <a:off x="7980811" y="2877172"/>
            <a:ext cx="3499989" cy="2837829"/>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Picture Placeholder 7"/>
          <p:cNvSpPr>
            <a:spLocks noGrp="1"/>
          </p:cNvSpPr>
          <p:nvPr>
            <p:ph type="pic" sz="quarter" idx="17"/>
          </p:nvPr>
        </p:nvSpPr>
        <p:spPr>
          <a:xfrm>
            <a:off x="8183251" y="3013976"/>
            <a:ext cx="3121612" cy="2199318"/>
          </a:xfrm>
          <a:solidFill>
            <a:schemeClr val="tx1">
              <a:lumMod val="85000"/>
              <a:lumOff val="15000"/>
            </a:schemeClr>
          </a:solidFill>
        </p:spPr>
        <p:txBody>
          <a:bodyPr>
            <a:normAutofit/>
          </a:bodyPr>
          <a:lstStyle>
            <a:lvl1pPr algn="ctr">
              <a:buNone/>
              <a:defRPr sz="1600">
                <a:solidFill>
                  <a:schemeClr val="bg1"/>
                </a:solidFill>
              </a:defRPr>
            </a:lvl1pPr>
          </a:lstStyle>
          <a:p>
            <a:r>
              <a:rPr lang="zh-TW" altLang="en-US"/>
              <a:t>按一下圖示以新增圖片</a:t>
            </a:r>
            <a:endParaRPr lang="en-US" dirty="0"/>
          </a:p>
        </p:txBody>
      </p:sp>
    </p:spTree>
    <p:extLst>
      <p:ext uri="{BB962C8B-B14F-4D97-AF65-F5344CB8AC3E}">
        <p14:creationId xmlns:p14="http://schemas.microsoft.com/office/powerpoint/2010/main" val="25360333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3-Up Slide Film">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stretch>
            <a:fillRect/>
          </a:stretch>
        </p:blipFill>
        <p:spPr>
          <a:xfrm>
            <a:off x="1320800" y="1371600"/>
            <a:ext cx="5369009" cy="4038600"/>
          </a:xfrm>
          <a:prstGeom prst="rect">
            <a:avLst/>
          </a:prstGeom>
        </p:spPr>
      </p:pic>
      <p:sp>
        <p:nvSpPr>
          <p:cNvPr id="13" name="Picture Placeholder 12"/>
          <p:cNvSpPr>
            <a:spLocks noGrp="1"/>
          </p:cNvSpPr>
          <p:nvPr>
            <p:ph type="pic" sz="quarter" idx="13"/>
          </p:nvPr>
        </p:nvSpPr>
        <p:spPr>
          <a:xfrm>
            <a:off x="2122999" y="2370152"/>
            <a:ext cx="3739763" cy="1788380"/>
          </a:xfrm>
          <a:solidFill>
            <a:schemeClr val="tx1">
              <a:lumMod val="85000"/>
              <a:lumOff val="15000"/>
            </a:schemeClr>
          </a:solidFill>
        </p:spPr>
        <p:txBody>
          <a:bodyPr>
            <a:normAutofit/>
          </a:bodyPr>
          <a:lstStyle>
            <a:lvl1pPr algn="ctr">
              <a:buNone/>
              <a:defRPr sz="1400" baseline="0">
                <a:solidFill>
                  <a:schemeClr val="bg1"/>
                </a:solidFill>
              </a:defRPr>
            </a:lvl1pPr>
          </a:lstStyle>
          <a:p>
            <a:r>
              <a:rPr lang="zh-TW" altLang="en-US"/>
              <a:t>按一下圖示以新增圖片</a:t>
            </a:r>
            <a:endParaRPr lang="en-US" dirty="0"/>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20235" y="685801"/>
            <a:ext cx="3342965" cy="2514599"/>
          </a:xfrm>
          <a:prstGeom prst="rect">
            <a:avLst/>
          </a:prstGeom>
        </p:spPr>
      </p:pic>
      <p:sp>
        <p:nvSpPr>
          <p:cNvPr id="15" name="Picture Placeholder 12"/>
          <p:cNvSpPr>
            <a:spLocks noGrp="1"/>
          </p:cNvSpPr>
          <p:nvPr>
            <p:ph type="pic" sz="quarter" idx="14"/>
          </p:nvPr>
        </p:nvSpPr>
        <p:spPr>
          <a:xfrm>
            <a:off x="7608632" y="1371601"/>
            <a:ext cx="2133600" cy="1002547"/>
          </a:xfrm>
          <a:solidFill>
            <a:schemeClr val="tx1">
              <a:lumMod val="85000"/>
              <a:lumOff val="15000"/>
            </a:schemeClr>
          </a:solidFill>
        </p:spPr>
        <p:txBody>
          <a:bodyPr>
            <a:normAutofit/>
          </a:bodyPr>
          <a:lstStyle>
            <a:lvl1pPr algn="ctr">
              <a:buNone/>
              <a:defRPr sz="1100" baseline="0">
                <a:solidFill>
                  <a:schemeClr val="bg1"/>
                </a:solidFill>
              </a:defRPr>
            </a:lvl1pPr>
          </a:lstStyle>
          <a:p>
            <a:r>
              <a:rPr lang="zh-TW" altLang="en-US"/>
              <a:t>按一下圖示以新增圖片</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20235" y="3429002"/>
            <a:ext cx="3342965" cy="2514599"/>
          </a:xfrm>
          <a:prstGeom prst="rect">
            <a:avLst/>
          </a:prstGeom>
        </p:spPr>
      </p:pic>
      <p:sp>
        <p:nvSpPr>
          <p:cNvPr id="17" name="Picture Placeholder 12"/>
          <p:cNvSpPr>
            <a:spLocks noGrp="1"/>
          </p:cNvSpPr>
          <p:nvPr>
            <p:ph type="pic" sz="quarter" idx="15"/>
          </p:nvPr>
        </p:nvSpPr>
        <p:spPr>
          <a:xfrm>
            <a:off x="7608632" y="4114801"/>
            <a:ext cx="2133600" cy="1002547"/>
          </a:xfrm>
          <a:solidFill>
            <a:schemeClr val="tx1">
              <a:lumMod val="85000"/>
              <a:lumOff val="15000"/>
            </a:schemeClr>
          </a:solidFill>
        </p:spPr>
        <p:txBody>
          <a:bodyPr>
            <a:normAutofit/>
          </a:bodyPr>
          <a:lstStyle>
            <a:lvl1pPr algn="ctr">
              <a:buNone/>
              <a:defRPr sz="1100" baseline="0">
                <a:solidFill>
                  <a:schemeClr val="bg1"/>
                </a:solidFill>
              </a:defRPr>
            </a:lvl1pPr>
          </a:lstStyle>
          <a:p>
            <a:r>
              <a:rPr lang="zh-TW" altLang="en-US"/>
              <a:t>按一下圖示以新增圖片</a:t>
            </a:r>
            <a:endParaRPr lang="en-US" dirty="0"/>
          </a:p>
        </p:txBody>
      </p:sp>
      <p:sp>
        <p:nvSpPr>
          <p:cNvPr id="23"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24"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25"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5162198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3-Up Portrait with Captions">
    <p:spTree>
      <p:nvGrpSpPr>
        <p:cNvPr id="1" name=""/>
        <p:cNvGrpSpPr/>
        <p:nvPr/>
      </p:nvGrpSpPr>
      <p:grpSpPr>
        <a:xfrm>
          <a:off x="0" y="0"/>
          <a:ext cx="0" cy="0"/>
          <a:chOff x="0" y="0"/>
          <a:chExt cx="0" cy="0"/>
        </a:xfrm>
      </p:grpSpPr>
      <p:sp>
        <p:nvSpPr>
          <p:cNvPr id="6" name="Rectangle 8"/>
          <p:cNvSpPr>
            <a:spLocks noGrp="1" noChangeAspect="1"/>
          </p:cNvSpPr>
          <p:nvPr>
            <p:ph type="pic" sz="quarter" idx="13"/>
          </p:nvPr>
        </p:nvSpPr>
        <p:spPr>
          <a:xfrm>
            <a:off x="3048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7" name="Rectangle 8"/>
          <p:cNvSpPr>
            <a:spLocks noGrp="1" noChangeAspect="1"/>
          </p:cNvSpPr>
          <p:nvPr>
            <p:ph type="pic" sz="quarter" idx="14"/>
          </p:nvPr>
        </p:nvSpPr>
        <p:spPr>
          <a:xfrm>
            <a:off x="42672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8" name="Rectangle 8"/>
          <p:cNvSpPr>
            <a:spLocks noGrp="1" noChangeAspect="1"/>
          </p:cNvSpPr>
          <p:nvPr>
            <p:ph type="pic" sz="quarter" idx="15"/>
          </p:nvPr>
        </p:nvSpPr>
        <p:spPr>
          <a:xfrm>
            <a:off x="82296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9" name="Rectangle 6"/>
          <p:cNvSpPr>
            <a:spLocks noGrp="1"/>
          </p:cNvSpPr>
          <p:nvPr>
            <p:ph type="body" sz="quarter" idx="16" hasCustomPrompt="1"/>
          </p:nvPr>
        </p:nvSpPr>
        <p:spPr>
          <a:xfrm>
            <a:off x="3048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0" name="Rectangle 6"/>
          <p:cNvSpPr>
            <a:spLocks noGrp="1"/>
          </p:cNvSpPr>
          <p:nvPr>
            <p:ph type="body" sz="quarter" idx="17" hasCustomPrompt="1"/>
          </p:nvPr>
        </p:nvSpPr>
        <p:spPr>
          <a:xfrm>
            <a:off x="42672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1" name="Rectangle 6"/>
          <p:cNvSpPr>
            <a:spLocks noGrp="1"/>
          </p:cNvSpPr>
          <p:nvPr>
            <p:ph type="body" sz="quarter" idx="18" hasCustomPrompt="1"/>
          </p:nvPr>
        </p:nvSpPr>
        <p:spPr>
          <a:xfrm>
            <a:off x="82296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grpSp>
        <p:nvGrpSpPr>
          <p:cNvPr id="12" name="Group 11"/>
          <p:cNvGrpSpPr/>
          <p:nvPr userDrawn="1"/>
        </p:nvGrpSpPr>
        <p:grpSpPr>
          <a:xfrm rot="5400000">
            <a:off x="5801032" y="467032"/>
            <a:ext cx="589936" cy="12192000"/>
            <a:chOff x="8524568" y="0"/>
            <a:chExt cx="589936" cy="6858000"/>
          </a:xfrm>
        </p:grpSpPr>
        <p:sp>
          <p:nvSpPr>
            <p:cNvPr id="13" name="Rectangle 12"/>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4" name="Straight Connector 13"/>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5"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6"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7"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1884455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Landscape">
    <p:bg>
      <p:bgPr>
        <a:solidFill>
          <a:schemeClr val="bg1">
            <a:lumMod val="95000"/>
          </a:schemeClr>
        </a:solidFill>
        <a:effectLst/>
      </p:bgPr>
    </p:bg>
    <p:spTree>
      <p:nvGrpSpPr>
        <p:cNvPr id="1" name=""/>
        <p:cNvGrpSpPr/>
        <p:nvPr/>
      </p:nvGrpSpPr>
      <p:grpSpPr>
        <a:xfrm>
          <a:off x="0" y="0"/>
          <a:ext cx="0" cy="0"/>
          <a:chOff x="0" y="0"/>
          <a:chExt cx="0" cy="0"/>
        </a:xfrm>
      </p:grpSpPr>
      <p:sp>
        <p:nvSpPr>
          <p:cNvPr id="7" name="Rectangle 6"/>
          <p:cNvSpPr/>
          <p:nvPr userDrawn="1"/>
        </p:nvSpPr>
        <p:spPr>
          <a:xfrm>
            <a:off x="636105" y="228600"/>
            <a:ext cx="10919792" cy="6172200"/>
          </a:xfrm>
          <a:prstGeom prst="rect">
            <a:avLst/>
          </a:prstGeom>
          <a:noFill/>
          <a:ln w="117475" cmpd="thinThick">
            <a:solidFill>
              <a:srgbClr val="FC75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6" name="Rectangle 9"/>
          <p:cNvSpPr>
            <a:spLocks noGrp="1" noChangeAspect="1"/>
          </p:cNvSpPr>
          <p:nvPr>
            <p:ph type="pic" sz="quarter" idx="13"/>
          </p:nvPr>
        </p:nvSpPr>
        <p:spPr>
          <a:xfrm>
            <a:off x="735996" y="299695"/>
            <a:ext cx="10720017" cy="6030010"/>
          </a:xfrm>
          <a:solidFill>
            <a:schemeClr val="bg1"/>
          </a:solidFill>
          <a:ln w="57150">
            <a:noFill/>
          </a:ln>
          <a:effectLst/>
        </p:spPr>
        <p:txBody>
          <a:bodyPr vert="horz" lIns="91440" tIns="45720" rIns="91440" bIns="45720" rtlCol="0">
            <a:normAutofit/>
          </a:bodyPr>
          <a:lstStyle>
            <a:lvl1pPr marL="0" marR="0" indent="1588" algn="ctr" defTabSz="914400" rtl="0" eaLnBrk="1" latinLnBrk="0" hangingPunct="1">
              <a:spcBef>
                <a:spcPct val="20000"/>
              </a:spcBef>
              <a:buClr>
                <a:srgbClr val="438086"/>
              </a:buClr>
              <a:buSzPct val="60000"/>
              <a:buFontTx/>
              <a:buNone/>
              <a:defRPr lang="en-US" sz="2400" i="0" kern="1200" dirty="0">
                <a:solidFill>
                  <a:srgbClr val="FC7500"/>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8"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9" name="Footer Placeholder 4"/>
          <p:cNvSpPr>
            <a:spLocks noGrp="1"/>
          </p:cNvSpPr>
          <p:nvPr>
            <p:ph type="ftr" sz="quarter" idx="11"/>
          </p:nvPr>
        </p:nvSpPr>
        <p:spPr>
          <a:xfrm>
            <a:off x="4165600" y="6553200"/>
            <a:ext cx="3860800" cy="304800"/>
          </a:xfrm>
        </p:spPr>
        <p:txBody>
          <a:bodyPr/>
          <a:lstStyle/>
          <a:p>
            <a:endParaRPr lang="en-US">
              <a:solidFill>
                <a:prstClr val="black">
                  <a:tint val="75000"/>
                </a:prstClr>
              </a:solidFill>
            </a:endParaRPr>
          </a:p>
        </p:txBody>
      </p:sp>
      <p:sp>
        <p:nvSpPr>
          <p:cNvPr id="10" name="Slide Number Placeholder 5"/>
          <p:cNvSpPr>
            <a:spLocks noGrp="1"/>
          </p:cNvSpPr>
          <p:nvPr>
            <p:ph type="sldNum" sz="quarter" idx="12"/>
          </p:nvPr>
        </p:nvSpPr>
        <p:spPr>
          <a:xfrm>
            <a:off x="8737600" y="6553200"/>
            <a:ext cx="28448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1471229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3-Up Landscape with Caption">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noChangeAspect="1"/>
          </p:cNvSpPr>
          <p:nvPr>
            <p:ph type="pic" sz="quarter" idx="13"/>
          </p:nvPr>
        </p:nvSpPr>
        <p:spPr>
          <a:xfrm>
            <a:off x="6322176" y="3480024"/>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7" name="Rectangle 7"/>
          <p:cNvSpPr>
            <a:spLocks noGrp="1" noChangeAspect="1"/>
          </p:cNvSpPr>
          <p:nvPr>
            <p:ph type="pic" sz="quarter" idx="14"/>
          </p:nvPr>
        </p:nvSpPr>
        <p:spPr>
          <a:xfrm>
            <a:off x="745068" y="3480024"/>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8" name="Picture Placeholder 7"/>
          <p:cNvSpPr>
            <a:spLocks noGrp="1" noChangeAspect="1"/>
          </p:cNvSpPr>
          <p:nvPr>
            <p:ph type="pic" sz="quarter" idx="15"/>
          </p:nvPr>
        </p:nvSpPr>
        <p:spPr>
          <a:xfrm>
            <a:off x="6322176" y="355824"/>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9" name="Rectangle 11"/>
          <p:cNvSpPr>
            <a:spLocks noGrp="1"/>
          </p:cNvSpPr>
          <p:nvPr>
            <p:ph type="body" sz="quarter" idx="16" hasCustomPrompt="1"/>
          </p:nvPr>
        </p:nvSpPr>
        <p:spPr>
          <a:xfrm>
            <a:off x="745068" y="355824"/>
            <a:ext cx="5057025" cy="2844577"/>
          </a:xfrm>
        </p:spPr>
        <p:txBody>
          <a:bodyPr anchor="b" anchorCtr="0">
            <a:noAutofit/>
          </a:bodyPr>
          <a:lstStyle>
            <a:lvl1pPr marL="0" marR="0" indent="0" algn="ctr" rtl="0" latinLnBrk="0">
              <a:spcBef>
                <a:spcPct val="20000"/>
              </a:spcBef>
              <a:buFontTx/>
              <a:buNone/>
              <a:defRPr sz="1800" b="1" i="0" baseline="0">
                <a:solidFill>
                  <a:schemeClr val="tx1">
                    <a:lumMod val="75000"/>
                    <a:lumOff val="25000"/>
                  </a:schemeClr>
                </a:solidFill>
                <a:latin typeface="+mn-lt"/>
                <a:ea typeface="+mn-ea"/>
                <a:cs typeface="+mn-cs"/>
              </a:defRPr>
            </a:lvl1pPr>
            <a:extLst/>
          </a:lstStyle>
          <a:p>
            <a:pPr lvl="0"/>
            <a:r>
              <a:rPr lang="en-US" dirty="0"/>
              <a:t>Click to add caption</a:t>
            </a:r>
          </a:p>
        </p:txBody>
      </p:sp>
    </p:spTree>
    <p:extLst>
      <p:ext uri="{BB962C8B-B14F-4D97-AF65-F5344CB8AC3E}">
        <p14:creationId xmlns:p14="http://schemas.microsoft.com/office/powerpoint/2010/main" val="16304959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Panorama Mixed">
    <p:bg>
      <p:bgPr>
        <a:solidFill>
          <a:srgbClr val="F0F0F0"/>
        </a:solidFill>
        <a:effectLst/>
      </p:bgPr>
    </p:bg>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4" name="Date Placeholder 3"/>
          <p:cNvSpPr>
            <a:spLocks noGrp="1"/>
          </p:cNvSpPr>
          <p:nvPr>
            <p:ph type="dt" sz="half" idx="10"/>
          </p:nvPr>
        </p:nvSpPr>
        <p:spPr>
          <a:xfrm>
            <a:off x="8128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5344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1" name="Picture Placeholder 10"/>
          <p:cNvSpPr>
            <a:spLocks noGrp="1"/>
          </p:cNvSpPr>
          <p:nvPr>
            <p:ph type="pic" sz="quarter" idx="13"/>
          </p:nvPr>
        </p:nvSpPr>
        <p:spPr>
          <a:xfrm>
            <a:off x="789856" y="592392"/>
            <a:ext cx="9855200" cy="2286000"/>
          </a:xfrm>
          <a:solidFill>
            <a:srgbClr val="F0F0F0"/>
          </a:solidFill>
          <a:ln w="57150">
            <a:solidFill>
              <a:schemeClr val="bg1"/>
            </a:solidFill>
          </a:ln>
          <a:effectLst>
            <a:outerShdw dist="38100" dir="2700000" algn="tl" rotWithShape="0">
              <a:prstClr val="black">
                <a:alpha val="17000"/>
              </a:prstClr>
            </a:outerShdw>
          </a:effectLst>
        </p:spPr>
        <p:txBody>
          <a:bodyPr>
            <a:normAutofit/>
          </a:bodyPr>
          <a:lstStyle>
            <a:lvl1pPr algn="ctr">
              <a:buNone/>
              <a:defRPr sz="2400">
                <a:solidFill>
                  <a:schemeClr val="tx1">
                    <a:lumMod val="65000"/>
                    <a:lumOff val="35000"/>
                  </a:schemeClr>
                </a:solidFill>
              </a:defRPr>
            </a:lvl1pPr>
          </a:lstStyle>
          <a:p>
            <a:r>
              <a:rPr lang="zh-TW" altLang="en-US"/>
              <a:t>按一下圖示以新增圖片</a:t>
            </a:r>
            <a:endParaRPr lang="en-US" dirty="0"/>
          </a:p>
        </p:txBody>
      </p:sp>
      <p:sp>
        <p:nvSpPr>
          <p:cNvPr id="13" name="Picture Placeholder 12"/>
          <p:cNvSpPr>
            <a:spLocks noGrp="1"/>
          </p:cNvSpPr>
          <p:nvPr>
            <p:ph type="pic" sz="quarter" idx="14"/>
          </p:nvPr>
        </p:nvSpPr>
        <p:spPr>
          <a:xfrm>
            <a:off x="812800" y="3352800"/>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1600" b="0" kern="1200" dirty="0" smtClean="0">
                <a:solidFill>
                  <a:schemeClr val="tx1">
                    <a:lumMod val="65000"/>
                    <a:lumOff val="35000"/>
                  </a:schemeClr>
                </a:solidFill>
                <a:latin typeface="+mn-lt"/>
                <a:ea typeface="+mn-ea"/>
                <a:cs typeface="+mn-cs"/>
              </a:defRPr>
            </a:lvl1pPr>
          </a:lstStyle>
          <a:p>
            <a:r>
              <a:rPr lang="zh-TW" altLang="en-US"/>
              <a:t>按一下圖示以新增圖片</a:t>
            </a:r>
            <a:endParaRPr lang="en-US" dirty="0"/>
          </a:p>
        </p:txBody>
      </p:sp>
      <p:sp>
        <p:nvSpPr>
          <p:cNvPr id="14" name="Picture Placeholder 12"/>
          <p:cNvSpPr>
            <a:spLocks noGrp="1"/>
          </p:cNvSpPr>
          <p:nvPr>
            <p:ph type="pic" sz="quarter" idx="15"/>
          </p:nvPr>
        </p:nvSpPr>
        <p:spPr>
          <a:xfrm>
            <a:off x="4368800" y="3352800"/>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1600" b="0" kern="1200" dirty="0" smtClean="0">
                <a:solidFill>
                  <a:schemeClr val="tx1">
                    <a:lumMod val="65000"/>
                    <a:lumOff val="35000"/>
                  </a:schemeClr>
                </a:solidFill>
                <a:latin typeface="+mn-lt"/>
                <a:ea typeface="+mn-ea"/>
                <a:cs typeface="+mn-cs"/>
              </a:defRPr>
            </a:lvl1pPr>
          </a:lstStyle>
          <a:p>
            <a:r>
              <a:rPr lang="zh-TW" altLang="en-US"/>
              <a:t>按一下圖示以新增圖片</a:t>
            </a:r>
            <a:endParaRPr lang="en-US" dirty="0"/>
          </a:p>
        </p:txBody>
      </p:sp>
      <p:sp>
        <p:nvSpPr>
          <p:cNvPr id="16" name="Text Placeholder 15"/>
          <p:cNvSpPr>
            <a:spLocks noGrp="1"/>
          </p:cNvSpPr>
          <p:nvPr>
            <p:ph type="body" sz="quarter" idx="16" hasCustomPrompt="1"/>
          </p:nvPr>
        </p:nvSpPr>
        <p:spPr>
          <a:xfrm>
            <a:off x="7721600" y="3352800"/>
            <a:ext cx="3048000" cy="381000"/>
          </a:xfrm>
        </p:spPr>
        <p:txBody>
          <a:bodyPr>
            <a:normAutofit/>
          </a:bodyPr>
          <a:lstStyle>
            <a:lvl1pPr>
              <a:buNone/>
              <a:defRPr sz="1800" b="1" baseline="0">
                <a:solidFill>
                  <a:srgbClr val="FC7500"/>
                </a:solidFill>
              </a:defRPr>
            </a:lvl1pPr>
          </a:lstStyle>
          <a:p>
            <a:pPr lvl="0"/>
            <a:r>
              <a:rPr lang="en-US" dirty="0"/>
              <a:t>CLICK TO ADD TITLE</a:t>
            </a:r>
          </a:p>
        </p:txBody>
      </p:sp>
      <p:sp>
        <p:nvSpPr>
          <p:cNvPr id="18" name="Text Placeholder 17"/>
          <p:cNvSpPr>
            <a:spLocks noGrp="1"/>
          </p:cNvSpPr>
          <p:nvPr>
            <p:ph type="body" sz="quarter" idx="17" hasCustomPrompt="1"/>
          </p:nvPr>
        </p:nvSpPr>
        <p:spPr>
          <a:xfrm>
            <a:off x="7721600" y="3886200"/>
            <a:ext cx="3048000" cy="1752600"/>
          </a:xfrm>
        </p:spPr>
        <p:txBody>
          <a:bodyPr>
            <a:normAutofit/>
          </a:bodyPr>
          <a:lstStyle>
            <a:lvl1pPr>
              <a:buNone/>
              <a:defRPr sz="1800">
                <a:solidFill>
                  <a:schemeClr val="tx1">
                    <a:lumMod val="75000"/>
                    <a:lumOff val="25000"/>
                  </a:schemeClr>
                </a:solidFill>
              </a:defRPr>
            </a:lvl1pPr>
          </a:lstStyle>
          <a:p>
            <a:pPr lvl="0"/>
            <a:r>
              <a:rPr lang="en-US" dirty="0"/>
              <a:t>Click to add subtext</a:t>
            </a:r>
          </a:p>
        </p:txBody>
      </p:sp>
      <p:sp>
        <p:nvSpPr>
          <p:cNvPr id="12" name="Rectangle 11"/>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5" name="Straight Connector 14"/>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5674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4-Up Portrait with Colored Captions">
    <p:bg>
      <p:bgPr>
        <a:solidFill>
          <a:srgbClr val="F0F0F0"/>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p:cNvSpPr>
          <p:nvPr>
            <p:ph type="pic" sz="quarter" idx="14"/>
          </p:nvPr>
        </p:nvSpPr>
        <p:spPr>
          <a:xfrm>
            <a:off x="2946400" y="2411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26"/>
          </p:nvPr>
        </p:nvSpPr>
        <p:spPr>
          <a:xfrm>
            <a:off x="29464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5"/>
          </p:nvPr>
        </p:nvSpPr>
        <p:spPr>
          <a:xfrm>
            <a:off x="6203627" y="241192"/>
            <a:ext cx="2956931"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27"/>
          </p:nvPr>
        </p:nvSpPr>
        <p:spPr>
          <a:xfrm>
            <a:off x="61976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16" hasCustomPrompt="1"/>
          </p:nvPr>
        </p:nvSpPr>
        <p:spPr>
          <a:xfrm>
            <a:off x="533996" y="1295400"/>
            <a:ext cx="2235200" cy="1905000"/>
          </a:xfrm>
          <a:solidFill>
            <a:srgbClr val="91BED4"/>
          </a:solidFill>
        </p:spPr>
        <p:txBody>
          <a:bodyPr anchor="b" anchorCtr="0">
            <a:noAutofit/>
          </a:bodyPr>
          <a:lstStyle>
            <a:lvl1pPr marL="0" marR="0" indent="0" algn="r" rtl="0" latinLnBrk="0">
              <a:spcBef>
                <a:spcPct val="20000"/>
              </a:spcBef>
              <a:buFontTx/>
              <a:buNone/>
              <a:defRPr sz="1600" baseline="0">
                <a:solidFill>
                  <a:schemeClr val="bg1"/>
                </a:solidFill>
                <a:latin typeface="+mn-lt"/>
                <a:ea typeface="+mn-ea"/>
                <a:cs typeface="+mn-cs"/>
              </a:defRPr>
            </a:lvl1pPr>
            <a:extLst/>
          </a:lstStyle>
          <a:p>
            <a:pPr lvl="0"/>
            <a:r>
              <a:rPr lang="en-US" dirty="0"/>
              <a:t>Click to add caption</a:t>
            </a:r>
          </a:p>
        </p:txBody>
      </p:sp>
      <p:sp>
        <p:nvSpPr>
          <p:cNvPr id="11" name="Rectangle 7"/>
          <p:cNvSpPr>
            <a:spLocks noGrp="1"/>
          </p:cNvSpPr>
          <p:nvPr>
            <p:ph type="body" sz="quarter" idx="29" hasCustomPrompt="1"/>
          </p:nvPr>
        </p:nvSpPr>
        <p:spPr>
          <a:xfrm>
            <a:off x="9448800" y="1295400"/>
            <a:ext cx="2235200" cy="1905000"/>
          </a:xfrm>
          <a:solidFill>
            <a:srgbClr val="FC7500"/>
          </a:solidFill>
        </p:spPr>
        <p:txBody>
          <a:bodyPr anchor="b" anchorCtr="0"/>
          <a:lstStyle>
            <a:lvl1pPr marL="0" marR="0" indent="0" algn="l">
              <a:buFontTx/>
              <a:buNone/>
              <a:defRPr sz="1600" baseline="0">
                <a:solidFill>
                  <a:schemeClr val="bg1"/>
                </a:solidFill>
              </a:defRPr>
            </a:lvl1pPr>
            <a:extLst/>
          </a:lstStyle>
          <a:p>
            <a:pPr lvl="0"/>
            <a:r>
              <a:rPr lang="en-US" dirty="0"/>
              <a:t>Click to add caption</a:t>
            </a:r>
          </a:p>
        </p:txBody>
      </p:sp>
      <p:sp>
        <p:nvSpPr>
          <p:cNvPr id="12" name="Rectangle 7"/>
          <p:cNvSpPr>
            <a:spLocks noGrp="1"/>
          </p:cNvSpPr>
          <p:nvPr>
            <p:ph type="body" sz="quarter" idx="28" hasCustomPrompt="1"/>
          </p:nvPr>
        </p:nvSpPr>
        <p:spPr>
          <a:xfrm>
            <a:off x="533996" y="3352800"/>
            <a:ext cx="2235200" cy="1905000"/>
          </a:xfrm>
          <a:solidFill>
            <a:srgbClr val="FC7500"/>
          </a:solidFill>
        </p:spPr>
        <p:txBody>
          <a:bodyPr anchor="t" anchorCtr="0"/>
          <a:lstStyle>
            <a:lvl1pPr marL="0" marR="0" indent="0" algn="r">
              <a:buFontTx/>
              <a:buNone/>
              <a:defRPr sz="1600" baseline="0">
                <a:solidFill>
                  <a:schemeClr val="bg1"/>
                </a:solidFill>
              </a:defRPr>
            </a:lvl1pPr>
            <a:extLst/>
          </a:lstStyle>
          <a:p>
            <a:pPr lvl="0"/>
            <a:r>
              <a:rPr lang="en-US" dirty="0"/>
              <a:t>Click to add caption</a:t>
            </a:r>
          </a:p>
        </p:txBody>
      </p:sp>
      <p:sp>
        <p:nvSpPr>
          <p:cNvPr id="13" name="Rectangle 7"/>
          <p:cNvSpPr>
            <a:spLocks noGrp="1"/>
          </p:cNvSpPr>
          <p:nvPr>
            <p:ph type="body" sz="quarter" idx="30" hasCustomPrompt="1"/>
          </p:nvPr>
        </p:nvSpPr>
        <p:spPr>
          <a:xfrm>
            <a:off x="9448800" y="3352800"/>
            <a:ext cx="2235200" cy="1905000"/>
          </a:xfrm>
          <a:solidFill>
            <a:srgbClr val="91BED4"/>
          </a:solidFill>
        </p:spPr>
        <p:txBody>
          <a:bodyPr anchor="t" anchorCtr="0"/>
          <a:lstStyle>
            <a:lvl1pPr marL="0" marR="0" indent="0" algn="l">
              <a:buFontTx/>
              <a:buNone/>
              <a:defRPr sz="1600" baseline="0">
                <a:solidFill>
                  <a:schemeClr val="bg1"/>
                </a:solidFill>
              </a:defRPr>
            </a:lvl1pPr>
            <a:extLst/>
          </a:lstStyle>
          <a:p>
            <a:pPr lvl="0"/>
            <a:r>
              <a:rPr lang="en-US" dirty="0"/>
              <a:t>Click to add caption</a:t>
            </a:r>
          </a:p>
        </p:txBody>
      </p:sp>
    </p:spTree>
    <p:extLst>
      <p:ext uri="{BB962C8B-B14F-4D97-AF65-F5344CB8AC3E}">
        <p14:creationId xmlns:p14="http://schemas.microsoft.com/office/powerpoint/2010/main" val="4077268933"/>
      </p:ext>
    </p:extLst>
  </p:cSld>
  <p:clrMapOvr>
    <a:overrideClrMapping bg1="lt1" tx1="dk1" bg2="lt2" tx2="dk2" accent1="accent1" accent2="accent2" accent3="accent3" accent4="accent4" accent5="accent5" accent6="accent6" hlink="hlink" folHlink="folHlink"/>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4-Up Portrait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p:cNvSpPr>
          <p:nvPr>
            <p:ph type="pic" sz="quarter" idx="14"/>
          </p:nvPr>
        </p:nvSpPr>
        <p:spPr>
          <a:xfrm>
            <a:off x="2997200" y="2411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26"/>
          </p:nvPr>
        </p:nvSpPr>
        <p:spPr>
          <a:xfrm>
            <a:off x="29972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5"/>
          </p:nvPr>
        </p:nvSpPr>
        <p:spPr>
          <a:xfrm>
            <a:off x="6254427" y="241192"/>
            <a:ext cx="2956931"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27"/>
          </p:nvPr>
        </p:nvSpPr>
        <p:spPr>
          <a:xfrm>
            <a:off x="62484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16" hasCustomPrompt="1"/>
          </p:nvPr>
        </p:nvSpPr>
        <p:spPr>
          <a:xfrm>
            <a:off x="457200" y="1257300"/>
            <a:ext cx="2235200" cy="1905000"/>
          </a:xfrm>
          <a:noFill/>
        </p:spPr>
        <p:txBody>
          <a:bodyPr anchor="b" anchorCtr="0">
            <a:noAutofit/>
          </a:bodyPr>
          <a:lstStyle>
            <a:lvl1pPr marL="0" marR="0" indent="0" algn="r" rtl="0" latinLnBrk="0">
              <a:spcBef>
                <a:spcPct val="20000"/>
              </a:spcBef>
              <a:buFontTx/>
              <a:buNone/>
              <a:defRPr sz="1600" baseline="0">
                <a:solidFill>
                  <a:schemeClr val="tx1">
                    <a:lumMod val="50000"/>
                    <a:lumOff val="50000"/>
                  </a:schemeClr>
                </a:solidFill>
                <a:latin typeface="+mn-lt"/>
                <a:ea typeface="+mn-ea"/>
                <a:cs typeface="+mn-cs"/>
              </a:defRPr>
            </a:lvl1pPr>
            <a:extLst/>
          </a:lstStyle>
          <a:p>
            <a:pPr lvl="0"/>
            <a:r>
              <a:rPr lang="en-US" dirty="0"/>
              <a:t>Click to add caption</a:t>
            </a:r>
          </a:p>
        </p:txBody>
      </p:sp>
      <p:sp>
        <p:nvSpPr>
          <p:cNvPr id="12" name="Rectangle 7"/>
          <p:cNvSpPr>
            <a:spLocks noGrp="1"/>
          </p:cNvSpPr>
          <p:nvPr>
            <p:ph type="body" sz="quarter" idx="28" hasCustomPrompt="1"/>
          </p:nvPr>
        </p:nvSpPr>
        <p:spPr>
          <a:xfrm>
            <a:off x="457200" y="3352800"/>
            <a:ext cx="2235200" cy="1905000"/>
          </a:xfrm>
          <a:noFill/>
        </p:spPr>
        <p:txBody>
          <a:bodyPr anchor="t" anchorCtr="0"/>
          <a:lstStyle>
            <a:lvl1pPr marL="0" marR="0" indent="0" algn="r">
              <a:buFontTx/>
              <a:buNone/>
              <a:defRPr sz="1600" baseline="0">
                <a:solidFill>
                  <a:schemeClr val="tx1">
                    <a:lumMod val="50000"/>
                    <a:lumOff val="50000"/>
                  </a:schemeClr>
                </a:solidFill>
              </a:defRPr>
            </a:lvl1pPr>
            <a:extLst/>
          </a:lstStyle>
          <a:p>
            <a:pPr lvl="0"/>
            <a:r>
              <a:rPr lang="en-US" dirty="0"/>
              <a:t>Click to add caption</a:t>
            </a:r>
          </a:p>
        </p:txBody>
      </p:sp>
      <p:sp>
        <p:nvSpPr>
          <p:cNvPr id="13" name="Rectangle 7"/>
          <p:cNvSpPr>
            <a:spLocks noGrp="1"/>
          </p:cNvSpPr>
          <p:nvPr>
            <p:ph type="body" sz="quarter" idx="30" hasCustomPrompt="1"/>
          </p:nvPr>
        </p:nvSpPr>
        <p:spPr>
          <a:xfrm>
            <a:off x="9499600" y="3352800"/>
            <a:ext cx="2235200" cy="1905000"/>
          </a:xfrm>
          <a:noFill/>
        </p:spPr>
        <p:txBody>
          <a:bodyPr anchor="t" anchorCtr="0"/>
          <a:lstStyle>
            <a:lvl1pPr marL="0" marR="0" indent="0" algn="l">
              <a:buFontTx/>
              <a:buNone/>
              <a:defRPr sz="1600" baseline="0">
                <a:solidFill>
                  <a:schemeClr val="tx1">
                    <a:lumMod val="50000"/>
                    <a:lumOff val="50000"/>
                  </a:schemeClr>
                </a:solidFill>
              </a:defRPr>
            </a:lvl1pPr>
            <a:extLst/>
          </a:lstStyle>
          <a:p>
            <a:pPr lvl="0"/>
            <a:r>
              <a:rPr lang="en-US" dirty="0"/>
              <a:t>Click to add caption</a:t>
            </a:r>
          </a:p>
        </p:txBody>
      </p:sp>
      <p:sp>
        <p:nvSpPr>
          <p:cNvPr id="14" name="Rectangle 7"/>
          <p:cNvSpPr>
            <a:spLocks noGrp="1"/>
          </p:cNvSpPr>
          <p:nvPr>
            <p:ph type="body" sz="quarter" idx="31" hasCustomPrompt="1"/>
          </p:nvPr>
        </p:nvSpPr>
        <p:spPr>
          <a:xfrm>
            <a:off x="9499600" y="1257300"/>
            <a:ext cx="2235200" cy="1905000"/>
          </a:xfrm>
        </p:spPr>
        <p:txBody>
          <a:bodyPr anchor="b" anchorCtr="0"/>
          <a:lstStyle>
            <a:lvl1pPr marL="0" marR="0" indent="0" algn="l">
              <a:buFontTx/>
              <a:buNone/>
              <a:defRPr sz="1600" baseline="0">
                <a:solidFill>
                  <a:schemeClr val="tx1">
                    <a:lumMod val="50000"/>
                    <a:lumOff val="50000"/>
                  </a:schemeClr>
                </a:solidFill>
              </a:defRPr>
            </a:lvl1pPr>
            <a:extLst/>
          </a:lstStyle>
          <a:p>
            <a:pPr lvl="0"/>
            <a:r>
              <a:rPr lang="en-US" dirty="0"/>
              <a:t>Click to add caption</a:t>
            </a:r>
          </a:p>
        </p:txBody>
      </p:sp>
    </p:spTree>
    <p:extLst>
      <p:ext uri="{BB962C8B-B14F-4D97-AF65-F5344CB8AC3E}">
        <p14:creationId xmlns:p14="http://schemas.microsoft.com/office/powerpoint/2010/main" val="2169869043"/>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4-Up Portrait with Title and Large Capti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p:cNvSpPr>
          <p:nvPr>
            <p:ph type="pic" sz="quarter" idx="14"/>
          </p:nvPr>
        </p:nvSpPr>
        <p:spPr>
          <a:xfrm>
            <a:off x="304800"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31"/>
          </p:nvPr>
        </p:nvSpPr>
        <p:spPr>
          <a:xfrm>
            <a:off x="6163733"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p:cNvSpPr>
          <p:nvPr>
            <p:ph type="pic" sz="quarter" idx="30"/>
          </p:nvPr>
        </p:nvSpPr>
        <p:spPr>
          <a:xfrm>
            <a:off x="3233680"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32"/>
          </p:nvPr>
        </p:nvSpPr>
        <p:spPr>
          <a:xfrm>
            <a:off x="9088488"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29" hasCustomPrompt="1"/>
          </p:nvPr>
        </p:nvSpPr>
        <p:spPr>
          <a:xfrm>
            <a:off x="304800" y="3733799"/>
            <a:ext cx="11480800" cy="457200"/>
          </a:xfrm>
        </p:spPr>
        <p:txBody>
          <a:bodyPr anchor="t" anchorCtr="0">
            <a:noAutofit/>
          </a:bodyPr>
          <a:lstStyle>
            <a:lvl1pPr marL="0" marR="0" indent="0" algn="l">
              <a:buFontTx/>
              <a:buNone/>
              <a:defRPr sz="2600" b="1" baseline="0">
                <a:solidFill>
                  <a:srgbClr val="FC7500"/>
                </a:solidFill>
              </a:defRPr>
            </a:lvl1pPr>
            <a:extLst/>
          </a:lstStyle>
          <a:p>
            <a:pPr lvl="0"/>
            <a:r>
              <a:rPr lang="en-US" dirty="0"/>
              <a:t>Click to add title style</a:t>
            </a:r>
          </a:p>
        </p:txBody>
      </p:sp>
      <p:sp>
        <p:nvSpPr>
          <p:cNvPr id="12" name="Text Placeholder 11"/>
          <p:cNvSpPr>
            <a:spLocks noGrp="1"/>
          </p:cNvSpPr>
          <p:nvPr>
            <p:ph type="body" sz="quarter" idx="33" hasCustomPrompt="1"/>
          </p:nvPr>
        </p:nvSpPr>
        <p:spPr>
          <a:xfrm>
            <a:off x="304800" y="4343399"/>
            <a:ext cx="11480800" cy="1600200"/>
          </a:xfrm>
        </p:spPr>
        <p:txBody>
          <a:bodyPr>
            <a:normAutofit/>
          </a:bodyPr>
          <a:lstStyle>
            <a:lvl1pPr>
              <a:buNone/>
              <a:defRPr sz="2000">
                <a:solidFill>
                  <a:schemeClr val="tx1">
                    <a:lumMod val="75000"/>
                    <a:lumOff val="25000"/>
                  </a:schemeClr>
                </a:solidFill>
              </a:defRPr>
            </a:lvl1pPr>
          </a:lstStyle>
          <a:p>
            <a:pPr lvl="0"/>
            <a:r>
              <a:rPr lang="en-US" dirty="0"/>
              <a:t>Click to add caption text</a:t>
            </a:r>
          </a:p>
        </p:txBody>
      </p:sp>
      <p:grpSp>
        <p:nvGrpSpPr>
          <p:cNvPr id="11" name="Group 10"/>
          <p:cNvGrpSpPr/>
          <p:nvPr userDrawn="1"/>
        </p:nvGrpSpPr>
        <p:grpSpPr>
          <a:xfrm rot="5400000">
            <a:off x="5801032" y="467032"/>
            <a:ext cx="589936" cy="12192000"/>
            <a:chOff x="8524568" y="0"/>
            <a:chExt cx="589936" cy="6858000"/>
          </a:xfrm>
        </p:grpSpPr>
        <p:sp>
          <p:nvSpPr>
            <p:cNvPr id="13" name="Rectangle 12"/>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4" name="Straight Connector 13"/>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5"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6"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7"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08489047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4-Up Mixed">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6" name="Rectangle 7"/>
          <p:cNvSpPr>
            <a:spLocks noGrp="1"/>
          </p:cNvSpPr>
          <p:nvPr>
            <p:ph type="pic" sz="quarter" idx="14"/>
          </p:nvPr>
        </p:nvSpPr>
        <p:spPr>
          <a:xfrm>
            <a:off x="1016001" y="257666"/>
            <a:ext cx="5975943" cy="5990735"/>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noChangeAspect="1"/>
          </p:cNvSpPr>
          <p:nvPr>
            <p:ph type="pic" sz="quarter" idx="18"/>
          </p:nvPr>
        </p:nvSpPr>
        <p:spPr>
          <a:xfrm>
            <a:off x="7540585" y="257666"/>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2"/>
          </p:nvPr>
        </p:nvSpPr>
        <p:spPr>
          <a:xfrm>
            <a:off x="7540585" y="2362201"/>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noChangeAspect="1"/>
          </p:cNvSpPr>
          <p:nvPr>
            <p:ph type="pic" sz="quarter" idx="23"/>
          </p:nvPr>
        </p:nvSpPr>
        <p:spPr>
          <a:xfrm>
            <a:off x="7540585" y="4495801"/>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2"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3"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4"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5" name="Rectangle 14"/>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6" name="Straight Connector 15"/>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9289678"/>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5-Up: 3 Landscape with 2 Portrait">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p:cNvSpPr>
          <p:nvPr>
            <p:ph type="pic" sz="quarter" idx="14"/>
          </p:nvPr>
        </p:nvSpPr>
        <p:spPr>
          <a:xfrm>
            <a:off x="812800" y="3480498"/>
            <a:ext cx="2561275" cy="275762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17"/>
          </p:nvPr>
        </p:nvSpPr>
        <p:spPr>
          <a:xfrm>
            <a:off x="3841930" y="228600"/>
            <a:ext cx="7012547" cy="394455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p:cNvSpPr>
          <p:nvPr>
            <p:ph type="pic" sz="quarter" idx="26"/>
          </p:nvPr>
        </p:nvSpPr>
        <p:spPr>
          <a:xfrm>
            <a:off x="812800" y="228601"/>
            <a:ext cx="2561275" cy="275762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noChangeAspect="1"/>
          </p:cNvSpPr>
          <p:nvPr>
            <p:ph type="pic" sz="quarter" idx="27"/>
          </p:nvPr>
        </p:nvSpPr>
        <p:spPr>
          <a:xfrm>
            <a:off x="7733193" y="4563307"/>
            <a:ext cx="3239608" cy="170773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noChangeAspect="1"/>
          </p:cNvSpPr>
          <p:nvPr>
            <p:ph type="pic" sz="quarter" idx="28"/>
          </p:nvPr>
        </p:nvSpPr>
        <p:spPr>
          <a:xfrm>
            <a:off x="3860800" y="4563307"/>
            <a:ext cx="3349360" cy="170773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3"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4"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5"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078992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5-Up: 2 Landscape with 3 Portrait">
    <p:bg>
      <p:bgPr>
        <a:solidFill>
          <a:schemeClr val="bg1">
            <a:lumMod val="95000"/>
          </a:schemeClr>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0" name="Rectangle 7"/>
          <p:cNvSpPr>
            <a:spLocks noGrp="1"/>
          </p:cNvSpPr>
          <p:nvPr>
            <p:ph type="pic" sz="quarter" idx="26"/>
          </p:nvPr>
        </p:nvSpPr>
        <p:spPr>
          <a:xfrm>
            <a:off x="705474" y="3124201"/>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1" name="Rectangle 7"/>
          <p:cNvSpPr>
            <a:spLocks noGrp="1"/>
          </p:cNvSpPr>
          <p:nvPr>
            <p:ph type="pic" sz="quarter" idx="29"/>
          </p:nvPr>
        </p:nvSpPr>
        <p:spPr>
          <a:xfrm>
            <a:off x="681832" y="228602"/>
            <a:ext cx="5106533" cy="2651469"/>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2" name="Rectangle 7"/>
          <p:cNvSpPr>
            <a:spLocks noGrp="1"/>
          </p:cNvSpPr>
          <p:nvPr>
            <p:ph type="pic" sz="quarter" idx="30"/>
          </p:nvPr>
        </p:nvSpPr>
        <p:spPr>
          <a:xfrm>
            <a:off x="6374267" y="228602"/>
            <a:ext cx="5106533" cy="2651469"/>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3" name="Rectangle 7"/>
          <p:cNvSpPr>
            <a:spLocks noGrp="1"/>
          </p:cNvSpPr>
          <p:nvPr>
            <p:ph type="pic" sz="quarter" idx="27"/>
          </p:nvPr>
        </p:nvSpPr>
        <p:spPr>
          <a:xfrm>
            <a:off x="4413874" y="3124201"/>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4" name="Rectangle 7"/>
          <p:cNvSpPr>
            <a:spLocks noGrp="1"/>
          </p:cNvSpPr>
          <p:nvPr>
            <p:ph type="pic" sz="quarter" idx="28"/>
          </p:nvPr>
        </p:nvSpPr>
        <p:spPr>
          <a:xfrm>
            <a:off x="8122274" y="3124201"/>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Tree>
    <p:extLst>
      <p:ext uri="{BB962C8B-B14F-4D97-AF65-F5344CB8AC3E}">
        <p14:creationId xmlns:p14="http://schemas.microsoft.com/office/powerpoint/2010/main" val="3753524860"/>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Photo Grid with Colored Captions">
    <p:bg>
      <p:bgPr>
        <a:solidFill>
          <a:schemeClr val="bg1"/>
        </a:solidFill>
        <a:effectLst/>
      </p:bgPr>
    </p:bg>
    <p:spTree>
      <p:nvGrpSpPr>
        <p:cNvPr id="1" name=""/>
        <p:cNvGrpSpPr/>
        <p:nvPr/>
      </p:nvGrpSpPr>
      <p:grpSpPr>
        <a:xfrm>
          <a:off x="0" y="0"/>
          <a:ext cx="0" cy="0"/>
          <a:chOff x="0" y="0"/>
          <a:chExt cx="0" cy="0"/>
        </a:xfrm>
      </p:grpSpPr>
      <p:sp>
        <p:nvSpPr>
          <p:cNvPr id="51" name="Rectangle 50"/>
          <p:cNvSpPr/>
          <p:nvPr userDrawn="1"/>
        </p:nvSpPr>
        <p:spPr>
          <a:xfrm>
            <a:off x="6197600" y="4558210"/>
            <a:ext cx="2743200" cy="199499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Text Placeholder 25"/>
          <p:cNvSpPr>
            <a:spLocks noGrp="1"/>
          </p:cNvSpPr>
          <p:nvPr>
            <p:ph type="body" sz="quarter" idx="31" hasCustomPrompt="1"/>
          </p:nvPr>
        </p:nvSpPr>
        <p:spPr>
          <a:xfrm>
            <a:off x="6299200" y="47106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53" name="Text Placeholder 28"/>
          <p:cNvSpPr>
            <a:spLocks noGrp="1"/>
          </p:cNvSpPr>
          <p:nvPr>
            <p:ph type="body" sz="quarter" idx="32" hasCustomPrompt="1"/>
          </p:nvPr>
        </p:nvSpPr>
        <p:spPr>
          <a:xfrm>
            <a:off x="6299200" y="51678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right</a:t>
            </a:r>
          </a:p>
        </p:txBody>
      </p:sp>
      <p:sp>
        <p:nvSpPr>
          <p:cNvPr id="35" name="Rectangle 34"/>
          <p:cNvSpPr/>
          <p:nvPr userDrawn="1"/>
        </p:nvSpPr>
        <p:spPr>
          <a:xfrm>
            <a:off x="6197600" y="291010"/>
            <a:ext cx="2743200" cy="1994990"/>
          </a:xfrm>
          <a:prstGeom prst="rect">
            <a:avLst/>
          </a:prstGeom>
          <a:solidFill>
            <a:srgbClr val="D9E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Text Placeholder 25"/>
          <p:cNvSpPr>
            <a:spLocks noGrp="1"/>
          </p:cNvSpPr>
          <p:nvPr>
            <p:ph type="body" sz="quarter" idx="19" hasCustomPrompt="1"/>
          </p:nvPr>
        </p:nvSpPr>
        <p:spPr>
          <a:xfrm>
            <a:off x="6299200" y="443411"/>
            <a:ext cx="2540000" cy="366889"/>
          </a:xfrm>
        </p:spPr>
        <p:txBody>
          <a:bodyPr>
            <a:normAutofit/>
          </a:bodyPr>
          <a:lstStyle>
            <a:lvl1pPr algn="l">
              <a:buNone/>
              <a:defRPr sz="1600" b="1" baseline="0">
                <a:solidFill>
                  <a:schemeClr val="accent1">
                    <a:lumMod val="75000"/>
                  </a:schemeClr>
                </a:solidFill>
              </a:defRPr>
            </a:lvl1pPr>
          </a:lstStyle>
          <a:p>
            <a:pPr lvl="0"/>
            <a:r>
              <a:rPr lang="en-US" dirty="0"/>
              <a:t>CLICK TO ADD TITLE</a:t>
            </a:r>
          </a:p>
        </p:txBody>
      </p:sp>
      <p:sp>
        <p:nvSpPr>
          <p:cNvPr id="37" name="Text Placeholder 28"/>
          <p:cNvSpPr>
            <a:spLocks noGrp="1"/>
          </p:cNvSpPr>
          <p:nvPr>
            <p:ph type="body" sz="quarter" idx="20" hasCustomPrompt="1"/>
          </p:nvPr>
        </p:nvSpPr>
        <p:spPr>
          <a:xfrm>
            <a:off x="6299200" y="9006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30" name="Rectangle 29"/>
          <p:cNvSpPr/>
          <p:nvPr userDrawn="1"/>
        </p:nvSpPr>
        <p:spPr>
          <a:xfrm>
            <a:off x="304800" y="291010"/>
            <a:ext cx="2743200" cy="199499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C7500"/>
              </a:solidFill>
            </a:endParaRPr>
          </a:p>
        </p:txBody>
      </p:sp>
      <p:sp>
        <p:nvSpPr>
          <p:cNvPr id="31" name="Picture Placeholder 11"/>
          <p:cNvSpPr>
            <a:spLocks noGrp="1"/>
          </p:cNvSpPr>
          <p:nvPr>
            <p:ph type="pic" sz="quarter" idx="13"/>
          </p:nvPr>
        </p:nvSpPr>
        <p:spPr>
          <a:xfrm>
            <a:off x="3247923" y="295275"/>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32" name="Picture Placeholder 11"/>
          <p:cNvSpPr>
            <a:spLocks noGrp="1"/>
          </p:cNvSpPr>
          <p:nvPr>
            <p:ph type="pic" sz="quarter" idx="16"/>
          </p:nvPr>
        </p:nvSpPr>
        <p:spPr>
          <a:xfrm>
            <a:off x="9140723" y="2910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33" name="Text Placeholder 25"/>
          <p:cNvSpPr>
            <a:spLocks noGrp="1"/>
          </p:cNvSpPr>
          <p:nvPr>
            <p:ph type="body" sz="quarter" idx="17" hasCustomPrompt="1"/>
          </p:nvPr>
        </p:nvSpPr>
        <p:spPr>
          <a:xfrm>
            <a:off x="406400" y="4434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34" name="Text Placeholder 28"/>
          <p:cNvSpPr>
            <a:spLocks noGrp="1"/>
          </p:cNvSpPr>
          <p:nvPr>
            <p:ph type="body" sz="quarter" idx="18" hasCustomPrompt="1"/>
          </p:nvPr>
        </p:nvSpPr>
        <p:spPr>
          <a:xfrm>
            <a:off x="406400" y="9006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right</a:t>
            </a:r>
          </a:p>
        </p:txBody>
      </p:sp>
      <p:sp>
        <p:nvSpPr>
          <p:cNvPr id="38" name="Rectangle 37"/>
          <p:cNvSpPr/>
          <p:nvPr userDrawn="1"/>
        </p:nvSpPr>
        <p:spPr>
          <a:xfrm>
            <a:off x="3254476" y="2424610"/>
            <a:ext cx="2743200" cy="199499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Picture Placeholder 11"/>
          <p:cNvSpPr>
            <a:spLocks noGrp="1"/>
          </p:cNvSpPr>
          <p:nvPr>
            <p:ph type="pic" sz="quarter" idx="21"/>
          </p:nvPr>
        </p:nvSpPr>
        <p:spPr>
          <a:xfrm>
            <a:off x="304800"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0" name="Picture Placeholder 11"/>
          <p:cNvSpPr>
            <a:spLocks noGrp="1"/>
          </p:cNvSpPr>
          <p:nvPr>
            <p:ph type="pic" sz="quarter" idx="22"/>
          </p:nvPr>
        </p:nvSpPr>
        <p:spPr>
          <a:xfrm>
            <a:off x="6200876"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1" name="Text Placeholder 25"/>
          <p:cNvSpPr>
            <a:spLocks noGrp="1"/>
          </p:cNvSpPr>
          <p:nvPr>
            <p:ph type="body" sz="quarter" idx="23" hasCustomPrompt="1"/>
          </p:nvPr>
        </p:nvSpPr>
        <p:spPr>
          <a:xfrm>
            <a:off x="3356076" y="25770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42" name="Text Placeholder 28"/>
          <p:cNvSpPr>
            <a:spLocks noGrp="1"/>
          </p:cNvSpPr>
          <p:nvPr>
            <p:ph type="body" sz="quarter" idx="24" hasCustomPrompt="1"/>
          </p:nvPr>
        </p:nvSpPr>
        <p:spPr>
          <a:xfrm>
            <a:off x="3356076" y="30342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left</a:t>
            </a:r>
          </a:p>
        </p:txBody>
      </p:sp>
      <p:sp>
        <p:nvSpPr>
          <p:cNvPr id="43" name="Rectangle 42"/>
          <p:cNvSpPr/>
          <p:nvPr userDrawn="1"/>
        </p:nvSpPr>
        <p:spPr>
          <a:xfrm>
            <a:off x="9147276" y="2424610"/>
            <a:ext cx="2743200" cy="19949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Text Placeholder 25"/>
          <p:cNvSpPr>
            <a:spLocks noGrp="1"/>
          </p:cNvSpPr>
          <p:nvPr>
            <p:ph type="body" sz="quarter" idx="25" hasCustomPrompt="1"/>
          </p:nvPr>
        </p:nvSpPr>
        <p:spPr>
          <a:xfrm>
            <a:off x="9248876" y="25770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45" name="Text Placeholder 28"/>
          <p:cNvSpPr>
            <a:spLocks noGrp="1"/>
          </p:cNvSpPr>
          <p:nvPr>
            <p:ph type="body" sz="quarter" idx="26" hasCustomPrompt="1"/>
          </p:nvPr>
        </p:nvSpPr>
        <p:spPr>
          <a:xfrm>
            <a:off x="9248876" y="30342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left</a:t>
            </a:r>
          </a:p>
        </p:txBody>
      </p:sp>
      <p:sp>
        <p:nvSpPr>
          <p:cNvPr id="46" name="Rectangle 45"/>
          <p:cNvSpPr/>
          <p:nvPr userDrawn="1"/>
        </p:nvSpPr>
        <p:spPr>
          <a:xfrm>
            <a:off x="304800" y="4558210"/>
            <a:ext cx="2743200" cy="1994990"/>
          </a:xfrm>
          <a:prstGeom prst="rect">
            <a:avLst/>
          </a:prstGeom>
          <a:solidFill>
            <a:srgbClr val="D9E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Picture Placeholder 11"/>
          <p:cNvSpPr>
            <a:spLocks noGrp="1"/>
          </p:cNvSpPr>
          <p:nvPr>
            <p:ph type="pic" sz="quarter" idx="27"/>
          </p:nvPr>
        </p:nvSpPr>
        <p:spPr>
          <a:xfrm>
            <a:off x="3251200"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8" name="Picture Placeholder 11"/>
          <p:cNvSpPr>
            <a:spLocks noGrp="1"/>
          </p:cNvSpPr>
          <p:nvPr>
            <p:ph type="pic" sz="quarter" idx="28"/>
          </p:nvPr>
        </p:nvSpPr>
        <p:spPr>
          <a:xfrm>
            <a:off x="9144000"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9" name="Text Placeholder 25"/>
          <p:cNvSpPr>
            <a:spLocks noGrp="1"/>
          </p:cNvSpPr>
          <p:nvPr>
            <p:ph type="body" sz="quarter" idx="29" hasCustomPrompt="1"/>
          </p:nvPr>
        </p:nvSpPr>
        <p:spPr>
          <a:xfrm>
            <a:off x="406400" y="4710611"/>
            <a:ext cx="2540000" cy="366889"/>
          </a:xfrm>
        </p:spPr>
        <p:txBody>
          <a:bodyPr>
            <a:normAutofit/>
          </a:bodyPr>
          <a:lstStyle>
            <a:lvl1pPr algn="l">
              <a:buNone/>
              <a:defRPr sz="1600" b="1" baseline="0">
                <a:solidFill>
                  <a:schemeClr val="accent1">
                    <a:lumMod val="75000"/>
                  </a:schemeClr>
                </a:solidFill>
              </a:defRPr>
            </a:lvl1pPr>
          </a:lstStyle>
          <a:p>
            <a:pPr lvl="0"/>
            <a:r>
              <a:rPr lang="en-US" dirty="0"/>
              <a:t>CLICK TO ADD TITLE</a:t>
            </a:r>
          </a:p>
        </p:txBody>
      </p:sp>
      <p:sp>
        <p:nvSpPr>
          <p:cNvPr id="50" name="Text Placeholder 28"/>
          <p:cNvSpPr>
            <a:spLocks noGrp="1"/>
          </p:cNvSpPr>
          <p:nvPr>
            <p:ph type="body" sz="quarter" idx="30" hasCustomPrompt="1"/>
          </p:nvPr>
        </p:nvSpPr>
        <p:spPr>
          <a:xfrm>
            <a:off x="406400" y="51678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29" name="Date Placeholder 6"/>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54" name="Footer Placeholder 7"/>
          <p:cNvSpPr>
            <a:spLocks noGrp="1"/>
          </p:cNvSpPr>
          <p:nvPr>
            <p:ph type="ftr" sz="quarter" idx="11"/>
          </p:nvPr>
        </p:nvSpPr>
        <p:spPr>
          <a:xfrm>
            <a:off x="4165600" y="6553200"/>
            <a:ext cx="3860800" cy="304800"/>
          </a:xfrm>
        </p:spPr>
        <p:txBody>
          <a:bodyPr/>
          <a:lstStyle/>
          <a:p>
            <a:endParaRPr lang="en-US">
              <a:solidFill>
                <a:prstClr val="black">
                  <a:tint val="75000"/>
                </a:prstClr>
              </a:solidFill>
            </a:endParaRPr>
          </a:p>
        </p:txBody>
      </p:sp>
      <p:sp>
        <p:nvSpPr>
          <p:cNvPr id="55" name="Slide Number Placeholder 8"/>
          <p:cNvSpPr>
            <a:spLocks noGrp="1"/>
          </p:cNvSpPr>
          <p:nvPr>
            <p:ph type="sldNum" sz="quarter" idx="12"/>
          </p:nvPr>
        </p:nvSpPr>
        <p:spPr>
          <a:xfrm>
            <a:off x="8737600" y="6553200"/>
            <a:ext cx="28448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7316272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Panoramic with Caption">
    <p:bg>
      <p:bgPr>
        <a:solidFill>
          <a:schemeClr val="bg1">
            <a:lumMod val="95000"/>
          </a:schemeClr>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7" name="W¥ل云玗İαЂôÁûÂÚ丫:Pïçtúrê Plå¢éhõlðér 表¥鷗字㌍ 表_W 2"/>
          <p:cNvSpPr>
            <a:spLocks noGrp="1"/>
          </p:cNvSpPr>
          <p:nvPr>
            <p:ph type="pic" sz="quarter" idx="30"/>
          </p:nvPr>
        </p:nvSpPr>
        <p:spPr>
          <a:xfrm>
            <a:off x="622300" y="1371599"/>
            <a:ext cx="10922001" cy="2771776"/>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W¥ل云玗İαЂÕØÚáÛ丫:Téxt Plàçèhòlðêr 表¥鷗字㌍_W 3"/>
          <p:cNvSpPr>
            <a:spLocks noGrp="1"/>
          </p:cNvSpPr>
          <p:nvPr>
            <p:ph type="body" sz="quarter" idx="31" hasCustomPrompt="1"/>
          </p:nvPr>
        </p:nvSpPr>
        <p:spPr>
          <a:xfrm>
            <a:off x="609600" y="4343400"/>
            <a:ext cx="10972800" cy="1447800"/>
          </a:xfrm>
          <a:solidFill>
            <a:schemeClr val="bg1"/>
          </a:solidFill>
        </p:spPr>
        <p:txBody>
          <a:bodyPr tIns="91440" rIns="9144" bIns="91440" anchor="t"/>
          <a:lstStyle>
            <a:lvl1pPr marL="0" marR="0" indent="0" algn="l">
              <a:buFontTx/>
              <a:buNone/>
              <a:defRPr sz="1800" i="0">
                <a:solidFill>
                  <a:schemeClr val="tx1">
                    <a:lumMod val="75000"/>
                    <a:lumOff val="25000"/>
                  </a:schemeClr>
                </a:solidFill>
              </a:defRPr>
            </a:lvl1pPr>
            <a:extLst/>
          </a:lstStyle>
          <a:p>
            <a:pPr lvl="0"/>
            <a:r>
              <a:rPr lang="en-US" dirty="0"/>
              <a:t>Click to add caption</a:t>
            </a:r>
          </a:p>
        </p:txBody>
      </p:sp>
      <p:grpSp>
        <p:nvGrpSpPr>
          <p:cNvPr id="9" name="Group 8"/>
          <p:cNvGrpSpPr/>
          <p:nvPr userDrawn="1"/>
        </p:nvGrpSpPr>
        <p:grpSpPr>
          <a:xfrm rot="5400000">
            <a:off x="5801032" y="467032"/>
            <a:ext cx="589936" cy="12192000"/>
            <a:chOff x="8524568" y="0"/>
            <a:chExt cx="589936" cy="6858000"/>
          </a:xfrm>
        </p:grpSpPr>
        <p:sp>
          <p:nvSpPr>
            <p:cNvPr id="10" name="Rectangle 9"/>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1" name="Straight Connector 10"/>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2"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3"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4"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505270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Landscape with Title">
    <p:bg>
      <p:bgPr>
        <a:solidFill>
          <a:srgbClr val="91BED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 y="0"/>
            <a:ext cx="5072063" cy="6858000"/>
          </a:xfrm>
          <a:prstGeom prst="rect">
            <a:avLst/>
          </a:prstGeom>
        </p:spPr>
      </p:pic>
      <p:sp>
        <p:nvSpPr>
          <p:cNvPr id="3" name="Date Placeholder 2"/>
          <p:cNvSpPr>
            <a:spLocks noGrp="1"/>
          </p:cNvSpPr>
          <p:nvPr>
            <p:ph type="dt" sz="half" idx="10"/>
          </p:nvPr>
        </p:nvSpPr>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
        <p:nvSpPr>
          <p:cNvPr id="6" name="Rectangle 9"/>
          <p:cNvSpPr>
            <a:spLocks noGrp="1" noChangeAspect="1"/>
          </p:cNvSpPr>
          <p:nvPr>
            <p:ph type="pic" sz="quarter" idx="13"/>
          </p:nvPr>
        </p:nvSpPr>
        <p:spPr>
          <a:xfrm>
            <a:off x="711204" y="370790"/>
            <a:ext cx="10720017" cy="603001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Clr>
                <a:srgbClr val="438086"/>
              </a:buClr>
              <a:buSzPct val="60000"/>
              <a:buFontTx/>
              <a:buNone/>
              <a:defRPr lang="en-US" sz="2400" i="0" kern="1200" dirty="0">
                <a:solidFill>
                  <a:srgbClr val="FC7500"/>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7" name="Text Placeholder 10"/>
          <p:cNvSpPr>
            <a:spLocks noGrp="1"/>
          </p:cNvSpPr>
          <p:nvPr>
            <p:ph type="body" sz="quarter" idx="14" hasCustomPrompt="1"/>
          </p:nvPr>
        </p:nvSpPr>
        <p:spPr>
          <a:xfrm>
            <a:off x="6807200" y="5257805"/>
            <a:ext cx="5384800" cy="505047"/>
          </a:xfrm>
          <a:solidFill>
            <a:schemeClr val="tx1">
              <a:alpha val="46000"/>
            </a:schemeClr>
          </a:solidFill>
        </p:spPr>
        <p:txBody>
          <a:bodyPr>
            <a:normAutofit/>
          </a:bodyPr>
          <a:lstStyle>
            <a:lvl1pPr>
              <a:buNone/>
              <a:defRPr sz="2800" baseline="0">
                <a:solidFill>
                  <a:schemeClr val="bg1"/>
                </a:solidFill>
              </a:defRPr>
            </a:lvl1pPr>
          </a:lstStyle>
          <a:p>
            <a:pPr lvl="0"/>
            <a:r>
              <a:rPr lang="en-US" dirty="0"/>
              <a:t>Click to add Title</a:t>
            </a:r>
          </a:p>
        </p:txBody>
      </p:sp>
    </p:spTree>
    <p:extLst>
      <p:ext uri="{BB962C8B-B14F-4D97-AF65-F5344CB8AC3E}">
        <p14:creationId xmlns:p14="http://schemas.microsoft.com/office/powerpoint/2010/main" val="267125602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Square with Caption">
    <p:spTree>
      <p:nvGrpSpPr>
        <p:cNvPr id="1" name=""/>
        <p:cNvGrpSpPr/>
        <p:nvPr/>
      </p:nvGrpSpPr>
      <p:grpSpPr>
        <a:xfrm>
          <a:off x="0" y="0"/>
          <a:ext cx="0" cy="0"/>
          <a:chOff x="0" y="0"/>
          <a:chExt cx="0" cy="0"/>
        </a:xfrm>
      </p:grpSpPr>
      <p:sp>
        <p:nvSpPr>
          <p:cNvPr id="8" name="Rectangle 7"/>
          <p:cNvSpPr/>
          <p:nvPr userDrawn="1"/>
        </p:nvSpPr>
        <p:spPr>
          <a:xfrm rot="5400000">
            <a:off x="5825613" y="442451"/>
            <a:ext cx="540774" cy="12192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9" name="Straight Connector 8"/>
          <p:cNvCxnSpPr/>
          <p:nvPr userDrawn="1"/>
        </p:nvCxnSpPr>
        <p:spPr>
          <a:xfrm rot="10800000">
            <a:off x="0" y="6858000"/>
            <a:ext cx="12192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userDrawn="1">
            <p:ph type="dt" sz="half" idx="10"/>
          </p:nvPr>
        </p:nvSpPr>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4" name="Footer Placeholder 3"/>
          <p:cNvSpPr>
            <a:spLocks noGrp="1"/>
          </p:cNvSpPr>
          <p:nvPr userDrawn="1">
            <p:ph type="ftr" sz="quarter" idx="11"/>
          </p:nvPr>
        </p:nvSpPr>
        <p:spPr/>
        <p:txBody>
          <a:bodyPr/>
          <a:lstStyle>
            <a:lvl1pPr>
              <a:defRPr>
                <a:solidFill>
                  <a:schemeClr val="bg1"/>
                </a:solidFill>
              </a:defRPr>
            </a:lvl1pPr>
          </a:lstStyle>
          <a:p>
            <a:endParaRPr lang="en-US" dirty="0">
              <a:solidFill>
                <a:prstClr val="white"/>
              </a:solidFill>
            </a:endParaRPr>
          </a:p>
        </p:txBody>
      </p:sp>
      <p:sp>
        <p:nvSpPr>
          <p:cNvPr id="5" name="Slide Number Placeholder 4"/>
          <p:cNvSpPr>
            <a:spLocks noGrp="1"/>
          </p:cNvSpPr>
          <p:nvPr userDrawn="1">
            <p:ph type="sldNum" sz="quarter" idx="12"/>
          </p:nvPr>
        </p:nvSpPr>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
        <p:nvSpPr>
          <p:cNvPr id="6" name="W¥ل云玗İαЂôÁûÂÚ丫:Pïçtúrê Plå¢éhõlðér 表¥鷗字㌍ 表_W 3"/>
          <p:cNvSpPr>
            <a:spLocks noGrp="1" noChangeAspect="1"/>
          </p:cNvSpPr>
          <p:nvPr userDrawn="1">
            <p:ph type="pic" sz="quarter" idx="13"/>
          </p:nvPr>
        </p:nvSpPr>
        <p:spPr>
          <a:xfrm>
            <a:off x="3965432" y="609600"/>
            <a:ext cx="4264169" cy="32004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7" name="W¥ل云玗İαЂÕØÚáÛ丫:Téxt Plàçèhòlðêr 表¥鷗字㌍_W 6"/>
          <p:cNvSpPr>
            <a:spLocks noGrp="1"/>
          </p:cNvSpPr>
          <p:nvPr userDrawn="1">
            <p:ph type="body" sz="quarter" idx="15" hasCustomPrompt="1"/>
          </p:nvPr>
        </p:nvSpPr>
        <p:spPr>
          <a:xfrm>
            <a:off x="3962400" y="4038600"/>
            <a:ext cx="4267200" cy="1600200"/>
          </a:xfrm>
        </p:spPr>
        <p:txBody>
          <a:bodyPr tIns="91440" rIns="9144" bIns="91440" anchor="t"/>
          <a:lstStyle>
            <a:lvl1pPr marL="0" marR="0" indent="0" algn="l">
              <a:buFontTx/>
              <a:buNone/>
              <a:defRPr sz="1800" i="0">
                <a:solidFill>
                  <a:schemeClr val="tx1">
                    <a:lumMod val="75000"/>
                    <a:lumOff val="25000"/>
                  </a:schemeClr>
                </a:solidFill>
              </a:defRPr>
            </a:lvl1pPr>
            <a:extLst/>
          </a:lstStyle>
          <a:p>
            <a:pPr lvl="0"/>
            <a:r>
              <a:rPr lang="en-US" dirty="0"/>
              <a:t>Click to add caption</a:t>
            </a:r>
          </a:p>
        </p:txBody>
      </p:sp>
    </p:spTree>
    <p:extLst>
      <p:ext uri="{BB962C8B-B14F-4D97-AF65-F5344CB8AC3E}">
        <p14:creationId xmlns:p14="http://schemas.microsoft.com/office/powerpoint/2010/main" val="247769431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Portrait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8"/>
          <p:cNvSpPr>
            <a:spLocks noGrp="1"/>
          </p:cNvSpPr>
          <p:nvPr>
            <p:ph type="pic" sz="quarter" idx="13"/>
          </p:nvPr>
        </p:nvSpPr>
        <p:spPr>
          <a:xfrm>
            <a:off x="860936" y="290540"/>
            <a:ext cx="5743065" cy="572926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i="0"/>
              <a:t>按一下圖示以新增圖片</a:t>
            </a:r>
            <a:endParaRPr lang="en-US" i="0" dirty="0"/>
          </a:p>
        </p:txBody>
      </p:sp>
      <p:sp>
        <p:nvSpPr>
          <p:cNvPr id="10" name="Rectangle 6"/>
          <p:cNvSpPr>
            <a:spLocks noGrp="1"/>
          </p:cNvSpPr>
          <p:nvPr>
            <p:ph type="body" sz="quarter" idx="14" hasCustomPrompt="1"/>
          </p:nvPr>
        </p:nvSpPr>
        <p:spPr>
          <a:xfrm>
            <a:off x="7124700" y="2859716"/>
            <a:ext cx="4241800" cy="3181350"/>
          </a:xfrm>
        </p:spPr>
        <p:txBody>
          <a:bodyPr tIns="91440" bIns="91440" anchor="b" anchorCtr="0">
            <a:noAutofit/>
          </a:bodyPr>
          <a:lstStyle>
            <a:lvl1pPr marL="0" marR="0" indent="0" algn="l" rtl="0" latinLnBrk="0">
              <a:spcBef>
                <a:spcPct val="20000"/>
              </a:spcBef>
              <a:buFontTx/>
              <a:buNone/>
              <a:defRPr sz="1800" i="0" baseline="0">
                <a:solidFill>
                  <a:schemeClr val="tx1">
                    <a:lumMod val="75000"/>
                    <a:lumOff val="25000"/>
                  </a:schemeClr>
                </a:solidFill>
                <a:latin typeface="+mn-lt"/>
                <a:ea typeface="+mn-ea"/>
                <a:cs typeface="+mn-cs"/>
              </a:defRPr>
            </a:lvl1pPr>
            <a:extLst/>
          </a:lstStyle>
          <a:p>
            <a:pPr lvl="0"/>
            <a:r>
              <a:rPr lang="en-US" dirty="0"/>
              <a:t>Click to add caption</a:t>
            </a:r>
          </a:p>
        </p:txBody>
      </p:sp>
      <p:grpSp>
        <p:nvGrpSpPr>
          <p:cNvPr id="13" name="Group 12"/>
          <p:cNvGrpSpPr/>
          <p:nvPr userDrawn="1"/>
        </p:nvGrpSpPr>
        <p:grpSpPr>
          <a:xfrm rot="5400000">
            <a:off x="5801032" y="467032"/>
            <a:ext cx="589936" cy="12192000"/>
            <a:chOff x="8524568" y="0"/>
            <a:chExt cx="589936" cy="6858000"/>
          </a:xfrm>
        </p:grpSpPr>
        <p:sp>
          <p:nvSpPr>
            <p:cNvPr id="14" name="Rectangle 13"/>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5" name="Straight Connector 14"/>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6"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7"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8"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83911621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Photo with Title">
    <p:spTree>
      <p:nvGrpSpPr>
        <p:cNvPr id="1" name=""/>
        <p:cNvGrpSpPr/>
        <p:nvPr/>
      </p:nvGrpSpPr>
      <p:grpSpPr>
        <a:xfrm>
          <a:off x="0" y="0"/>
          <a:ext cx="0" cy="0"/>
          <a:chOff x="0" y="0"/>
          <a:chExt cx="0" cy="0"/>
        </a:xfrm>
      </p:grpSpPr>
      <p:sp>
        <p:nvSpPr>
          <p:cNvPr id="8" name="Rectangle 7"/>
          <p:cNvSpPr/>
          <p:nvPr userDrawn="1"/>
        </p:nvSpPr>
        <p:spPr>
          <a:xfrm>
            <a:off x="0" y="6096000"/>
            <a:ext cx="113792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Picture Placeholder 6"/>
          <p:cNvSpPr>
            <a:spLocks noGrp="1"/>
          </p:cNvSpPr>
          <p:nvPr>
            <p:ph type="pic" sz="quarter" idx="10"/>
          </p:nvPr>
        </p:nvSpPr>
        <p:spPr>
          <a:xfrm>
            <a:off x="0" y="0"/>
            <a:ext cx="11379200" cy="6096000"/>
          </a:xfrm>
        </p:spPr>
        <p:txBody>
          <a:bodyPr/>
          <a:lstStyle>
            <a:lvl1pPr algn="ctr">
              <a:buNone/>
              <a:defRPr>
                <a:solidFill>
                  <a:schemeClr val="tx1">
                    <a:lumMod val="85000"/>
                    <a:lumOff val="15000"/>
                  </a:schemeClr>
                </a:solidFill>
              </a:defRPr>
            </a:lvl1pPr>
          </a:lstStyle>
          <a:p>
            <a:r>
              <a:rPr lang="zh-TW" altLang="en-US"/>
              <a:t>按一下圖示以新增圖片</a:t>
            </a:r>
            <a:endParaRPr lang="en-US" dirty="0"/>
          </a:p>
        </p:txBody>
      </p:sp>
      <p:sp>
        <p:nvSpPr>
          <p:cNvPr id="2" name="Title 1"/>
          <p:cNvSpPr>
            <a:spLocks noGrp="1"/>
          </p:cNvSpPr>
          <p:nvPr>
            <p:ph type="title"/>
          </p:nvPr>
        </p:nvSpPr>
        <p:spPr>
          <a:xfrm>
            <a:off x="203200" y="6172200"/>
            <a:ext cx="10972800" cy="571500"/>
          </a:xfrm>
        </p:spPr>
        <p:txBody>
          <a:bodyPr>
            <a:noAutofit/>
          </a:bodyPr>
          <a:lstStyle>
            <a:lvl1pPr algn="l">
              <a:defRPr sz="3600" b="1">
                <a:solidFill>
                  <a:schemeClr val="tx1">
                    <a:lumMod val="85000"/>
                    <a:lumOff val="15000"/>
                  </a:schemeClr>
                </a:solidFill>
              </a:defRPr>
            </a:lvl1pPr>
          </a:lstStyle>
          <a:p>
            <a:r>
              <a:rPr lang="zh-TW" altLang="en-US"/>
              <a:t>按一下以編輯母片標題樣式</a:t>
            </a:r>
            <a:endParaRPr lang="en-US" dirty="0"/>
          </a:p>
        </p:txBody>
      </p:sp>
    </p:spTree>
    <p:extLst>
      <p:ext uri="{BB962C8B-B14F-4D97-AF65-F5344CB8AC3E}">
        <p14:creationId xmlns:p14="http://schemas.microsoft.com/office/powerpoint/2010/main" val="104705566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Full Page Photo with Titl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8" name="Rectangle 6"/>
          <p:cNvSpPr>
            <a:spLocks noGrp="1" noChangeAspect="1"/>
          </p:cNvSpPr>
          <p:nvPr>
            <p:ph type="pic" sz="quarter" idx="13"/>
          </p:nvPr>
        </p:nvSpPr>
        <p:spPr>
          <a:xfrm>
            <a:off x="0" y="0"/>
            <a:ext cx="12192000" cy="6858000"/>
          </a:xfrm>
          <a:no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t">
            <a:normAutofit/>
          </a:bodyPr>
          <a:lstStyle>
            <a:lvl1pPr marL="0" marR="0" indent="0" algn="ctr" rtl="0" latinLnBrk="0">
              <a:spcBef>
                <a:spcPct val="20000"/>
              </a:spcBef>
              <a:buFontTx/>
              <a:buNone/>
              <a:defRPr sz="2400" i="0">
                <a:solidFill>
                  <a:schemeClr val="tx1">
                    <a:lumMod val="75000"/>
                    <a:lumOff val="25000"/>
                  </a:schemeClr>
                </a:solidFill>
                <a:latin typeface="+mn-lt"/>
                <a:ea typeface="+mn-ea"/>
                <a:cs typeface="+mn-cs"/>
              </a:defRPr>
            </a:lvl1pPr>
            <a:extLst/>
          </a:lstStyle>
          <a:p>
            <a:pPr marL="0" marR="0" indent="0" algn="ctr">
              <a:buFontTx/>
              <a:buNone/>
            </a:pPr>
            <a:r>
              <a:rPr lang="zh-TW" altLang="en-US" i="0"/>
              <a:t>按一下圖示以新增圖片</a:t>
            </a:r>
            <a:endParaRPr lang="en-US" i="0" dirty="0"/>
          </a:p>
        </p:txBody>
      </p:sp>
      <p:sp>
        <p:nvSpPr>
          <p:cNvPr id="12" name="Text Placeholder 10"/>
          <p:cNvSpPr>
            <a:spLocks noGrp="1"/>
          </p:cNvSpPr>
          <p:nvPr>
            <p:ph type="body" sz="quarter" idx="14" hasCustomPrompt="1"/>
          </p:nvPr>
        </p:nvSpPr>
        <p:spPr>
          <a:xfrm>
            <a:off x="6807200" y="5257801"/>
            <a:ext cx="5384800" cy="505047"/>
          </a:xfrm>
          <a:solidFill>
            <a:schemeClr val="tx1">
              <a:alpha val="46000"/>
            </a:schemeClr>
          </a:solidFill>
        </p:spPr>
        <p:txBody>
          <a:bodyPr>
            <a:normAutofit/>
          </a:bodyPr>
          <a:lstStyle>
            <a:lvl1pPr>
              <a:buNone/>
              <a:defRPr sz="2800" baseline="0">
                <a:solidFill>
                  <a:schemeClr val="bg1"/>
                </a:solidFill>
              </a:defRPr>
            </a:lvl1pPr>
          </a:lstStyle>
          <a:p>
            <a:pPr lvl="0"/>
            <a:r>
              <a:rPr lang="en-US" dirty="0"/>
              <a:t>Click to add Title</a:t>
            </a:r>
          </a:p>
        </p:txBody>
      </p:sp>
    </p:spTree>
    <p:extLst>
      <p:ext uri="{BB962C8B-B14F-4D97-AF65-F5344CB8AC3E}">
        <p14:creationId xmlns:p14="http://schemas.microsoft.com/office/powerpoint/2010/main" val="35025794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lank with Color">
    <p:spTree>
      <p:nvGrpSpPr>
        <p:cNvPr id="1" name=""/>
        <p:cNvGrpSpPr/>
        <p:nvPr/>
      </p:nvGrpSpPr>
      <p:grpSpPr>
        <a:xfrm>
          <a:off x="0" y="0"/>
          <a:ext cx="0" cy="0"/>
          <a:chOff x="0" y="0"/>
          <a:chExt cx="0" cy="0"/>
        </a:xfrm>
      </p:grpSpPr>
      <p:sp>
        <p:nvSpPr>
          <p:cNvPr id="5"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7"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548809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userDrawn="1">
  <p:cSld name="1_空白">
    <p:bg>
      <p:bgRef idx="1001">
        <a:schemeClr val="bg1"/>
      </p:bgRef>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F934E2-BBB6-4D34-BB01-078E9AA25260}" type="datetimeFigureOut">
              <a:rPr lang="en-US" smtClean="0">
                <a:solidFill>
                  <a:srgbClr val="000000">
                    <a:lumMod val="50000"/>
                    <a:lumOff val="50000"/>
                  </a:srgbClr>
                </a:solidFill>
              </a:rPr>
              <a:pPr/>
              <a:t>1/7/2021</a:t>
            </a:fld>
            <a:endParaRPr lang="en-US" dirty="0">
              <a:solidFill>
                <a:srgbClr val="000000">
                  <a:lumMod val="50000"/>
                  <a:lumOff val="50000"/>
                </a:srgbClr>
              </a:solidFill>
            </a:endParaRPr>
          </a:p>
        </p:txBody>
      </p:sp>
      <p:sp>
        <p:nvSpPr>
          <p:cNvPr id="3" name="Footer Placeholder 2"/>
          <p:cNvSpPr>
            <a:spLocks noGrp="1"/>
          </p:cNvSpPr>
          <p:nvPr>
            <p:ph type="ftr" sz="quarter" idx="11"/>
          </p:nvPr>
        </p:nvSpPr>
        <p:spPr/>
        <p:txBody>
          <a:bodyPr/>
          <a:lstStyle/>
          <a:p>
            <a:endParaRPr lang="en-US" dirty="0">
              <a:solidFill>
                <a:srgbClr val="000000">
                  <a:lumMod val="50000"/>
                  <a:lumOff val="50000"/>
                </a:srgbClr>
              </a:solidFill>
            </a:endParaRPr>
          </a:p>
        </p:txBody>
      </p:sp>
      <p:sp>
        <p:nvSpPr>
          <p:cNvPr id="4" name="Slide Number Placeholder 3"/>
          <p:cNvSpPr>
            <a:spLocks noGrp="1"/>
          </p:cNvSpPr>
          <p:nvPr>
            <p:ph type="sldNum" sz="quarter" idx="12"/>
          </p:nvPr>
        </p:nvSpPr>
        <p:spPr/>
        <p:txBody>
          <a:bodyPr/>
          <a:lstStyle/>
          <a:p>
            <a:fld id="{73820FCD-5F4C-4989-BE05-0A8208BCBC21}" type="slidenum">
              <a:rPr lang="en-US" smtClean="0">
                <a:solidFill>
                  <a:srgbClr val="40BAD2"/>
                </a:solidFill>
              </a:rPr>
              <a:pPr/>
              <a:t>‹#›</a:t>
            </a:fld>
            <a:endParaRPr lang="en-US" dirty="0">
              <a:solidFill>
                <a:srgbClr val="40BAD2"/>
              </a:solidFill>
            </a:endParaRPr>
          </a:p>
        </p:txBody>
      </p:sp>
    </p:spTree>
    <p:extLst>
      <p:ext uri="{BB962C8B-B14F-4D97-AF65-F5344CB8AC3E}">
        <p14:creationId xmlns:p14="http://schemas.microsoft.com/office/powerpoint/2010/main" val="3463289666"/>
      </p:ext>
    </p:extLst>
  </p:cSld>
  <p:clrMapOvr>
    <a:overrideClrMapping bg1="lt1" tx1="dk1" bg2="lt2" tx2="dk2" accent1="accent1" accent2="accent2" accent3="accent3" accent4="accent4" accent5="accent5" accent6="accent6" hlink="hlink" folHlink="folHlink"/>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1_含標題的內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4258733" y="1066801"/>
            <a:ext cx="6815667" cy="46783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Text Placeholder 3"/>
          <p:cNvSpPr>
            <a:spLocks noGrp="1"/>
          </p:cNvSpPr>
          <p:nvPr>
            <p:ph type="body" sz="half" idx="2"/>
          </p:nvPr>
        </p:nvSpPr>
        <p:spPr>
          <a:xfrm>
            <a:off x="1219200" y="1066801"/>
            <a:ext cx="3149600" cy="4373563"/>
          </a:xfrm>
        </p:spPr>
        <p:txBody>
          <a:bodyPr>
            <a:normAutofit/>
          </a:bodyPr>
          <a:lstStyle>
            <a:lvl1pPr marL="0" indent="0">
              <a:lnSpc>
                <a:spcPts val="1600"/>
              </a:lnSpc>
              <a:buNone/>
              <a:defRPr sz="12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12" name="Slide Number Placeholder 11"/>
          <p:cNvSpPr>
            <a:spLocks noGrp="1"/>
          </p:cNvSpPr>
          <p:nvPr>
            <p:ph type="sldNum" sz="quarter" idx="14"/>
          </p:nvPr>
        </p:nvSpPr>
        <p:spPr/>
        <p:txBody>
          <a:bodyPr/>
          <a:lstStyle/>
          <a:p>
            <a:fld id="{81582BD6-FC20-4557-852B-8433F8572D30}" type="slidenum">
              <a:rPr lang="en-US" smtClean="0">
                <a:solidFill>
                  <a:srgbClr val="40BAD2"/>
                </a:solidFill>
              </a:rPr>
              <a:pPr/>
              <a:t>‹#›</a:t>
            </a:fld>
            <a:endParaRPr lang="en-US" dirty="0">
              <a:solidFill>
                <a:srgbClr val="40BAD2"/>
              </a:solidFill>
            </a:endParaRPr>
          </a:p>
        </p:txBody>
      </p:sp>
      <p:sp>
        <p:nvSpPr>
          <p:cNvPr id="13" name="Footer Placeholder 12"/>
          <p:cNvSpPr>
            <a:spLocks noGrp="1"/>
          </p:cNvSpPr>
          <p:nvPr>
            <p:ph type="ftr" sz="quarter" idx="15"/>
          </p:nvPr>
        </p:nvSpPr>
        <p:spPr/>
        <p:txBody>
          <a:bodyPr/>
          <a:lstStyle/>
          <a:p>
            <a:endParaRPr lang="en-US" dirty="0">
              <a:solidFill>
                <a:srgbClr val="000000">
                  <a:lumMod val="50000"/>
                  <a:lumOff val="50000"/>
                </a:srgbClr>
              </a:solidFill>
            </a:endParaRPr>
          </a:p>
        </p:txBody>
      </p:sp>
      <p:sp>
        <p:nvSpPr>
          <p:cNvPr id="14" name="Title 13"/>
          <p:cNvSpPr>
            <a:spLocks noGrp="1"/>
          </p:cNvSpPr>
          <p:nvPr>
            <p:ph type="title"/>
          </p:nvPr>
        </p:nvSpPr>
        <p:spPr>
          <a:xfrm>
            <a:off x="711200" y="198438"/>
            <a:ext cx="10972800" cy="639763"/>
          </a:xfrm>
        </p:spPr>
        <p:txBody>
          <a:bodyPr/>
          <a:lstStyle>
            <a:lvl1pPr algn="ctr">
              <a:defRPr>
                <a:solidFill>
                  <a:schemeClr val="bg1"/>
                </a:solidFill>
              </a:defRPr>
            </a:lvl1pPr>
          </a:lstStyle>
          <a:p>
            <a:r>
              <a:rPr lang="zh-TW" altLang="en-US"/>
              <a:t>按一下以編輯母片標題樣式</a:t>
            </a:r>
            <a:endParaRPr lang="en-US" dirty="0"/>
          </a:p>
        </p:txBody>
      </p:sp>
    </p:spTree>
    <p:extLst>
      <p:ext uri="{BB962C8B-B14F-4D97-AF65-F5344CB8AC3E}">
        <p14:creationId xmlns:p14="http://schemas.microsoft.com/office/powerpoint/2010/main" val="3510502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Up Portrait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8"/>
          <p:cNvSpPr>
            <a:spLocks noGrp="1" noChangeAspect="1"/>
          </p:cNvSpPr>
          <p:nvPr>
            <p:ph type="pic" sz="quarter" idx="13"/>
          </p:nvPr>
        </p:nvSpPr>
        <p:spPr>
          <a:xfrm>
            <a:off x="6016666" y="381005"/>
            <a:ext cx="4575137" cy="4575141"/>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7" name="Rectangle 8"/>
          <p:cNvSpPr>
            <a:spLocks noGrp="1" noChangeAspect="1"/>
          </p:cNvSpPr>
          <p:nvPr>
            <p:ph type="pic" sz="quarter" idx="14"/>
          </p:nvPr>
        </p:nvSpPr>
        <p:spPr>
          <a:xfrm>
            <a:off x="1143000" y="381000"/>
            <a:ext cx="4572000" cy="4572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8" name="Rectangle 7"/>
          <p:cNvSpPr>
            <a:spLocks noGrp="1"/>
          </p:cNvSpPr>
          <p:nvPr>
            <p:ph type="body" sz="quarter" idx="15" hasCustomPrompt="1"/>
          </p:nvPr>
        </p:nvSpPr>
        <p:spPr>
          <a:xfrm>
            <a:off x="1117600" y="5181600"/>
            <a:ext cx="4635501" cy="1066800"/>
          </a:xfrm>
        </p:spPr>
        <p:txBody>
          <a:bodyPr lIns="91440" rIns="9144" anchor="t" anchorCtr="0">
            <a:noAutofit/>
          </a:bodyPr>
          <a:lstStyle>
            <a:lvl1pPr marL="0" marR="0" indent="0" algn="ctr"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9" name="Rectangle 7"/>
          <p:cNvSpPr>
            <a:spLocks noGrp="1"/>
          </p:cNvSpPr>
          <p:nvPr>
            <p:ph type="body" sz="quarter" idx="16" hasCustomPrompt="1"/>
          </p:nvPr>
        </p:nvSpPr>
        <p:spPr>
          <a:xfrm>
            <a:off x="6007099" y="5181600"/>
            <a:ext cx="4635500" cy="1066800"/>
          </a:xfrm>
        </p:spPr>
        <p:txBody>
          <a:bodyPr lIns="91440" rIns="9144" anchor="t" anchorCtr="0">
            <a:noAutofit/>
          </a:bodyPr>
          <a:lstStyle>
            <a:lvl1pPr marL="0" marR="0" indent="0" algn="ctr"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2"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3"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4"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805172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Content Placeholder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10"/>
          </p:nvPr>
        </p:nvSpPr>
        <p:spPr/>
        <p:txBody>
          <a:bodyPr/>
          <a:lstStyle/>
          <a:p>
            <a:fld id="{9BA3A13D-7ACC-4350-B368-5F9372CAD98C}" type="datetimeFigureOut">
              <a:rPr lang="zh-TW" altLang="en-US" smtClean="0"/>
              <a:pPr/>
              <a:t>2021/1/7</a:t>
            </a:fld>
            <a:endParaRPr lang="zh-TW" altLang="en-US"/>
          </a:p>
        </p:txBody>
      </p:sp>
      <p:sp>
        <p:nvSpPr>
          <p:cNvPr id="5" name="Footer Placeholder 4"/>
          <p:cNvSpPr>
            <a:spLocks noGrp="1"/>
          </p:cNvSpPr>
          <p:nvPr>
            <p:ph type="ftr" sz="quarter" idx="11"/>
          </p:nvPr>
        </p:nvSpPr>
        <p:spPr/>
        <p:txBody>
          <a:bodyPr/>
          <a:lstStyle/>
          <a:p>
            <a:endParaRPr lang="zh-TW" altLang="en-US"/>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26158083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2-Up Landscape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noChangeAspect="1"/>
          </p:cNvSpPr>
          <p:nvPr>
            <p:ph type="pic" sz="quarter" idx="13"/>
          </p:nvPr>
        </p:nvSpPr>
        <p:spPr>
          <a:xfrm>
            <a:off x="6400800" y="914400"/>
            <a:ext cx="5283200" cy="29718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noChangeAspect="1"/>
          </p:cNvSpPr>
          <p:nvPr>
            <p:ph type="pic" sz="quarter" idx="14"/>
          </p:nvPr>
        </p:nvSpPr>
        <p:spPr>
          <a:xfrm>
            <a:off x="609600" y="914400"/>
            <a:ext cx="5283200" cy="29718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Rectangle 7"/>
          <p:cNvSpPr>
            <a:spLocks noGrp="1"/>
          </p:cNvSpPr>
          <p:nvPr>
            <p:ph type="body" sz="quarter" idx="16" hasCustomPrompt="1"/>
          </p:nvPr>
        </p:nvSpPr>
        <p:spPr>
          <a:xfrm>
            <a:off x="609600" y="4114805"/>
            <a:ext cx="5283200" cy="1214887"/>
          </a:xfrm>
        </p:spPr>
        <p:txBody>
          <a:bodyPr vert="horz" lIns="91440" tIns="45720" rIns="9144" bIns="45720" rtlCol="0" anchor="t" anchorCtr="0">
            <a:noAutofit/>
          </a:bodyPr>
          <a:lstStyle>
            <a:lvl1pPr marL="0" marR="0" indent="0" algn="ctr" rtl="0" latinLnBrk="0">
              <a:spcBef>
                <a:spcPct val="20000"/>
              </a:spcBef>
              <a:buFontTx/>
              <a:buNone/>
              <a:defRPr lang="en-US" sz="1800" kern="1200" baseline="0" dirty="0">
                <a:solidFill>
                  <a:schemeClr val="tx1">
                    <a:lumMod val="75000"/>
                    <a:lumOff val="25000"/>
                  </a:schemeClr>
                </a:solidFill>
                <a:latin typeface="+mn-lt"/>
                <a:ea typeface="+mn-ea"/>
                <a:cs typeface="+mn-cs"/>
              </a:defRPr>
            </a:lvl1pPr>
            <a:extLst/>
          </a:lstStyle>
          <a:p>
            <a:pPr marL="0" marR="0" lvl="0" indent="0" algn="l" defTabSz="914400" rtl="0" eaLnBrk="1" latinLnBrk="0" hangingPunct="1">
              <a:spcBef>
                <a:spcPct val="20000"/>
              </a:spcBef>
              <a:buFontTx/>
              <a:buNone/>
            </a:pPr>
            <a:r>
              <a:rPr lang="en-US" dirty="0"/>
              <a:t>Click to add caption</a:t>
            </a:r>
          </a:p>
        </p:txBody>
      </p:sp>
      <p:sp>
        <p:nvSpPr>
          <p:cNvPr id="9" name="Rectangle 7"/>
          <p:cNvSpPr>
            <a:spLocks noGrp="1"/>
          </p:cNvSpPr>
          <p:nvPr>
            <p:ph type="body" sz="quarter" idx="17" hasCustomPrompt="1"/>
          </p:nvPr>
        </p:nvSpPr>
        <p:spPr>
          <a:xfrm>
            <a:off x="6400799" y="4114805"/>
            <a:ext cx="5321300" cy="1214887"/>
          </a:xfrm>
        </p:spPr>
        <p:txBody>
          <a:bodyPr vert="horz" lIns="91440" tIns="45720" rIns="9144" bIns="45720" rtlCol="0" anchor="t" anchorCtr="0">
            <a:noAutofit/>
          </a:bodyPr>
          <a:lstStyle>
            <a:lvl1pPr marL="0" marR="0" indent="0" algn="ctr" rtl="0" latinLnBrk="0">
              <a:spcBef>
                <a:spcPct val="20000"/>
              </a:spcBef>
              <a:buFontTx/>
              <a:buNone/>
              <a:defRPr lang="en-US" sz="1800" kern="1200" baseline="0" dirty="0">
                <a:solidFill>
                  <a:schemeClr val="tx1">
                    <a:lumMod val="75000"/>
                    <a:lumOff val="25000"/>
                  </a:schemeClr>
                </a:solidFill>
                <a:latin typeface="+mn-lt"/>
                <a:ea typeface="+mn-ea"/>
                <a:cs typeface="+mn-cs"/>
              </a:defRPr>
            </a:lvl1pPr>
            <a:extLst/>
          </a:lstStyle>
          <a:p>
            <a:pPr marL="0" marR="0" lvl="0" indent="0" algn="l" defTabSz="914400" rtl="0" eaLnBrk="1" latinLnBrk="0" hangingPunct="1">
              <a:spcBef>
                <a:spcPct val="20000"/>
              </a:spcBef>
              <a:buFontTx/>
              <a:buNone/>
            </a:pPr>
            <a:r>
              <a:rPr lang="en-US" dirty="0"/>
              <a:t>Click to add caption</a:t>
            </a:r>
          </a:p>
        </p:txBody>
      </p:sp>
      <p:grpSp>
        <p:nvGrpSpPr>
          <p:cNvPr id="10" name="Group 9"/>
          <p:cNvGrpSpPr/>
          <p:nvPr userDrawn="1"/>
        </p:nvGrpSpPr>
        <p:grpSpPr>
          <a:xfrm rot="5400000">
            <a:off x="5801032" y="467032"/>
            <a:ext cx="589936" cy="12192000"/>
            <a:chOff x="8524568" y="0"/>
            <a:chExt cx="589936" cy="6858000"/>
          </a:xfrm>
        </p:grpSpPr>
        <p:sp>
          <p:nvSpPr>
            <p:cNvPr id="11" name="Rectangle 10"/>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7500"/>
                </a:solidFill>
              </a:endParaRPr>
            </a:p>
          </p:txBody>
        </p:sp>
        <p:cxnSp>
          <p:nvCxnSpPr>
            <p:cNvPr id="12" name="Straight Connector 11"/>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3"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4"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5"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5298128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Up Snapsho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 y="0"/>
            <a:ext cx="5072063" cy="6858000"/>
          </a:xfrm>
          <a:prstGeom prst="rect">
            <a:avLst/>
          </a:prstGeom>
        </p:spPr>
      </p:pic>
      <p:sp>
        <p:nvSpPr>
          <p:cNvPr id="11" name="Rectangle 10"/>
          <p:cNvSpPr/>
          <p:nvPr userDrawn="1"/>
        </p:nvSpPr>
        <p:spPr>
          <a:xfrm rot="1223811">
            <a:off x="6130835" y="530555"/>
            <a:ext cx="3043255" cy="2467504"/>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2" name="Picture Placeholder 7"/>
          <p:cNvSpPr>
            <a:spLocks noGrp="1"/>
          </p:cNvSpPr>
          <p:nvPr>
            <p:ph type="pic" sz="quarter" idx="15"/>
          </p:nvPr>
        </p:nvSpPr>
        <p:spPr>
          <a:xfrm rot="1223811">
            <a:off x="6392112" y="657042"/>
            <a:ext cx="2714253" cy="1912315"/>
          </a:xfrm>
          <a:solidFill>
            <a:schemeClr val="tx1">
              <a:lumMod val="85000"/>
              <a:lumOff val="15000"/>
            </a:schemeClr>
          </a:solidFill>
        </p:spPr>
        <p:txBody>
          <a:bodyPr>
            <a:normAutofit/>
          </a:bodyPr>
          <a:lstStyle>
            <a:lvl1pPr algn="ctr">
              <a:buNone/>
              <a:defRPr sz="1600">
                <a:solidFill>
                  <a:schemeClr val="bg1"/>
                </a:solidFill>
              </a:defRPr>
            </a:lvl1pPr>
          </a:lstStyle>
          <a:p>
            <a:r>
              <a:rPr lang="zh-TW" altLang="en-US"/>
              <a:t>按一下圖示以新增圖片</a:t>
            </a:r>
            <a:endParaRPr lang="en-US" dirty="0"/>
          </a:p>
        </p:txBody>
      </p:sp>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20" name="Text Placeholder 13"/>
          <p:cNvSpPr>
            <a:spLocks noGrp="1"/>
          </p:cNvSpPr>
          <p:nvPr>
            <p:ph type="body" sz="quarter" idx="18" hasCustomPrompt="1"/>
          </p:nvPr>
        </p:nvSpPr>
        <p:spPr>
          <a:xfrm>
            <a:off x="609600" y="5943600"/>
            <a:ext cx="10938933" cy="457200"/>
          </a:xfrm>
        </p:spPr>
        <p:txBody>
          <a:bodyPr>
            <a:normAutofit/>
          </a:bodyPr>
          <a:lstStyle>
            <a:lvl1pPr>
              <a:buNone/>
              <a:defRPr sz="2400" b="1" baseline="0">
                <a:solidFill>
                  <a:schemeClr val="tx1">
                    <a:lumMod val="75000"/>
                    <a:lumOff val="25000"/>
                  </a:schemeClr>
                </a:solidFill>
              </a:defRPr>
            </a:lvl1pPr>
          </a:lstStyle>
          <a:p>
            <a:pPr lvl="0"/>
            <a:r>
              <a:rPr lang="en-US" dirty="0"/>
              <a:t>Click to add title</a:t>
            </a:r>
          </a:p>
        </p:txBody>
      </p:sp>
      <p:sp>
        <p:nvSpPr>
          <p:cNvPr id="6" name="Rectangle 5"/>
          <p:cNvSpPr/>
          <p:nvPr userDrawn="1"/>
        </p:nvSpPr>
        <p:spPr>
          <a:xfrm>
            <a:off x="711200" y="1172151"/>
            <a:ext cx="5080000" cy="4148667"/>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8" name="Picture Placeholder 7"/>
          <p:cNvSpPr>
            <a:spLocks noGrp="1"/>
          </p:cNvSpPr>
          <p:nvPr>
            <p:ph type="pic" sz="quarter" idx="13"/>
          </p:nvPr>
        </p:nvSpPr>
        <p:spPr>
          <a:xfrm>
            <a:off x="1040713" y="1439693"/>
            <a:ext cx="4462163" cy="3175000"/>
          </a:xfrm>
          <a:solidFill>
            <a:schemeClr val="tx1">
              <a:lumMod val="85000"/>
              <a:lumOff val="15000"/>
            </a:schemeClr>
          </a:solidFill>
        </p:spPr>
        <p:txBody>
          <a:bodyPr>
            <a:normAutofit/>
          </a:bodyPr>
          <a:lstStyle>
            <a:lvl1pPr algn="ctr">
              <a:buNone/>
              <a:defRPr sz="2200">
                <a:solidFill>
                  <a:schemeClr val="bg1"/>
                </a:solidFill>
              </a:defRPr>
            </a:lvl1pPr>
          </a:lstStyle>
          <a:p>
            <a:r>
              <a:rPr lang="zh-TW" altLang="en-US"/>
              <a:t>按一下圖示以新增圖片</a:t>
            </a:r>
            <a:endParaRPr lang="en-US" dirty="0"/>
          </a:p>
        </p:txBody>
      </p:sp>
      <p:sp>
        <p:nvSpPr>
          <p:cNvPr id="10" name="Text Placeholder 9"/>
          <p:cNvSpPr>
            <a:spLocks noGrp="1"/>
          </p:cNvSpPr>
          <p:nvPr>
            <p:ph type="body" sz="quarter" idx="14" hasCustomPrompt="1"/>
          </p:nvPr>
        </p:nvSpPr>
        <p:spPr>
          <a:xfrm>
            <a:off x="1041400" y="4754393"/>
            <a:ext cx="4445000" cy="317500"/>
          </a:xfrm>
        </p:spPr>
        <p:txBody>
          <a:bodyPr>
            <a:noAutofit/>
          </a:bodyPr>
          <a:lstStyle>
            <a:lvl1pPr algn="ctr">
              <a:buNone/>
              <a:defRPr sz="1600" baseline="0">
                <a:solidFill>
                  <a:schemeClr val="tx1">
                    <a:lumMod val="65000"/>
                    <a:lumOff val="35000"/>
                  </a:schemeClr>
                </a:solidFill>
              </a:defRPr>
            </a:lvl1pPr>
          </a:lstStyle>
          <a:p>
            <a:pPr lvl="0"/>
            <a:r>
              <a:rPr lang="en-US" dirty="0"/>
              <a:t>Click to add short caption</a:t>
            </a:r>
          </a:p>
        </p:txBody>
      </p:sp>
      <p:sp>
        <p:nvSpPr>
          <p:cNvPr id="17" name="Rectangle 16"/>
          <p:cNvSpPr/>
          <p:nvPr userDrawn="1"/>
        </p:nvSpPr>
        <p:spPr>
          <a:xfrm>
            <a:off x="7980812" y="2877176"/>
            <a:ext cx="3499989" cy="2837829"/>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8" name="Picture Placeholder 7"/>
          <p:cNvSpPr>
            <a:spLocks noGrp="1"/>
          </p:cNvSpPr>
          <p:nvPr>
            <p:ph type="pic" sz="quarter" idx="17"/>
          </p:nvPr>
        </p:nvSpPr>
        <p:spPr>
          <a:xfrm>
            <a:off x="8183251" y="3013976"/>
            <a:ext cx="3121612" cy="2199318"/>
          </a:xfrm>
          <a:solidFill>
            <a:schemeClr val="tx1">
              <a:lumMod val="85000"/>
              <a:lumOff val="15000"/>
            </a:schemeClr>
          </a:solidFill>
        </p:spPr>
        <p:txBody>
          <a:bodyPr>
            <a:normAutofit/>
          </a:bodyPr>
          <a:lstStyle>
            <a:lvl1pPr algn="ctr">
              <a:buNone/>
              <a:defRPr sz="1600">
                <a:solidFill>
                  <a:schemeClr val="bg1"/>
                </a:solidFill>
              </a:defRPr>
            </a:lvl1pPr>
          </a:lstStyle>
          <a:p>
            <a:r>
              <a:rPr lang="zh-TW" altLang="en-US"/>
              <a:t>按一下圖示以新增圖片</a:t>
            </a:r>
            <a:endParaRPr lang="en-US" dirty="0"/>
          </a:p>
        </p:txBody>
      </p:sp>
    </p:spTree>
    <p:extLst>
      <p:ext uri="{BB962C8B-B14F-4D97-AF65-F5344CB8AC3E}">
        <p14:creationId xmlns:p14="http://schemas.microsoft.com/office/powerpoint/2010/main" val="7492265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Up Slide Film">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stretch>
            <a:fillRect/>
          </a:stretch>
        </p:blipFill>
        <p:spPr>
          <a:xfrm>
            <a:off x="1320802" y="1371600"/>
            <a:ext cx="5369009" cy="4038600"/>
          </a:xfrm>
          <a:prstGeom prst="rect">
            <a:avLst/>
          </a:prstGeom>
        </p:spPr>
      </p:pic>
      <p:sp>
        <p:nvSpPr>
          <p:cNvPr id="13" name="Picture Placeholder 12"/>
          <p:cNvSpPr>
            <a:spLocks noGrp="1"/>
          </p:cNvSpPr>
          <p:nvPr>
            <p:ph type="pic" sz="quarter" idx="13"/>
          </p:nvPr>
        </p:nvSpPr>
        <p:spPr>
          <a:xfrm>
            <a:off x="2123000" y="2370152"/>
            <a:ext cx="3739763" cy="1788380"/>
          </a:xfrm>
          <a:solidFill>
            <a:schemeClr val="tx1">
              <a:lumMod val="85000"/>
              <a:lumOff val="15000"/>
            </a:schemeClr>
          </a:solidFill>
        </p:spPr>
        <p:txBody>
          <a:bodyPr>
            <a:normAutofit/>
          </a:bodyPr>
          <a:lstStyle>
            <a:lvl1pPr algn="ctr">
              <a:buNone/>
              <a:defRPr sz="1400" baseline="0">
                <a:solidFill>
                  <a:schemeClr val="bg1"/>
                </a:solidFill>
              </a:defRPr>
            </a:lvl1pPr>
          </a:lstStyle>
          <a:p>
            <a:r>
              <a:rPr lang="zh-TW" altLang="en-US"/>
              <a:t>按一下圖示以新增圖片</a:t>
            </a:r>
            <a:endParaRPr lang="en-US" dirty="0"/>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20236" y="685801"/>
            <a:ext cx="3342965" cy="2514599"/>
          </a:xfrm>
          <a:prstGeom prst="rect">
            <a:avLst/>
          </a:prstGeom>
        </p:spPr>
      </p:pic>
      <p:sp>
        <p:nvSpPr>
          <p:cNvPr id="15" name="Picture Placeholder 12"/>
          <p:cNvSpPr>
            <a:spLocks noGrp="1"/>
          </p:cNvSpPr>
          <p:nvPr>
            <p:ph type="pic" sz="quarter" idx="14"/>
          </p:nvPr>
        </p:nvSpPr>
        <p:spPr>
          <a:xfrm>
            <a:off x="7608632" y="1371603"/>
            <a:ext cx="2133600" cy="1002547"/>
          </a:xfrm>
          <a:solidFill>
            <a:schemeClr val="tx1">
              <a:lumMod val="85000"/>
              <a:lumOff val="15000"/>
            </a:schemeClr>
          </a:solidFill>
        </p:spPr>
        <p:txBody>
          <a:bodyPr>
            <a:normAutofit/>
          </a:bodyPr>
          <a:lstStyle>
            <a:lvl1pPr algn="ctr">
              <a:buNone/>
              <a:defRPr sz="1100" baseline="0">
                <a:solidFill>
                  <a:schemeClr val="bg1"/>
                </a:solidFill>
              </a:defRPr>
            </a:lvl1pPr>
          </a:lstStyle>
          <a:p>
            <a:r>
              <a:rPr lang="zh-TW" altLang="en-US"/>
              <a:t>按一下圖示以新增圖片</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20236" y="3429006"/>
            <a:ext cx="3342965" cy="2514599"/>
          </a:xfrm>
          <a:prstGeom prst="rect">
            <a:avLst/>
          </a:prstGeom>
        </p:spPr>
      </p:pic>
      <p:sp>
        <p:nvSpPr>
          <p:cNvPr id="17" name="Picture Placeholder 12"/>
          <p:cNvSpPr>
            <a:spLocks noGrp="1"/>
          </p:cNvSpPr>
          <p:nvPr>
            <p:ph type="pic" sz="quarter" idx="15"/>
          </p:nvPr>
        </p:nvSpPr>
        <p:spPr>
          <a:xfrm>
            <a:off x="7608632" y="4114805"/>
            <a:ext cx="2133600" cy="1002547"/>
          </a:xfrm>
          <a:solidFill>
            <a:schemeClr val="tx1">
              <a:lumMod val="85000"/>
              <a:lumOff val="15000"/>
            </a:schemeClr>
          </a:solidFill>
        </p:spPr>
        <p:txBody>
          <a:bodyPr>
            <a:normAutofit/>
          </a:bodyPr>
          <a:lstStyle>
            <a:lvl1pPr algn="ctr">
              <a:buNone/>
              <a:defRPr sz="1100" baseline="0">
                <a:solidFill>
                  <a:schemeClr val="bg1"/>
                </a:solidFill>
              </a:defRPr>
            </a:lvl1pPr>
          </a:lstStyle>
          <a:p>
            <a:r>
              <a:rPr lang="zh-TW" altLang="en-US"/>
              <a:t>按一下圖示以新增圖片</a:t>
            </a:r>
            <a:endParaRPr lang="en-US" dirty="0"/>
          </a:p>
        </p:txBody>
      </p:sp>
      <p:sp>
        <p:nvSpPr>
          <p:cNvPr id="23"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24"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25"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357292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Up Portrait with Captions">
    <p:spTree>
      <p:nvGrpSpPr>
        <p:cNvPr id="1" name=""/>
        <p:cNvGrpSpPr/>
        <p:nvPr/>
      </p:nvGrpSpPr>
      <p:grpSpPr>
        <a:xfrm>
          <a:off x="0" y="0"/>
          <a:ext cx="0" cy="0"/>
          <a:chOff x="0" y="0"/>
          <a:chExt cx="0" cy="0"/>
        </a:xfrm>
      </p:grpSpPr>
      <p:sp>
        <p:nvSpPr>
          <p:cNvPr id="6" name="Rectangle 8"/>
          <p:cNvSpPr>
            <a:spLocks noGrp="1" noChangeAspect="1"/>
          </p:cNvSpPr>
          <p:nvPr>
            <p:ph type="pic" sz="quarter" idx="13"/>
          </p:nvPr>
        </p:nvSpPr>
        <p:spPr>
          <a:xfrm>
            <a:off x="3048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7" name="Rectangle 8"/>
          <p:cNvSpPr>
            <a:spLocks noGrp="1" noChangeAspect="1"/>
          </p:cNvSpPr>
          <p:nvPr>
            <p:ph type="pic" sz="quarter" idx="14"/>
          </p:nvPr>
        </p:nvSpPr>
        <p:spPr>
          <a:xfrm>
            <a:off x="42672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8" name="Rectangle 8"/>
          <p:cNvSpPr>
            <a:spLocks noGrp="1" noChangeAspect="1"/>
          </p:cNvSpPr>
          <p:nvPr>
            <p:ph type="pic" sz="quarter" idx="15"/>
          </p:nvPr>
        </p:nvSpPr>
        <p:spPr>
          <a:xfrm>
            <a:off x="82296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9" name="Rectangle 6"/>
          <p:cNvSpPr>
            <a:spLocks noGrp="1"/>
          </p:cNvSpPr>
          <p:nvPr>
            <p:ph type="body" sz="quarter" idx="16" hasCustomPrompt="1"/>
          </p:nvPr>
        </p:nvSpPr>
        <p:spPr>
          <a:xfrm>
            <a:off x="3048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0" name="Rectangle 6"/>
          <p:cNvSpPr>
            <a:spLocks noGrp="1"/>
          </p:cNvSpPr>
          <p:nvPr>
            <p:ph type="body" sz="quarter" idx="17" hasCustomPrompt="1"/>
          </p:nvPr>
        </p:nvSpPr>
        <p:spPr>
          <a:xfrm>
            <a:off x="42672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1" name="Rectangle 6"/>
          <p:cNvSpPr>
            <a:spLocks noGrp="1"/>
          </p:cNvSpPr>
          <p:nvPr>
            <p:ph type="body" sz="quarter" idx="18" hasCustomPrompt="1"/>
          </p:nvPr>
        </p:nvSpPr>
        <p:spPr>
          <a:xfrm>
            <a:off x="82296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grpSp>
        <p:nvGrpSpPr>
          <p:cNvPr id="12" name="Group 11"/>
          <p:cNvGrpSpPr/>
          <p:nvPr userDrawn="1"/>
        </p:nvGrpSpPr>
        <p:grpSpPr>
          <a:xfrm rot="5400000">
            <a:off x="5801032" y="467032"/>
            <a:ext cx="589936" cy="12192000"/>
            <a:chOff x="8524568" y="0"/>
            <a:chExt cx="589936" cy="6858000"/>
          </a:xfrm>
        </p:grpSpPr>
        <p:sp>
          <p:nvSpPr>
            <p:cNvPr id="13" name="Rectangle 12"/>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7500"/>
                </a:solidFill>
              </a:endParaRPr>
            </a:p>
          </p:txBody>
        </p:sp>
        <p:cxnSp>
          <p:nvCxnSpPr>
            <p:cNvPr id="14" name="Straight Connector 13"/>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5"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6"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7"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3172518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3-Up Landscape with Caption">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 y="0"/>
            <a:ext cx="5072063" cy="6858000"/>
          </a:xfrm>
          <a:prstGeom prst="rect">
            <a:avLst/>
          </a:prstGeom>
        </p:spPr>
      </p:pic>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noChangeAspect="1"/>
          </p:cNvSpPr>
          <p:nvPr>
            <p:ph type="pic" sz="quarter" idx="13"/>
          </p:nvPr>
        </p:nvSpPr>
        <p:spPr>
          <a:xfrm>
            <a:off x="6322178" y="3480028"/>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7" name="Rectangle 7"/>
          <p:cNvSpPr>
            <a:spLocks noGrp="1" noChangeAspect="1"/>
          </p:cNvSpPr>
          <p:nvPr>
            <p:ph type="pic" sz="quarter" idx="14"/>
          </p:nvPr>
        </p:nvSpPr>
        <p:spPr>
          <a:xfrm>
            <a:off x="745070" y="3480028"/>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8" name="Picture Placeholder 7"/>
          <p:cNvSpPr>
            <a:spLocks noGrp="1" noChangeAspect="1"/>
          </p:cNvSpPr>
          <p:nvPr>
            <p:ph type="pic" sz="quarter" idx="15"/>
          </p:nvPr>
        </p:nvSpPr>
        <p:spPr>
          <a:xfrm>
            <a:off x="6322178" y="355825"/>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9" name="Rectangle 11"/>
          <p:cNvSpPr>
            <a:spLocks noGrp="1"/>
          </p:cNvSpPr>
          <p:nvPr>
            <p:ph type="body" sz="quarter" idx="16" hasCustomPrompt="1"/>
          </p:nvPr>
        </p:nvSpPr>
        <p:spPr>
          <a:xfrm>
            <a:off x="745070" y="355825"/>
            <a:ext cx="5057025" cy="2844577"/>
          </a:xfrm>
        </p:spPr>
        <p:txBody>
          <a:bodyPr anchor="b" anchorCtr="0">
            <a:noAutofit/>
          </a:bodyPr>
          <a:lstStyle>
            <a:lvl1pPr marL="0" marR="0" indent="0" algn="ctr" rtl="0" latinLnBrk="0">
              <a:spcBef>
                <a:spcPct val="20000"/>
              </a:spcBef>
              <a:buFontTx/>
              <a:buNone/>
              <a:defRPr sz="1800" b="1" i="0" baseline="0">
                <a:solidFill>
                  <a:schemeClr val="tx1">
                    <a:lumMod val="75000"/>
                    <a:lumOff val="25000"/>
                  </a:schemeClr>
                </a:solidFill>
                <a:latin typeface="+mn-lt"/>
                <a:ea typeface="+mn-ea"/>
                <a:cs typeface="+mn-cs"/>
              </a:defRPr>
            </a:lvl1pPr>
            <a:extLst/>
          </a:lstStyle>
          <a:p>
            <a:pPr lvl="0"/>
            <a:r>
              <a:rPr lang="en-US" dirty="0"/>
              <a:t>Click to add caption</a:t>
            </a:r>
          </a:p>
        </p:txBody>
      </p:sp>
    </p:spTree>
    <p:extLst>
      <p:ext uri="{BB962C8B-B14F-4D97-AF65-F5344CB8AC3E}">
        <p14:creationId xmlns:p14="http://schemas.microsoft.com/office/powerpoint/2010/main" val="1713464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anorama Mixed">
    <p:bg>
      <p:bgPr>
        <a:solidFill>
          <a:srgbClr val="F0F0F0"/>
        </a:solidFill>
        <a:effectLst/>
      </p:bgPr>
    </p:bg>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 y="0"/>
            <a:ext cx="5072063" cy="6858000"/>
          </a:xfrm>
          <a:prstGeom prst="rect">
            <a:avLst/>
          </a:prstGeom>
        </p:spPr>
      </p:pic>
      <p:sp>
        <p:nvSpPr>
          <p:cNvPr id="4" name="Date Placeholder 3"/>
          <p:cNvSpPr>
            <a:spLocks noGrp="1"/>
          </p:cNvSpPr>
          <p:nvPr>
            <p:ph type="dt" sz="half" idx="10"/>
          </p:nvPr>
        </p:nvSpPr>
        <p:spPr>
          <a:xfrm>
            <a:off x="8128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5344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1" name="Picture Placeholder 10"/>
          <p:cNvSpPr>
            <a:spLocks noGrp="1"/>
          </p:cNvSpPr>
          <p:nvPr>
            <p:ph type="pic" sz="quarter" idx="13"/>
          </p:nvPr>
        </p:nvSpPr>
        <p:spPr>
          <a:xfrm>
            <a:off x="789856" y="592392"/>
            <a:ext cx="9855200" cy="2286000"/>
          </a:xfrm>
          <a:solidFill>
            <a:srgbClr val="F0F0F0"/>
          </a:solidFill>
          <a:ln w="57150">
            <a:solidFill>
              <a:schemeClr val="bg1"/>
            </a:solidFill>
          </a:ln>
          <a:effectLst>
            <a:outerShdw dist="38100" dir="2700000" algn="tl" rotWithShape="0">
              <a:prstClr val="black">
                <a:alpha val="17000"/>
              </a:prstClr>
            </a:outerShdw>
          </a:effectLst>
        </p:spPr>
        <p:txBody>
          <a:bodyPr>
            <a:normAutofit/>
          </a:bodyPr>
          <a:lstStyle>
            <a:lvl1pPr algn="ctr">
              <a:buNone/>
              <a:defRPr sz="2400">
                <a:solidFill>
                  <a:schemeClr val="tx1">
                    <a:lumMod val="65000"/>
                    <a:lumOff val="35000"/>
                  </a:schemeClr>
                </a:solidFill>
              </a:defRPr>
            </a:lvl1pPr>
          </a:lstStyle>
          <a:p>
            <a:r>
              <a:rPr lang="zh-TW" altLang="en-US"/>
              <a:t>按一下圖示以新增圖片</a:t>
            </a:r>
            <a:endParaRPr lang="en-US" dirty="0"/>
          </a:p>
        </p:txBody>
      </p:sp>
      <p:sp>
        <p:nvSpPr>
          <p:cNvPr id="13" name="Picture Placeholder 12"/>
          <p:cNvSpPr>
            <a:spLocks noGrp="1"/>
          </p:cNvSpPr>
          <p:nvPr>
            <p:ph type="pic" sz="quarter" idx="14"/>
          </p:nvPr>
        </p:nvSpPr>
        <p:spPr>
          <a:xfrm>
            <a:off x="812800" y="3352800"/>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1600" b="0" kern="1200" dirty="0" smtClean="0">
                <a:solidFill>
                  <a:schemeClr val="tx1">
                    <a:lumMod val="65000"/>
                    <a:lumOff val="35000"/>
                  </a:schemeClr>
                </a:solidFill>
                <a:latin typeface="+mn-lt"/>
                <a:ea typeface="+mn-ea"/>
                <a:cs typeface="+mn-cs"/>
              </a:defRPr>
            </a:lvl1pPr>
          </a:lstStyle>
          <a:p>
            <a:r>
              <a:rPr lang="zh-TW" altLang="en-US"/>
              <a:t>按一下圖示以新增圖片</a:t>
            </a:r>
            <a:endParaRPr lang="en-US" dirty="0"/>
          </a:p>
        </p:txBody>
      </p:sp>
      <p:sp>
        <p:nvSpPr>
          <p:cNvPr id="14" name="Picture Placeholder 12"/>
          <p:cNvSpPr>
            <a:spLocks noGrp="1"/>
          </p:cNvSpPr>
          <p:nvPr>
            <p:ph type="pic" sz="quarter" idx="15"/>
          </p:nvPr>
        </p:nvSpPr>
        <p:spPr>
          <a:xfrm>
            <a:off x="4368800" y="3352800"/>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1600" b="0" kern="1200" dirty="0" smtClean="0">
                <a:solidFill>
                  <a:schemeClr val="tx1">
                    <a:lumMod val="65000"/>
                    <a:lumOff val="35000"/>
                  </a:schemeClr>
                </a:solidFill>
                <a:latin typeface="+mn-lt"/>
                <a:ea typeface="+mn-ea"/>
                <a:cs typeface="+mn-cs"/>
              </a:defRPr>
            </a:lvl1pPr>
          </a:lstStyle>
          <a:p>
            <a:r>
              <a:rPr lang="zh-TW" altLang="en-US"/>
              <a:t>按一下圖示以新增圖片</a:t>
            </a:r>
            <a:endParaRPr lang="en-US" dirty="0"/>
          </a:p>
        </p:txBody>
      </p:sp>
      <p:sp>
        <p:nvSpPr>
          <p:cNvPr id="16" name="Text Placeholder 15"/>
          <p:cNvSpPr>
            <a:spLocks noGrp="1"/>
          </p:cNvSpPr>
          <p:nvPr>
            <p:ph type="body" sz="quarter" idx="16" hasCustomPrompt="1"/>
          </p:nvPr>
        </p:nvSpPr>
        <p:spPr>
          <a:xfrm>
            <a:off x="7721600" y="3352800"/>
            <a:ext cx="3048000" cy="381000"/>
          </a:xfrm>
        </p:spPr>
        <p:txBody>
          <a:bodyPr>
            <a:normAutofit/>
          </a:bodyPr>
          <a:lstStyle>
            <a:lvl1pPr>
              <a:buNone/>
              <a:defRPr sz="1800" b="1" baseline="0">
                <a:solidFill>
                  <a:srgbClr val="FC7500"/>
                </a:solidFill>
              </a:defRPr>
            </a:lvl1pPr>
          </a:lstStyle>
          <a:p>
            <a:pPr lvl="0"/>
            <a:r>
              <a:rPr lang="en-US" dirty="0"/>
              <a:t>CLICK TO ADD TITLE</a:t>
            </a:r>
          </a:p>
        </p:txBody>
      </p:sp>
      <p:sp>
        <p:nvSpPr>
          <p:cNvPr id="18" name="Text Placeholder 17"/>
          <p:cNvSpPr>
            <a:spLocks noGrp="1"/>
          </p:cNvSpPr>
          <p:nvPr>
            <p:ph type="body" sz="quarter" idx="17" hasCustomPrompt="1"/>
          </p:nvPr>
        </p:nvSpPr>
        <p:spPr>
          <a:xfrm>
            <a:off x="7721600" y="3886200"/>
            <a:ext cx="3048000" cy="1752600"/>
          </a:xfrm>
        </p:spPr>
        <p:txBody>
          <a:bodyPr>
            <a:normAutofit/>
          </a:bodyPr>
          <a:lstStyle>
            <a:lvl1pPr>
              <a:buNone/>
              <a:defRPr sz="1800">
                <a:solidFill>
                  <a:schemeClr val="tx1">
                    <a:lumMod val="75000"/>
                    <a:lumOff val="25000"/>
                  </a:schemeClr>
                </a:solidFill>
              </a:defRPr>
            </a:lvl1pPr>
          </a:lstStyle>
          <a:p>
            <a:pPr lvl="0"/>
            <a:r>
              <a:rPr lang="en-US" dirty="0"/>
              <a:t>Click to add subtext</a:t>
            </a:r>
          </a:p>
        </p:txBody>
      </p:sp>
      <p:sp>
        <p:nvSpPr>
          <p:cNvPr id="12" name="Rectangle 11"/>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7500"/>
              </a:solidFill>
            </a:endParaRPr>
          </a:p>
        </p:txBody>
      </p:sp>
      <p:cxnSp>
        <p:nvCxnSpPr>
          <p:cNvPr id="15" name="Straight Connector 14"/>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22862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4-Up Portrait with Colored Captions">
    <p:bg>
      <p:bgPr>
        <a:solidFill>
          <a:srgbClr val="F0F0F0"/>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p:cNvSpPr>
          <p:nvPr>
            <p:ph type="pic" sz="quarter" idx="14"/>
          </p:nvPr>
        </p:nvSpPr>
        <p:spPr>
          <a:xfrm>
            <a:off x="2946401" y="2411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26"/>
          </p:nvPr>
        </p:nvSpPr>
        <p:spPr>
          <a:xfrm>
            <a:off x="2946401"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5"/>
          </p:nvPr>
        </p:nvSpPr>
        <p:spPr>
          <a:xfrm>
            <a:off x="6203629" y="241192"/>
            <a:ext cx="2956931"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27"/>
          </p:nvPr>
        </p:nvSpPr>
        <p:spPr>
          <a:xfrm>
            <a:off x="6197601"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16" hasCustomPrompt="1"/>
          </p:nvPr>
        </p:nvSpPr>
        <p:spPr>
          <a:xfrm>
            <a:off x="533996" y="1295400"/>
            <a:ext cx="2235200" cy="1905000"/>
          </a:xfrm>
          <a:solidFill>
            <a:srgbClr val="91BED4"/>
          </a:solidFill>
        </p:spPr>
        <p:txBody>
          <a:bodyPr anchor="b" anchorCtr="0">
            <a:noAutofit/>
          </a:bodyPr>
          <a:lstStyle>
            <a:lvl1pPr marL="0" marR="0" indent="0" algn="r" rtl="0" latinLnBrk="0">
              <a:spcBef>
                <a:spcPct val="20000"/>
              </a:spcBef>
              <a:buFontTx/>
              <a:buNone/>
              <a:defRPr sz="1600" baseline="0">
                <a:solidFill>
                  <a:schemeClr val="bg1"/>
                </a:solidFill>
                <a:latin typeface="+mn-lt"/>
                <a:ea typeface="+mn-ea"/>
                <a:cs typeface="+mn-cs"/>
              </a:defRPr>
            </a:lvl1pPr>
            <a:extLst/>
          </a:lstStyle>
          <a:p>
            <a:pPr lvl="0"/>
            <a:r>
              <a:rPr lang="en-US" dirty="0"/>
              <a:t>Click to add caption</a:t>
            </a:r>
          </a:p>
        </p:txBody>
      </p:sp>
      <p:sp>
        <p:nvSpPr>
          <p:cNvPr id="11" name="Rectangle 7"/>
          <p:cNvSpPr>
            <a:spLocks noGrp="1"/>
          </p:cNvSpPr>
          <p:nvPr>
            <p:ph type="body" sz="quarter" idx="29" hasCustomPrompt="1"/>
          </p:nvPr>
        </p:nvSpPr>
        <p:spPr>
          <a:xfrm>
            <a:off x="9448800" y="1295400"/>
            <a:ext cx="2235200" cy="1905000"/>
          </a:xfrm>
          <a:solidFill>
            <a:srgbClr val="FC7500"/>
          </a:solidFill>
        </p:spPr>
        <p:txBody>
          <a:bodyPr anchor="b" anchorCtr="0"/>
          <a:lstStyle>
            <a:lvl1pPr marL="0" marR="0" indent="0" algn="l">
              <a:buFontTx/>
              <a:buNone/>
              <a:defRPr sz="1600" baseline="0">
                <a:solidFill>
                  <a:schemeClr val="bg1"/>
                </a:solidFill>
              </a:defRPr>
            </a:lvl1pPr>
            <a:extLst/>
          </a:lstStyle>
          <a:p>
            <a:pPr lvl="0"/>
            <a:r>
              <a:rPr lang="en-US" dirty="0"/>
              <a:t>Click to add caption</a:t>
            </a:r>
          </a:p>
        </p:txBody>
      </p:sp>
      <p:sp>
        <p:nvSpPr>
          <p:cNvPr id="12" name="Rectangle 7"/>
          <p:cNvSpPr>
            <a:spLocks noGrp="1"/>
          </p:cNvSpPr>
          <p:nvPr>
            <p:ph type="body" sz="quarter" idx="28" hasCustomPrompt="1"/>
          </p:nvPr>
        </p:nvSpPr>
        <p:spPr>
          <a:xfrm>
            <a:off x="533996" y="3352800"/>
            <a:ext cx="2235200" cy="1905000"/>
          </a:xfrm>
          <a:solidFill>
            <a:srgbClr val="FC7500"/>
          </a:solidFill>
        </p:spPr>
        <p:txBody>
          <a:bodyPr anchor="t" anchorCtr="0"/>
          <a:lstStyle>
            <a:lvl1pPr marL="0" marR="0" indent="0" algn="r">
              <a:buFontTx/>
              <a:buNone/>
              <a:defRPr sz="1600" baseline="0">
                <a:solidFill>
                  <a:schemeClr val="bg1"/>
                </a:solidFill>
              </a:defRPr>
            </a:lvl1pPr>
            <a:extLst/>
          </a:lstStyle>
          <a:p>
            <a:pPr lvl="0"/>
            <a:r>
              <a:rPr lang="en-US" dirty="0"/>
              <a:t>Click to add caption</a:t>
            </a:r>
          </a:p>
        </p:txBody>
      </p:sp>
      <p:sp>
        <p:nvSpPr>
          <p:cNvPr id="13" name="Rectangle 7"/>
          <p:cNvSpPr>
            <a:spLocks noGrp="1"/>
          </p:cNvSpPr>
          <p:nvPr>
            <p:ph type="body" sz="quarter" idx="30" hasCustomPrompt="1"/>
          </p:nvPr>
        </p:nvSpPr>
        <p:spPr>
          <a:xfrm>
            <a:off x="9448800" y="3352800"/>
            <a:ext cx="2235200" cy="1905000"/>
          </a:xfrm>
          <a:solidFill>
            <a:srgbClr val="91BED4"/>
          </a:solidFill>
        </p:spPr>
        <p:txBody>
          <a:bodyPr anchor="t" anchorCtr="0"/>
          <a:lstStyle>
            <a:lvl1pPr marL="0" marR="0" indent="0" algn="l">
              <a:buFontTx/>
              <a:buNone/>
              <a:defRPr sz="1600" baseline="0">
                <a:solidFill>
                  <a:schemeClr val="bg1"/>
                </a:solidFill>
              </a:defRPr>
            </a:lvl1pPr>
            <a:extLst/>
          </a:lstStyle>
          <a:p>
            <a:pPr lvl="0"/>
            <a:r>
              <a:rPr lang="en-US" dirty="0"/>
              <a:t>Click to add caption</a:t>
            </a:r>
          </a:p>
        </p:txBody>
      </p:sp>
    </p:spTree>
    <p:extLst>
      <p:ext uri="{BB962C8B-B14F-4D97-AF65-F5344CB8AC3E}">
        <p14:creationId xmlns:p14="http://schemas.microsoft.com/office/powerpoint/2010/main" val="3574428609"/>
      </p:ext>
    </p:extLst>
  </p:cSld>
  <p:clrMapOvr>
    <a:overrideClrMapping bg1="lt1" tx1="dk1" bg2="lt2" tx2="dk2" accent1="accent1" accent2="accent2" accent3="accent3" accent4="accent4" accent5="accent5" accent6="accent6" hlink="hlink" folHlink="folHlink"/>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4-Up Portrait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p:cNvSpPr>
          <p:nvPr>
            <p:ph type="pic" sz="quarter" idx="14"/>
          </p:nvPr>
        </p:nvSpPr>
        <p:spPr>
          <a:xfrm>
            <a:off x="2997201" y="2411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26"/>
          </p:nvPr>
        </p:nvSpPr>
        <p:spPr>
          <a:xfrm>
            <a:off x="2997201"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5"/>
          </p:nvPr>
        </p:nvSpPr>
        <p:spPr>
          <a:xfrm>
            <a:off x="6254429" y="241192"/>
            <a:ext cx="2956931"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27"/>
          </p:nvPr>
        </p:nvSpPr>
        <p:spPr>
          <a:xfrm>
            <a:off x="6248401"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16" hasCustomPrompt="1"/>
          </p:nvPr>
        </p:nvSpPr>
        <p:spPr>
          <a:xfrm>
            <a:off x="457200" y="1257300"/>
            <a:ext cx="2235200" cy="1905000"/>
          </a:xfrm>
          <a:noFill/>
        </p:spPr>
        <p:txBody>
          <a:bodyPr anchor="b" anchorCtr="0">
            <a:noAutofit/>
          </a:bodyPr>
          <a:lstStyle>
            <a:lvl1pPr marL="0" marR="0" indent="0" algn="r" rtl="0" latinLnBrk="0">
              <a:spcBef>
                <a:spcPct val="20000"/>
              </a:spcBef>
              <a:buFontTx/>
              <a:buNone/>
              <a:defRPr sz="1600" baseline="0">
                <a:solidFill>
                  <a:schemeClr val="tx1">
                    <a:lumMod val="50000"/>
                    <a:lumOff val="50000"/>
                  </a:schemeClr>
                </a:solidFill>
                <a:latin typeface="+mn-lt"/>
                <a:ea typeface="+mn-ea"/>
                <a:cs typeface="+mn-cs"/>
              </a:defRPr>
            </a:lvl1pPr>
            <a:extLst/>
          </a:lstStyle>
          <a:p>
            <a:pPr lvl="0"/>
            <a:r>
              <a:rPr lang="en-US" dirty="0"/>
              <a:t>Click to add caption</a:t>
            </a:r>
          </a:p>
        </p:txBody>
      </p:sp>
      <p:sp>
        <p:nvSpPr>
          <p:cNvPr id="12" name="Rectangle 7"/>
          <p:cNvSpPr>
            <a:spLocks noGrp="1"/>
          </p:cNvSpPr>
          <p:nvPr>
            <p:ph type="body" sz="quarter" idx="28" hasCustomPrompt="1"/>
          </p:nvPr>
        </p:nvSpPr>
        <p:spPr>
          <a:xfrm>
            <a:off x="457200" y="3352800"/>
            <a:ext cx="2235200" cy="1905000"/>
          </a:xfrm>
          <a:noFill/>
        </p:spPr>
        <p:txBody>
          <a:bodyPr anchor="t" anchorCtr="0"/>
          <a:lstStyle>
            <a:lvl1pPr marL="0" marR="0" indent="0" algn="r">
              <a:buFontTx/>
              <a:buNone/>
              <a:defRPr sz="1600" baseline="0">
                <a:solidFill>
                  <a:schemeClr val="tx1">
                    <a:lumMod val="50000"/>
                    <a:lumOff val="50000"/>
                  </a:schemeClr>
                </a:solidFill>
              </a:defRPr>
            </a:lvl1pPr>
            <a:extLst/>
          </a:lstStyle>
          <a:p>
            <a:pPr lvl="0"/>
            <a:r>
              <a:rPr lang="en-US" dirty="0"/>
              <a:t>Click to add caption</a:t>
            </a:r>
          </a:p>
        </p:txBody>
      </p:sp>
      <p:sp>
        <p:nvSpPr>
          <p:cNvPr id="13" name="Rectangle 7"/>
          <p:cNvSpPr>
            <a:spLocks noGrp="1"/>
          </p:cNvSpPr>
          <p:nvPr>
            <p:ph type="body" sz="quarter" idx="30" hasCustomPrompt="1"/>
          </p:nvPr>
        </p:nvSpPr>
        <p:spPr>
          <a:xfrm>
            <a:off x="9499600" y="3352800"/>
            <a:ext cx="2235200" cy="1905000"/>
          </a:xfrm>
          <a:noFill/>
        </p:spPr>
        <p:txBody>
          <a:bodyPr anchor="t" anchorCtr="0"/>
          <a:lstStyle>
            <a:lvl1pPr marL="0" marR="0" indent="0" algn="l">
              <a:buFontTx/>
              <a:buNone/>
              <a:defRPr sz="1600" baseline="0">
                <a:solidFill>
                  <a:schemeClr val="tx1">
                    <a:lumMod val="50000"/>
                    <a:lumOff val="50000"/>
                  </a:schemeClr>
                </a:solidFill>
              </a:defRPr>
            </a:lvl1pPr>
            <a:extLst/>
          </a:lstStyle>
          <a:p>
            <a:pPr lvl="0"/>
            <a:r>
              <a:rPr lang="en-US" dirty="0"/>
              <a:t>Click to add caption</a:t>
            </a:r>
          </a:p>
        </p:txBody>
      </p:sp>
      <p:sp>
        <p:nvSpPr>
          <p:cNvPr id="14" name="Rectangle 7"/>
          <p:cNvSpPr>
            <a:spLocks noGrp="1"/>
          </p:cNvSpPr>
          <p:nvPr>
            <p:ph type="body" sz="quarter" idx="31" hasCustomPrompt="1"/>
          </p:nvPr>
        </p:nvSpPr>
        <p:spPr>
          <a:xfrm>
            <a:off x="9499600" y="1257300"/>
            <a:ext cx="2235200" cy="1905000"/>
          </a:xfrm>
        </p:spPr>
        <p:txBody>
          <a:bodyPr anchor="b" anchorCtr="0"/>
          <a:lstStyle>
            <a:lvl1pPr marL="0" marR="0" indent="0" algn="l">
              <a:buFontTx/>
              <a:buNone/>
              <a:defRPr sz="1600" baseline="0">
                <a:solidFill>
                  <a:schemeClr val="tx1">
                    <a:lumMod val="50000"/>
                    <a:lumOff val="50000"/>
                  </a:schemeClr>
                </a:solidFill>
              </a:defRPr>
            </a:lvl1pPr>
            <a:extLst/>
          </a:lstStyle>
          <a:p>
            <a:pPr lvl="0"/>
            <a:r>
              <a:rPr lang="en-US" dirty="0"/>
              <a:t>Click to add caption</a:t>
            </a:r>
          </a:p>
        </p:txBody>
      </p:sp>
    </p:spTree>
    <p:extLst>
      <p:ext uri="{BB962C8B-B14F-4D97-AF65-F5344CB8AC3E}">
        <p14:creationId xmlns:p14="http://schemas.microsoft.com/office/powerpoint/2010/main" val="116222833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4-Up Portrait with Title and Large Capti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p:cNvSpPr>
          <p:nvPr>
            <p:ph type="pic" sz="quarter" idx="14"/>
          </p:nvPr>
        </p:nvSpPr>
        <p:spPr>
          <a:xfrm>
            <a:off x="304801"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31"/>
          </p:nvPr>
        </p:nvSpPr>
        <p:spPr>
          <a:xfrm>
            <a:off x="6163733"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p:cNvSpPr>
          <p:nvPr>
            <p:ph type="pic" sz="quarter" idx="30"/>
          </p:nvPr>
        </p:nvSpPr>
        <p:spPr>
          <a:xfrm>
            <a:off x="3233681"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32"/>
          </p:nvPr>
        </p:nvSpPr>
        <p:spPr>
          <a:xfrm>
            <a:off x="9088489"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29" hasCustomPrompt="1"/>
          </p:nvPr>
        </p:nvSpPr>
        <p:spPr>
          <a:xfrm>
            <a:off x="304800" y="3733799"/>
            <a:ext cx="11480800" cy="457200"/>
          </a:xfrm>
        </p:spPr>
        <p:txBody>
          <a:bodyPr anchor="t" anchorCtr="0">
            <a:noAutofit/>
          </a:bodyPr>
          <a:lstStyle>
            <a:lvl1pPr marL="0" marR="0" indent="0" algn="l">
              <a:buFontTx/>
              <a:buNone/>
              <a:defRPr sz="2600" b="1" baseline="0">
                <a:solidFill>
                  <a:srgbClr val="FC7500"/>
                </a:solidFill>
              </a:defRPr>
            </a:lvl1pPr>
            <a:extLst/>
          </a:lstStyle>
          <a:p>
            <a:pPr lvl="0"/>
            <a:r>
              <a:rPr lang="en-US" dirty="0"/>
              <a:t>Click to add title style</a:t>
            </a:r>
          </a:p>
        </p:txBody>
      </p:sp>
      <p:sp>
        <p:nvSpPr>
          <p:cNvPr id="12" name="Text Placeholder 11"/>
          <p:cNvSpPr>
            <a:spLocks noGrp="1"/>
          </p:cNvSpPr>
          <p:nvPr>
            <p:ph type="body" sz="quarter" idx="33" hasCustomPrompt="1"/>
          </p:nvPr>
        </p:nvSpPr>
        <p:spPr>
          <a:xfrm>
            <a:off x="304800" y="4343399"/>
            <a:ext cx="11480800" cy="1600200"/>
          </a:xfrm>
        </p:spPr>
        <p:txBody>
          <a:bodyPr>
            <a:normAutofit/>
          </a:bodyPr>
          <a:lstStyle>
            <a:lvl1pPr>
              <a:buNone/>
              <a:defRPr sz="2000">
                <a:solidFill>
                  <a:schemeClr val="tx1">
                    <a:lumMod val="75000"/>
                    <a:lumOff val="25000"/>
                  </a:schemeClr>
                </a:solidFill>
              </a:defRPr>
            </a:lvl1pPr>
          </a:lstStyle>
          <a:p>
            <a:pPr lvl="0"/>
            <a:r>
              <a:rPr lang="en-US" dirty="0"/>
              <a:t>Click to add caption text</a:t>
            </a:r>
          </a:p>
        </p:txBody>
      </p:sp>
      <p:grpSp>
        <p:nvGrpSpPr>
          <p:cNvPr id="11" name="Group 10"/>
          <p:cNvGrpSpPr/>
          <p:nvPr userDrawn="1"/>
        </p:nvGrpSpPr>
        <p:grpSpPr>
          <a:xfrm rot="5400000">
            <a:off x="5801032" y="467032"/>
            <a:ext cx="589936" cy="12192000"/>
            <a:chOff x="8524568" y="0"/>
            <a:chExt cx="589936" cy="6858000"/>
          </a:xfrm>
        </p:grpSpPr>
        <p:sp>
          <p:nvSpPr>
            <p:cNvPr id="13" name="Rectangle 12"/>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7500"/>
                </a:solidFill>
              </a:endParaRPr>
            </a:p>
          </p:txBody>
        </p:sp>
        <p:cxnSp>
          <p:nvCxnSpPr>
            <p:cNvPr id="14" name="Straight Connector 13"/>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5"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6"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7"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819779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4-Up Mixed">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 y="0"/>
            <a:ext cx="5072063" cy="6858000"/>
          </a:xfrm>
          <a:prstGeom prst="rect">
            <a:avLst/>
          </a:prstGeom>
        </p:spPr>
      </p:pic>
      <p:sp>
        <p:nvSpPr>
          <p:cNvPr id="6" name="Rectangle 7"/>
          <p:cNvSpPr>
            <a:spLocks noGrp="1"/>
          </p:cNvSpPr>
          <p:nvPr>
            <p:ph type="pic" sz="quarter" idx="14"/>
          </p:nvPr>
        </p:nvSpPr>
        <p:spPr>
          <a:xfrm>
            <a:off x="1016003" y="257670"/>
            <a:ext cx="5975943" cy="5990735"/>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noChangeAspect="1"/>
          </p:cNvSpPr>
          <p:nvPr>
            <p:ph type="pic" sz="quarter" idx="18"/>
          </p:nvPr>
        </p:nvSpPr>
        <p:spPr>
          <a:xfrm>
            <a:off x="7540588" y="257670"/>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2"/>
          </p:nvPr>
        </p:nvSpPr>
        <p:spPr>
          <a:xfrm>
            <a:off x="7540588" y="2362205"/>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noChangeAspect="1"/>
          </p:cNvSpPr>
          <p:nvPr>
            <p:ph type="pic" sz="quarter" idx="23"/>
          </p:nvPr>
        </p:nvSpPr>
        <p:spPr>
          <a:xfrm>
            <a:off x="7540588" y="4495805"/>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2"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3"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4"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5" name="Rectangle 14"/>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7500"/>
              </a:solidFill>
            </a:endParaRPr>
          </a:p>
        </p:txBody>
      </p:sp>
      <p:cxnSp>
        <p:nvCxnSpPr>
          <p:cNvPr id="16" name="Straight Connector 15"/>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524807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zh-TW" altLang="en-US"/>
              <a:t>按一下以編輯母片標題樣式</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4" name="Date Placeholder 3"/>
          <p:cNvSpPr>
            <a:spLocks noGrp="1"/>
          </p:cNvSpPr>
          <p:nvPr>
            <p:ph type="dt" sz="half" idx="10"/>
          </p:nvPr>
        </p:nvSpPr>
        <p:spPr/>
        <p:txBody>
          <a:bodyPr/>
          <a:lstStyle/>
          <a:p>
            <a:fld id="{9BA3A13D-7ACC-4350-B368-5F9372CAD98C}" type="datetimeFigureOut">
              <a:rPr lang="zh-TW" altLang="en-US" smtClean="0"/>
              <a:pPr/>
              <a:t>2021/1/7</a:t>
            </a:fld>
            <a:endParaRPr lang="zh-TW" altLang="en-US"/>
          </a:p>
        </p:txBody>
      </p:sp>
      <p:sp>
        <p:nvSpPr>
          <p:cNvPr id="5" name="Footer Placeholder 4"/>
          <p:cNvSpPr>
            <a:spLocks noGrp="1"/>
          </p:cNvSpPr>
          <p:nvPr>
            <p:ph type="ftr" sz="quarter" idx="11"/>
          </p:nvPr>
        </p:nvSpPr>
        <p:spPr/>
        <p:txBody>
          <a:bodyPr/>
          <a:lstStyle/>
          <a:p>
            <a:endParaRPr lang="zh-TW" altLang="en-US"/>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23761733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Up: 3 Landscape with 2 Portrait">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p:cNvSpPr>
          <p:nvPr>
            <p:ph type="pic" sz="quarter" idx="14"/>
          </p:nvPr>
        </p:nvSpPr>
        <p:spPr>
          <a:xfrm>
            <a:off x="812800" y="3480498"/>
            <a:ext cx="2561275" cy="275762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17"/>
          </p:nvPr>
        </p:nvSpPr>
        <p:spPr>
          <a:xfrm>
            <a:off x="3841930" y="228600"/>
            <a:ext cx="7012547" cy="394455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p:cNvSpPr>
          <p:nvPr>
            <p:ph type="pic" sz="quarter" idx="26"/>
          </p:nvPr>
        </p:nvSpPr>
        <p:spPr>
          <a:xfrm>
            <a:off x="812800" y="228601"/>
            <a:ext cx="2561275" cy="275762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noChangeAspect="1"/>
          </p:cNvSpPr>
          <p:nvPr>
            <p:ph type="pic" sz="quarter" idx="27"/>
          </p:nvPr>
        </p:nvSpPr>
        <p:spPr>
          <a:xfrm>
            <a:off x="7733193" y="4563311"/>
            <a:ext cx="3239608" cy="170773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noChangeAspect="1"/>
          </p:cNvSpPr>
          <p:nvPr>
            <p:ph type="pic" sz="quarter" idx="28"/>
          </p:nvPr>
        </p:nvSpPr>
        <p:spPr>
          <a:xfrm>
            <a:off x="3860800" y="4563311"/>
            <a:ext cx="3349360" cy="170773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3"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4"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5"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512815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5-Up: 2 Landscape with 3 Portrait">
    <p:bg>
      <p:bgPr>
        <a:solidFill>
          <a:schemeClr val="bg1">
            <a:lumMod val="95000"/>
          </a:schemeClr>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0" name="Rectangle 7"/>
          <p:cNvSpPr>
            <a:spLocks noGrp="1"/>
          </p:cNvSpPr>
          <p:nvPr>
            <p:ph type="pic" sz="quarter" idx="26"/>
          </p:nvPr>
        </p:nvSpPr>
        <p:spPr>
          <a:xfrm>
            <a:off x="705477" y="3124205"/>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1" name="Rectangle 7"/>
          <p:cNvSpPr>
            <a:spLocks noGrp="1"/>
          </p:cNvSpPr>
          <p:nvPr>
            <p:ph type="pic" sz="quarter" idx="29"/>
          </p:nvPr>
        </p:nvSpPr>
        <p:spPr>
          <a:xfrm>
            <a:off x="681832" y="228606"/>
            <a:ext cx="5106533" cy="2651469"/>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2" name="Rectangle 7"/>
          <p:cNvSpPr>
            <a:spLocks noGrp="1"/>
          </p:cNvSpPr>
          <p:nvPr>
            <p:ph type="pic" sz="quarter" idx="30"/>
          </p:nvPr>
        </p:nvSpPr>
        <p:spPr>
          <a:xfrm>
            <a:off x="6374268" y="228606"/>
            <a:ext cx="5106533" cy="2651469"/>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3" name="Rectangle 7"/>
          <p:cNvSpPr>
            <a:spLocks noGrp="1"/>
          </p:cNvSpPr>
          <p:nvPr>
            <p:ph type="pic" sz="quarter" idx="27"/>
          </p:nvPr>
        </p:nvSpPr>
        <p:spPr>
          <a:xfrm>
            <a:off x="4413877" y="3124205"/>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4" name="Rectangle 7"/>
          <p:cNvSpPr>
            <a:spLocks noGrp="1"/>
          </p:cNvSpPr>
          <p:nvPr>
            <p:ph type="pic" sz="quarter" idx="28"/>
          </p:nvPr>
        </p:nvSpPr>
        <p:spPr>
          <a:xfrm>
            <a:off x="8122277" y="3124205"/>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Tree>
    <p:extLst>
      <p:ext uri="{BB962C8B-B14F-4D97-AF65-F5344CB8AC3E}">
        <p14:creationId xmlns:p14="http://schemas.microsoft.com/office/powerpoint/2010/main" val="72269272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Photo Grid with Colored Captions">
    <p:bg>
      <p:bgPr>
        <a:solidFill>
          <a:schemeClr val="bg1"/>
        </a:solidFill>
        <a:effectLst/>
      </p:bgPr>
    </p:bg>
    <p:spTree>
      <p:nvGrpSpPr>
        <p:cNvPr id="1" name=""/>
        <p:cNvGrpSpPr/>
        <p:nvPr/>
      </p:nvGrpSpPr>
      <p:grpSpPr>
        <a:xfrm>
          <a:off x="0" y="0"/>
          <a:ext cx="0" cy="0"/>
          <a:chOff x="0" y="0"/>
          <a:chExt cx="0" cy="0"/>
        </a:xfrm>
      </p:grpSpPr>
      <p:sp>
        <p:nvSpPr>
          <p:cNvPr id="51" name="Rectangle 50"/>
          <p:cNvSpPr/>
          <p:nvPr userDrawn="1"/>
        </p:nvSpPr>
        <p:spPr>
          <a:xfrm>
            <a:off x="6197600" y="4558210"/>
            <a:ext cx="2743200" cy="199499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52" name="Text Placeholder 25"/>
          <p:cNvSpPr>
            <a:spLocks noGrp="1"/>
          </p:cNvSpPr>
          <p:nvPr>
            <p:ph type="body" sz="quarter" idx="31" hasCustomPrompt="1"/>
          </p:nvPr>
        </p:nvSpPr>
        <p:spPr>
          <a:xfrm>
            <a:off x="6299200" y="4710615"/>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53" name="Text Placeholder 28"/>
          <p:cNvSpPr>
            <a:spLocks noGrp="1"/>
          </p:cNvSpPr>
          <p:nvPr>
            <p:ph type="body" sz="quarter" idx="32" hasCustomPrompt="1"/>
          </p:nvPr>
        </p:nvSpPr>
        <p:spPr>
          <a:xfrm>
            <a:off x="6299200" y="51678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right</a:t>
            </a:r>
          </a:p>
        </p:txBody>
      </p:sp>
      <p:sp>
        <p:nvSpPr>
          <p:cNvPr id="35" name="Rectangle 34"/>
          <p:cNvSpPr/>
          <p:nvPr userDrawn="1"/>
        </p:nvSpPr>
        <p:spPr>
          <a:xfrm>
            <a:off x="6197600" y="291010"/>
            <a:ext cx="2743200" cy="1994990"/>
          </a:xfrm>
          <a:prstGeom prst="rect">
            <a:avLst/>
          </a:prstGeom>
          <a:solidFill>
            <a:srgbClr val="D9E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36" name="Text Placeholder 25"/>
          <p:cNvSpPr>
            <a:spLocks noGrp="1"/>
          </p:cNvSpPr>
          <p:nvPr>
            <p:ph type="body" sz="quarter" idx="19" hasCustomPrompt="1"/>
          </p:nvPr>
        </p:nvSpPr>
        <p:spPr>
          <a:xfrm>
            <a:off x="6299200" y="443415"/>
            <a:ext cx="2540000" cy="366889"/>
          </a:xfrm>
        </p:spPr>
        <p:txBody>
          <a:bodyPr>
            <a:normAutofit/>
          </a:bodyPr>
          <a:lstStyle>
            <a:lvl1pPr algn="l">
              <a:buNone/>
              <a:defRPr sz="1600" b="1" baseline="0">
                <a:solidFill>
                  <a:schemeClr val="accent1">
                    <a:lumMod val="75000"/>
                  </a:schemeClr>
                </a:solidFill>
              </a:defRPr>
            </a:lvl1pPr>
          </a:lstStyle>
          <a:p>
            <a:pPr lvl="0"/>
            <a:r>
              <a:rPr lang="en-US" dirty="0"/>
              <a:t>CLICK TO ADD TITLE</a:t>
            </a:r>
          </a:p>
        </p:txBody>
      </p:sp>
      <p:sp>
        <p:nvSpPr>
          <p:cNvPr id="37" name="Text Placeholder 28"/>
          <p:cNvSpPr>
            <a:spLocks noGrp="1"/>
          </p:cNvSpPr>
          <p:nvPr>
            <p:ph type="body" sz="quarter" idx="20" hasCustomPrompt="1"/>
          </p:nvPr>
        </p:nvSpPr>
        <p:spPr>
          <a:xfrm>
            <a:off x="6299200" y="9006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30" name="Rectangle 29"/>
          <p:cNvSpPr/>
          <p:nvPr userDrawn="1"/>
        </p:nvSpPr>
        <p:spPr>
          <a:xfrm>
            <a:off x="304800" y="291010"/>
            <a:ext cx="2743200" cy="199499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rgbClr val="FC7500"/>
              </a:solidFill>
            </a:endParaRPr>
          </a:p>
        </p:txBody>
      </p:sp>
      <p:sp>
        <p:nvSpPr>
          <p:cNvPr id="31" name="Picture Placeholder 11"/>
          <p:cNvSpPr>
            <a:spLocks noGrp="1"/>
          </p:cNvSpPr>
          <p:nvPr>
            <p:ph type="pic" sz="quarter" idx="13"/>
          </p:nvPr>
        </p:nvSpPr>
        <p:spPr>
          <a:xfrm>
            <a:off x="3247923" y="295275"/>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32" name="Picture Placeholder 11"/>
          <p:cNvSpPr>
            <a:spLocks noGrp="1"/>
          </p:cNvSpPr>
          <p:nvPr>
            <p:ph type="pic" sz="quarter" idx="16"/>
          </p:nvPr>
        </p:nvSpPr>
        <p:spPr>
          <a:xfrm>
            <a:off x="9140724" y="2910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33" name="Text Placeholder 25"/>
          <p:cNvSpPr>
            <a:spLocks noGrp="1"/>
          </p:cNvSpPr>
          <p:nvPr>
            <p:ph type="body" sz="quarter" idx="17" hasCustomPrompt="1"/>
          </p:nvPr>
        </p:nvSpPr>
        <p:spPr>
          <a:xfrm>
            <a:off x="406400" y="443415"/>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34" name="Text Placeholder 28"/>
          <p:cNvSpPr>
            <a:spLocks noGrp="1"/>
          </p:cNvSpPr>
          <p:nvPr>
            <p:ph type="body" sz="quarter" idx="18" hasCustomPrompt="1"/>
          </p:nvPr>
        </p:nvSpPr>
        <p:spPr>
          <a:xfrm>
            <a:off x="406400" y="9006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right</a:t>
            </a:r>
          </a:p>
        </p:txBody>
      </p:sp>
      <p:sp>
        <p:nvSpPr>
          <p:cNvPr id="38" name="Rectangle 37"/>
          <p:cNvSpPr/>
          <p:nvPr userDrawn="1"/>
        </p:nvSpPr>
        <p:spPr>
          <a:xfrm>
            <a:off x="3254476" y="2424610"/>
            <a:ext cx="2743200" cy="199499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39" name="Picture Placeholder 11"/>
          <p:cNvSpPr>
            <a:spLocks noGrp="1"/>
          </p:cNvSpPr>
          <p:nvPr>
            <p:ph type="pic" sz="quarter" idx="21"/>
          </p:nvPr>
        </p:nvSpPr>
        <p:spPr>
          <a:xfrm>
            <a:off x="304800"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0" name="Picture Placeholder 11"/>
          <p:cNvSpPr>
            <a:spLocks noGrp="1"/>
          </p:cNvSpPr>
          <p:nvPr>
            <p:ph type="pic" sz="quarter" idx="22"/>
          </p:nvPr>
        </p:nvSpPr>
        <p:spPr>
          <a:xfrm>
            <a:off x="6200876"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1" name="Text Placeholder 25"/>
          <p:cNvSpPr>
            <a:spLocks noGrp="1"/>
          </p:cNvSpPr>
          <p:nvPr>
            <p:ph type="body" sz="quarter" idx="23" hasCustomPrompt="1"/>
          </p:nvPr>
        </p:nvSpPr>
        <p:spPr>
          <a:xfrm>
            <a:off x="3356076" y="2577015"/>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42" name="Text Placeholder 28"/>
          <p:cNvSpPr>
            <a:spLocks noGrp="1"/>
          </p:cNvSpPr>
          <p:nvPr>
            <p:ph type="body" sz="quarter" idx="24" hasCustomPrompt="1"/>
          </p:nvPr>
        </p:nvSpPr>
        <p:spPr>
          <a:xfrm>
            <a:off x="3356076" y="30342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left</a:t>
            </a:r>
          </a:p>
        </p:txBody>
      </p:sp>
      <p:sp>
        <p:nvSpPr>
          <p:cNvPr id="43" name="Rectangle 42"/>
          <p:cNvSpPr/>
          <p:nvPr userDrawn="1"/>
        </p:nvSpPr>
        <p:spPr>
          <a:xfrm>
            <a:off x="9147276" y="2424610"/>
            <a:ext cx="2743200" cy="19949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44" name="Text Placeholder 25"/>
          <p:cNvSpPr>
            <a:spLocks noGrp="1"/>
          </p:cNvSpPr>
          <p:nvPr>
            <p:ph type="body" sz="quarter" idx="25" hasCustomPrompt="1"/>
          </p:nvPr>
        </p:nvSpPr>
        <p:spPr>
          <a:xfrm>
            <a:off x="9248876" y="2577015"/>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45" name="Text Placeholder 28"/>
          <p:cNvSpPr>
            <a:spLocks noGrp="1"/>
          </p:cNvSpPr>
          <p:nvPr>
            <p:ph type="body" sz="quarter" idx="26" hasCustomPrompt="1"/>
          </p:nvPr>
        </p:nvSpPr>
        <p:spPr>
          <a:xfrm>
            <a:off x="9248876" y="30342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left</a:t>
            </a:r>
          </a:p>
        </p:txBody>
      </p:sp>
      <p:sp>
        <p:nvSpPr>
          <p:cNvPr id="46" name="Rectangle 45"/>
          <p:cNvSpPr/>
          <p:nvPr userDrawn="1"/>
        </p:nvSpPr>
        <p:spPr>
          <a:xfrm>
            <a:off x="304800" y="4558210"/>
            <a:ext cx="2743200" cy="1994990"/>
          </a:xfrm>
          <a:prstGeom prst="rect">
            <a:avLst/>
          </a:prstGeom>
          <a:solidFill>
            <a:srgbClr val="D9E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47" name="Picture Placeholder 11"/>
          <p:cNvSpPr>
            <a:spLocks noGrp="1"/>
          </p:cNvSpPr>
          <p:nvPr>
            <p:ph type="pic" sz="quarter" idx="27"/>
          </p:nvPr>
        </p:nvSpPr>
        <p:spPr>
          <a:xfrm>
            <a:off x="3251200"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8" name="Picture Placeholder 11"/>
          <p:cNvSpPr>
            <a:spLocks noGrp="1"/>
          </p:cNvSpPr>
          <p:nvPr>
            <p:ph type="pic" sz="quarter" idx="28"/>
          </p:nvPr>
        </p:nvSpPr>
        <p:spPr>
          <a:xfrm>
            <a:off x="9144000"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9" name="Text Placeholder 25"/>
          <p:cNvSpPr>
            <a:spLocks noGrp="1"/>
          </p:cNvSpPr>
          <p:nvPr>
            <p:ph type="body" sz="quarter" idx="29" hasCustomPrompt="1"/>
          </p:nvPr>
        </p:nvSpPr>
        <p:spPr>
          <a:xfrm>
            <a:off x="406400" y="4710615"/>
            <a:ext cx="2540000" cy="366889"/>
          </a:xfrm>
        </p:spPr>
        <p:txBody>
          <a:bodyPr>
            <a:normAutofit/>
          </a:bodyPr>
          <a:lstStyle>
            <a:lvl1pPr algn="l">
              <a:buNone/>
              <a:defRPr sz="1600" b="1" baseline="0">
                <a:solidFill>
                  <a:schemeClr val="accent1">
                    <a:lumMod val="75000"/>
                  </a:schemeClr>
                </a:solidFill>
              </a:defRPr>
            </a:lvl1pPr>
          </a:lstStyle>
          <a:p>
            <a:pPr lvl="0"/>
            <a:r>
              <a:rPr lang="en-US" dirty="0"/>
              <a:t>CLICK TO ADD TITLE</a:t>
            </a:r>
          </a:p>
        </p:txBody>
      </p:sp>
      <p:sp>
        <p:nvSpPr>
          <p:cNvPr id="50" name="Text Placeholder 28"/>
          <p:cNvSpPr>
            <a:spLocks noGrp="1"/>
          </p:cNvSpPr>
          <p:nvPr>
            <p:ph type="body" sz="quarter" idx="30" hasCustomPrompt="1"/>
          </p:nvPr>
        </p:nvSpPr>
        <p:spPr>
          <a:xfrm>
            <a:off x="406400" y="51678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29" name="Date Placeholder 6"/>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54" name="Footer Placeholder 7"/>
          <p:cNvSpPr>
            <a:spLocks noGrp="1"/>
          </p:cNvSpPr>
          <p:nvPr>
            <p:ph type="ftr" sz="quarter" idx="11"/>
          </p:nvPr>
        </p:nvSpPr>
        <p:spPr>
          <a:xfrm>
            <a:off x="4165600" y="6553200"/>
            <a:ext cx="3860800" cy="304800"/>
          </a:xfrm>
        </p:spPr>
        <p:txBody>
          <a:bodyPr/>
          <a:lstStyle/>
          <a:p>
            <a:endParaRPr lang="en-US">
              <a:solidFill>
                <a:prstClr val="black">
                  <a:tint val="75000"/>
                </a:prstClr>
              </a:solidFill>
            </a:endParaRPr>
          </a:p>
        </p:txBody>
      </p:sp>
      <p:sp>
        <p:nvSpPr>
          <p:cNvPr id="55" name="Slide Number Placeholder 8"/>
          <p:cNvSpPr>
            <a:spLocks noGrp="1"/>
          </p:cNvSpPr>
          <p:nvPr>
            <p:ph type="sldNum" sz="quarter" idx="12"/>
          </p:nvPr>
        </p:nvSpPr>
        <p:spPr>
          <a:xfrm>
            <a:off x="8737600" y="6553200"/>
            <a:ext cx="28448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405806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Panoramic with Caption">
    <p:bg>
      <p:bgPr>
        <a:solidFill>
          <a:schemeClr val="bg1">
            <a:lumMod val="95000"/>
          </a:schemeClr>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 y="0"/>
            <a:ext cx="5072063" cy="6858000"/>
          </a:xfrm>
          <a:prstGeom prst="rect">
            <a:avLst/>
          </a:prstGeom>
        </p:spPr>
      </p:pic>
      <p:sp>
        <p:nvSpPr>
          <p:cNvPr id="7" name="W¥ل云玗İαЂôÁûÂÚ丫:Pïçtúrê Plå¢éhõlðér 表¥鷗字㌍ 表_W 2"/>
          <p:cNvSpPr>
            <a:spLocks noGrp="1"/>
          </p:cNvSpPr>
          <p:nvPr>
            <p:ph type="pic" sz="quarter" idx="30"/>
          </p:nvPr>
        </p:nvSpPr>
        <p:spPr>
          <a:xfrm>
            <a:off x="622302" y="1371599"/>
            <a:ext cx="10922001" cy="2771776"/>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W¥ل云玗İαЂÕØÚáÛ丫:Téxt Plàçèhòlðêr 表¥鷗字㌍_W 3"/>
          <p:cNvSpPr>
            <a:spLocks noGrp="1"/>
          </p:cNvSpPr>
          <p:nvPr>
            <p:ph type="body" sz="quarter" idx="31" hasCustomPrompt="1"/>
          </p:nvPr>
        </p:nvSpPr>
        <p:spPr>
          <a:xfrm>
            <a:off x="609600" y="4343400"/>
            <a:ext cx="10972800" cy="1447800"/>
          </a:xfrm>
          <a:solidFill>
            <a:schemeClr val="bg1"/>
          </a:solidFill>
        </p:spPr>
        <p:txBody>
          <a:bodyPr tIns="91440" rIns="9144" bIns="91440" anchor="t"/>
          <a:lstStyle>
            <a:lvl1pPr marL="0" marR="0" indent="0" algn="l">
              <a:buFontTx/>
              <a:buNone/>
              <a:defRPr sz="1800" i="0">
                <a:solidFill>
                  <a:schemeClr val="tx1">
                    <a:lumMod val="75000"/>
                    <a:lumOff val="25000"/>
                  </a:schemeClr>
                </a:solidFill>
              </a:defRPr>
            </a:lvl1pPr>
            <a:extLst/>
          </a:lstStyle>
          <a:p>
            <a:pPr lvl="0"/>
            <a:r>
              <a:rPr lang="en-US" dirty="0"/>
              <a:t>Click to add caption</a:t>
            </a:r>
          </a:p>
        </p:txBody>
      </p:sp>
      <p:grpSp>
        <p:nvGrpSpPr>
          <p:cNvPr id="9" name="Group 8"/>
          <p:cNvGrpSpPr/>
          <p:nvPr userDrawn="1"/>
        </p:nvGrpSpPr>
        <p:grpSpPr>
          <a:xfrm rot="5400000">
            <a:off x="5801032" y="467032"/>
            <a:ext cx="589936" cy="12192000"/>
            <a:chOff x="8524568" y="0"/>
            <a:chExt cx="589936" cy="6858000"/>
          </a:xfrm>
        </p:grpSpPr>
        <p:sp>
          <p:nvSpPr>
            <p:cNvPr id="10" name="Rectangle 9"/>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7500"/>
                </a:solidFill>
              </a:endParaRPr>
            </a:p>
          </p:txBody>
        </p:sp>
        <p:cxnSp>
          <p:nvCxnSpPr>
            <p:cNvPr id="11" name="Straight Connector 10"/>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2"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3"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4"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628001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quare with Caption">
    <p:spTree>
      <p:nvGrpSpPr>
        <p:cNvPr id="1" name=""/>
        <p:cNvGrpSpPr/>
        <p:nvPr/>
      </p:nvGrpSpPr>
      <p:grpSpPr>
        <a:xfrm>
          <a:off x="0" y="0"/>
          <a:ext cx="0" cy="0"/>
          <a:chOff x="0" y="0"/>
          <a:chExt cx="0" cy="0"/>
        </a:xfrm>
      </p:grpSpPr>
      <p:sp>
        <p:nvSpPr>
          <p:cNvPr id="8" name="Rectangle 7"/>
          <p:cNvSpPr/>
          <p:nvPr userDrawn="1"/>
        </p:nvSpPr>
        <p:spPr>
          <a:xfrm rot="5400000">
            <a:off x="5825613" y="442451"/>
            <a:ext cx="540774" cy="12192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7500"/>
              </a:solidFill>
            </a:endParaRPr>
          </a:p>
        </p:txBody>
      </p:sp>
      <p:cxnSp>
        <p:nvCxnSpPr>
          <p:cNvPr id="9" name="Straight Connector 8"/>
          <p:cNvCxnSpPr/>
          <p:nvPr userDrawn="1"/>
        </p:nvCxnSpPr>
        <p:spPr>
          <a:xfrm rot="10800000">
            <a:off x="0" y="6858000"/>
            <a:ext cx="12192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userDrawn="1">
            <p:ph type="dt" sz="half" idx="10"/>
          </p:nvPr>
        </p:nvSpPr>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4" name="Footer Placeholder 3"/>
          <p:cNvSpPr>
            <a:spLocks noGrp="1"/>
          </p:cNvSpPr>
          <p:nvPr userDrawn="1">
            <p:ph type="ftr" sz="quarter" idx="11"/>
          </p:nvPr>
        </p:nvSpPr>
        <p:spPr/>
        <p:txBody>
          <a:bodyPr/>
          <a:lstStyle>
            <a:lvl1pPr>
              <a:defRPr>
                <a:solidFill>
                  <a:schemeClr val="bg1"/>
                </a:solidFill>
              </a:defRPr>
            </a:lvl1pPr>
          </a:lstStyle>
          <a:p>
            <a:endParaRPr lang="en-US" dirty="0">
              <a:solidFill>
                <a:prstClr val="white"/>
              </a:solidFill>
            </a:endParaRPr>
          </a:p>
        </p:txBody>
      </p:sp>
      <p:sp>
        <p:nvSpPr>
          <p:cNvPr id="5" name="Slide Number Placeholder 4"/>
          <p:cNvSpPr>
            <a:spLocks noGrp="1"/>
          </p:cNvSpPr>
          <p:nvPr userDrawn="1">
            <p:ph type="sldNum" sz="quarter" idx="12"/>
          </p:nvPr>
        </p:nvSpPr>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
        <p:nvSpPr>
          <p:cNvPr id="6" name="W¥ل云玗İαЂôÁûÂÚ丫:Pïçtúrê Plå¢éhõlðér 表¥鷗字㌍ 表_W 3"/>
          <p:cNvSpPr>
            <a:spLocks noGrp="1" noChangeAspect="1"/>
          </p:cNvSpPr>
          <p:nvPr userDrawn="1">
            <p:ph type="pic" sz="quarter" idx="13"/>
          </p:nvPr>
        </p:nvSpPr>
        <p:spPr>
          <a:xfrm>
            <a:off x="3965434" y="609600"/>
            <a:ext cx="4264169" cy="32004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7" name="W¥ل云玗İαЂÕØÚáÛ丫:Téxt Plàçèhòlðêr 表¥鷗字㌍_W 6"/>
          <p:cNvSpPr>
            <a:spLocks noGrp="1"/>
          </p:cNvSpPr>
          <p:nvPr userDrawn="1">
            <p:ph type="body" sz="quarter" idx="15" hasCustomPrompt="1"/>
          </p:nvPr>
        </p:nvSpPr>
        <p:spPr>
          <a:xfrm>
            <a:off x="3962400" y="4038600"/>
            <a:ext cx="4267200" cy="1600200"/>
          </a:xfrm>
        </p:spPr>
        <p:txBody>
          <a:bodyPr tIns="91440" rIns="9144" bIns="91440" anchor="t"/>
          <a:lstStyle>
            <a:lvl1pPr marL="0" marR="0" indent="0" algn="l">
              <a:buFontTx/>
              <a:buNone/>
              <a:defRPr sz="1800" i="0">
                <a:solidFill>
                  <a:schemeClr val="tx1">
                    <a:lumMod val="75000"/>
                    <a:lumOff val="25000"/>
                  </a:schemeClr>
                </a:solidFill>
              </a:defRPr>
            </a:lvl1pPr>
            <a:extLst/>
          </a:lstStyle>
          <a:p>
            <a:pPr lvl="0"/>
            <a:r>
              <a:rPr lang="en-US" dirty="0"/>
              <a:t>Click to add caption</a:t>
            </a:r>
          </a:p>
        </p:txBody>
      </p:sp>
    </p:spTree>
    <p:extLst>
      <p:ext uri="{BB962C8B-B14F-4D97-AF65-F5344CB8AC3E}">
        <p14:creationId xmlns:p14="http://schemas.microsoft.com/office/powerpoint/2010/main" val="6320514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Portrait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8"/>
          <p:cNvSpPr>
            <a:spLocks noGrp="1"/>
          </p:cNvSpPr>
          <p:nvPr>
            <p:ph type="pic" sz="quarter" idx="13"/>
          </p:nvPr>
        </p:nvSpPr>
        <p:spPr>
          <a:xfrm>
            <a:off x="860938" y="290540"/>
            <a:ext cx="5743065" cy="572926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i="0"/>
              <a:t>按一下圖示以新增圖片</a:t>
            </a:r>
            <a:endParaRPr lang="en-US" i="0" dirty="0"/>
          </a:p>
        </p:txBody>
      </p:sp>
      <p:sp>
        <p:nvSpPr>
          <p:cNvPr id="10" name="Rectangle 6"/>
          <p:cNvSpPr>
            <a:spLocks noGrp="1"/>
          </p:cNvSpPr>
          <p:nvPr>
            <p:ph type="body" sz="quarter" idx="14" hasCustomPrompt="1"/>
          </p:nvPr>
        </p:nvSpPr>
        <p:spPr>
          <a:xfrm>
            <a:off x="7124700" y="2859716"/>
            <a:ext cx="4241800" cy="3181350"/>
          </a:xfrm>
        </p:spPr>
        <p:txBody>
          <a:bodyPr tIns="91440" bIns="91440" anchor="b" anchorCtr="0">
            <a:noAutofit/>
          </a:bodyPr>
          <a:lstStyle>
            <a:lvl1pPr marL="0" marR="0" indent="0" algn="l" rtl="0" latinLnBrk="0">
              <a:spcBef>
                <a:spcPct val="20000"/>
              </a:spcBef>
              <a:buFontTx/>
              <a:buNone/>
              <a:defRPr sz="1800" i="0" baseline="0">
                <a:solidFill>
                  <a:schemeClr val="tx1">
                    <a:lumMod val="75000"/>
                    <a:lumOff val="25000"/>
                  </a:schemeClr>
                </a:solidFill>
                <a:latin typeface="+mn-lt"/>
                <a:ea typeface="+mn-ea"/>
                <a:cs typeface="+mn-cs"/>
              </a:defRPr>
            </a:lvl1pPr>
            <a:extLst/>
          </a:lstStyle>
          <a:p>
            <a:pPr lvl="0"/>
            <a:r>
              <a:rPr lang="en-US" dirty="0"/>
              <a:t>Click to add caption</a:t>
            </a:r>
          </a:p>
        </p:txBody>
      </p:sp>
      <p:grpSp>
        <p:nvGrpSpPr>
          <p:cNvPr id="13" name="Group 12"/>
          <p:cNvGrpSpPr/>
          <p:nvPr userDrawn="1"/>
        </p:nvGrpSpPr>
        <p:grpSpPr>
          <a:xfrm rot="5400000">
            <a:off x="5801032" y="467032"/>
            <a:ext cx="589936" cy="12192000"/>
            <a:chOff x="8524568" y="0"/>
            <a:chExt cx="589936" cy="6858000"/>
          </a:xfrm>
        </p:grpSpPr>
        <p:sp>
          <p:nvSpPr>
            <p:cNvPr id="14" name="Rectangle 13"/>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rgbClr val="FC7500"/>
                </a:solidFill>
              </a:endParaRPr>
            </a:p>
          </p:txBody>
        </p:sp>
        <p:cxnSp>
          <p:nvCxnSpPr>
            <p:cNvPr id="15" name="Straight Connector 14"/>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6"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7"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8"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7151407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with Title">
    <p:spTree>
      <p:nvGrpSpPr>
        <p:cNvPr id="1" name=""/>
        <p:cNvGrpSpPr/>
        <p:nvPr/>
      </p:nvGrpSpPr>
      <p:grpSpPr>
        <a:xfrm>
          <a:off x="0" y="0"/>
          <a:ext cx="0" cy="0"/>
          <a:chOff x="0" y="0"/>
          <a:chExt cx="0" cy="0"/>
        </a:xfrm>
      </p:grpSpPr>
      <p:sp>
        <p:nvSpPr>
          <p:cNvPr id="8" name="Rectangle 7"/>
          <p:cNvSpPr/>
          <p:nvPr userDrawn="1"/>
        </p:nvSpPr>
        <p:spPr>
          <a:xfrm>
            <a:off x="0" y="6096000"/>
            <a:ext cx="113792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7" name="Picture Placeholder 6"/>
          <p:cNvSpPr>
            <a:spLocks noGrp="1"/>
          </p:cNvSpPr>
          <p:nvPr>
            <p:ph type="pic" sz="quarter" idx="10"/>
          </p:nvPr>
        </p:nvSpPr>
        <p:spPr>
          <a:xfrm>
            <a:off x="0" y="0"/>
            <a:ext cx="11379200" cy="6096000"/>
          </a:xfrm>
        </p:spPr>
        <p:txBody>
          <a:bodyPr/>
          <a:lstStyle>
            <a:lvl1pPr algn="ctr">
              <a:buNone/>
              <a:defRPr>
                <a:solidFill>
                  <a:schemeClr val="tx1">
                    <a:lumMod val="85000"/>
                    <a:lumOff val="15000"/>
                  </a:schemeClr>
                </a:solidFill>
              </a:defRPr>
            </a:lvl1pPr>
          </a:lstStyle>
          <a:p>
            <a:r>
              <a:rPr lang="zh-TW" altLang="en-US"/>
              <a:t>按一下圖示以新增圖片</a:t>
            </a:r>
            <a:endParaRPr lang="en-US" dirty="0"/>
          </a:p>
        </p:txBody>
      </p:sp>
      <p:sp>
        <p:nvSpPr>
          <p:cNvPr id="2" name="Title 1"/>
          <p:cNvSpPr>
            <a:spLocks noGrp="1"/>
          </p:cNvSpPr>
          <p:nvPr>
            <p:ph type="title"/>
          </p:nvPr>
        </p:nvSpPr>
        <p:spPr>
          <a:xfrm>
            <a:off x="203200" y="6172200"/>
            <a:ext cx="10972800" cy="571500"/>
          </a:xfrm>
        </p:spPr>
        <p:txBody>
          <a:bodyPr>
            <a:noAutofit/>
          </a:bodyPr>
          <a:lstStyle>
            <a:lvl1pPr algn="l">
              <a:defRPr sz="3600" b="1">
                <a:solidFill>
                  <a:schemeClr val="tx1">
                    <a:lumMod val="85000"/>
                    <a:lumOff val="15000"/>
                  </a:schemeClr>
                </a:solidFill>
              </a:defRPr>
            </a:lvl1pPr>
          </a:lstStyle>
          <a:p>
            <a:r>
              <a:rPr lang="zh-TW" altLang="en-US"/>
              <a:t>按一下以編輯母片標題樣式</a:t>
            </a:r>
            <a:endParaRPr lang="en-US" dirty="0"/>
          </a:p>
        </p:txBody>
      </p:sp>
    </p:spTree>
    <p:extLst>
      <p:ext uri="{BB962C8B-B14F-4D97-AF65-F5344CB8AC3E}">
        <p14:creationId xmlns:p14="http://schemas.microsoft.com/office/powerpoint/2010/main" val="7981577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Full Page Photo with Titl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8" name="Rectangle 6"/>
          <p:cNvSpPr>
            <a:spLocks noGrp="1" noChangeAspect="1"/>
          </p:cNvSpPr>
          <p:nvPr>
            <p:ph type="pic" sz="quarter" idx="13"/>
          </p:nvPr>
        </p:nvSpPr>
        <p:spPr>
          <a:xfrm>
            <a:off x="0" y="0"/>
            <a:ext cx="12192000" cy="6858000"/>
          </a:xfrm>
          <a:no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t">
            <a:normAutofit/>
          </a:bodyPr>
          <a:lstStyle>
            <a:lvl1pPr marL="0" marR="0" indent="0" algn="ctr" rtl="0" latinLnBrk="0">
              <a:spcBef>
                <a:spcPct val="20000"/>
              </a:spcBef>
              <a:buFontTx/>
              <a:buNone/>
              <a:defRPr sz="2400" i="0">
                <a:solidFill>
                  <a:schemeClr val="tx1">
                    <a:lumMod val="75000"/>
                    <a:lumOff val="25000"/>
                  </a:schemeClr>
                </a:solidFill>
                <a:latin typeface="+mn-lt"/>
                <a:ea typeface="+mn-ea"/>
                <a:cs typeface="+mn-cs"/>
              </a:defRPr>
            </a:lvl1pPr>
            <a:extLst/>
          </a:lstStyle>
          <a:p>
            <a:pPr marL="0" marR="0" indent="0" algn="ctr">
              <a:buFontTx/>
              <a:buNone/>
            </a:pPr>
            <a:r>
              <a:rPr lang="zh-TW" altLang="en-US" i="0"/>
              <a:t>按一下圖示以新增圖片</a:t>
            </a:r>
            <a:endParaRPr lang="en-US" i="0" dirty="0"/>
          </a:p>
        </p:txBody>
      </p:sp>
      <p:sp>
        <p:nvSpPr>
          <p:cNvPr id="12" name="Text Placeholder 10"/>
          <p:cNvSpPr>
            <a:spLocks noGrp="1"/>
          </p:cNvSpPr>
          <p:nvPr>
            <p:ph type="body" sz="quarter" idx="14" hasCustomPrompt="1"/>
          </p:nvPr>
        </p:nvSpPr>
        <p:spPr>
          <a:xfrm>
            <a:off x="6807200" y="5257805"/>
            <a:ext cx="5384800" cy="505047"/>
          </a:xfrm>
          <a:solidFill>
            <a:schemeClr val="tx1">
              <a:alpha val="46000"/>
            </a:schemeClr>
          </a:solidFill>
        </p:spPr>
        <p:txBody>
          <a:bodyPr>
            <a:normAutofit/>
          </a:bodyPr>
          <a:lstStyle>
            <a:lvl1pPr>
              <a:buNone/>
              <a:defRPr sz="2800" baseline="0">
                <a:solidFill>
                  <a:schemeClr val="bg1"/>
                </a:solidFill>
              </a:defRPr>
            </a:lvl1pPr>
          </a:lstStyle>
          <a:p>
            <a:pPr lvl="0"/>
            <a:r>
              <a:rPr lang="en-US" dirty="0"/>
              <a:t>Click to add Title</a:t>
            </a:r>
          </a:p>
        </p:txBody>
      </p:sp>
    </p:spTree>
    <p:extLst>
      <p:ext uri="{BB962C8B-B14F-4D97-AF65-F5344CB8AC3E}">
        <p14:creationId xmlns:p14="http://schemas.microsoft.com/office/powerpoint/2010/main" val="5062773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with Color">
    <p:spTree>
      <p:nvGrpSpPr>
        <p:cNvPr id="1" name=""/>
        <p:cNvGrpSpPr/>
        <p:nvPr/>
      </p:nvGrpSpPr>
      <p:grpSpPr>
        <a:xfrm>
          <a:off x="0" y="0"/>
          <a:ext cx="0" cy="0"/>
          <a:chOff x="0" y="0"/>
          <a:chExt cx="0" cy="0"/>
        </a:xfrm>
      </p:grpSpPr>
      <p:sp>
        <p:nvSpPr>
          <p:cNvPr id="5"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7"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542689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1_空白">
    <p:bg>
      <p:bgRef idx="1001">
        <a:schemeClr val="bg1"/>
      </p:bgRef>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F934E2-BBB6-4D34-BB01-078E9AA25260}" type="datetimeFigureOut">
              <a:rPr lang="en-US" smtClean="0"/>
              <a:pPr/>
              <a:t>1/7/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3820FCD-5F4C-4989-BE05-0A8208BCBC21}" type="slidenum">
              <a:rPr lang="en-US" smtClean="0"/>
              <a:pPr/>
              <a:t>‹#›</a:t>
            </a:fld>
            <a:endParaRPr lang="en-US" dirty="0"/>
          </a:p>
        </p:txBody>
      </p:sp>
    </p:spTree>
    <p:extLst>
      <p:ext uri="{BB962C8B-B14F-4D97-AF65-F5344CB8AC3E}">
        <p14:creationId xmlns:p14="http://schemas.microsoft.com/office/powerpoint/2010/main" val="742493983"/>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8" name="Date Placeholder 7"/>
          <p:cNvSpPr>
            <a:spLocks noGrp="1"/>
          </p:cNvSpPr>
          <p:nvPr>
            <p:ph type="dt" sz="half" idx="10"/>
          </p:nvPr>
        </p:nvSpPr>
        <p:spPr/>
        <p:txBody>
          <a:bodyPr/>
          <a:lstStyle/>
          <a:p>
            <a:fld id="{9BA3A13D-7ACC-4350-B368-5F9372CAD98C}" type="datetimeFigureOut">
              <a:rPr lang="zh-TW" altLang="en-US" smtClean="0"/>
              <a:pPr/>
              <a:t>2021/1/7</a:t>
            </a:fld>
            <a:endParaRPr lang="zh-TW" altLang="en-US"/>
          </a:p>
        </p:txBody>
      </p:sp>
      <p:sp>
        <p:nvSpPr>
          <p:cNvPr id="9" name="Footer Placeholder 8"/>
          <p:cNvSpPr>
            <a:spLocks noGrp="1"/>
          </p:cNvSpPr>
          <p:nvPr>
            <p:ph type="ftr" sz="quarter" idx="11"/>
          </p:nvPr>
        </p:nvSpPr>
        <p:spPr/>
        <p:txBody>
          <a:bodyPr/>
          <a:lstStyle/>
          <a:p>
            <a:endParaRPr lang="zh-TW" altLang="en-US"/>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5915190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含標題的內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4258733" y="1066805"/>
            <a:ext cx="6815667" cy="46783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Text Placeholder 3"/>
          <p:cNvSpPr>
            <a:spLocks noGrp="1"/>
          </p:cNvSpPr>
          <p:nvPr>
            <p:ph type="body" sz="half" idx="2"/>
          </p:nvPr>
        </p:nvSpPr>
        <p:spPr>
          <a:xfrm>
            <a:off x="1219200" y="1066805"/>
            <a:ext cx="3149600" cy="4373563"/>
          </a:xfrm>
        </p:spPr>
        <p:txBody>
          <a:bodyPr>
            <a:normAutofit/>
          </a:bodyPr>
          <a:lstStyle>
            <a:lvl1pPr marL="0" indent="0">
              <a:lnSpc>
                <a:spcPts val="1600"/>
              </a:lnSpc>
              <a:buNone/>
              <a:defRPr sz="12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12" name="Slide Number Placeholder 11"/>
          <p:cNvSpPr>
            <a:spLocks noGrp="1"/>
          </p:cNvSpPr>
          <p:nvPr>
            <p:ph type="sldNum" sz="quarter" idx="14"/>
          </p:nvPr>
        </p:nvSpPr>
        <p:spPr/>
        <p:txBody>
          <a:bodyPr/>
          <a:lstStyle/>
          <a:p>
            <a:fld id="{81582BD6-FC20-4557-852B-8433F8572D30}" type="slidenum">
              <a:rPr lang="en-US" smtClean="0"/>
              <a:pPr/>
              <a:t>‹#›</a:t>
            </a:fld>
            <a:endParaRPr lang="en-US" dirty="0"/>
          </a:p>
        </p:txBody>
      </p:sp>
      <p:sp>
        <p:nvSpPr>
          <p:cNvPr id="13" name="Footer Placeholder 12"/>
          <p:cNvSpPr>
            <a:spLocks noGrp="1"/>
          </p:cNvSpPr>
          <p:nvPr>
            <p:ph type="ftr" sz="quarter" idx="15"/>
          </p:nvPr>
        </p:nvSpPr>
        <p:spPr/>
        <p:txBody>
          <a:bodyPr/>
          <a:lstStyle/>
          <a:p>
            <a:endParaRPr lang="en-US" dirty="0"/>
          </a:p>
        </p:txBody>
      </p:sp>
      <p:sp>
        <p:nvSpPr>
          <p:cNvPr id="14" name="Title 13"/>
          <p:cNvSpPr>
            <a:spLocks noGrp="1"/>
          </p:cNvSpPr>
          <p:nvPr>
            <p:ph type="title"/>
          </p:nvPr>
        </p:nvSpPr>
        <p:spPr>
          <a:xfrm>
            <a:off x="711200" y="198441"/>
            <a:ext cx="10972800" cy="639763"/>
          </a:xfrm>
        </p:spPr>
        <p:txBody>
          <a:bodyPr/>
          <a:lstStyle>
            <a:lvl1pPr algn="ctr">
              <a:defRPr>
                <a:solidFill>
                  <a:schemeClr val="bg1"/>
                </a:solidFill>
              </a:defRPr>
            </a:lvl1pPr>
          </a:lstStyle>
          <a:p>
            <a:r>
              <a:rPr lang="zh-TW" altLang="en-US"/>
              <a:t>按一下以編輯母片標題樣式</a:t>
            </a:r>
            <a:endParaRPr lang="en-US" dirty="0"/>
          </a:p>
        </p:txBody>
      </p:sp>
    </p:spTree>
    <p:extLst>
      <p:ext uri="{BB962C8B-B14F-4D97-AF65-F5344CB8AC3E}">
        <p14:creationId xmlns:p14="http://schemas.microsoft.com/office/powerpoint/2010/main" val="23192028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sp>
        <p:nvSpPr>
          <p:cNvPr id="7" name="Rectangle 6"/>
          <p:cNvSpPr/>
          <p:nvPr/>
        </p:nvSpPr>
        <p:spPr>
          <a:xfrm>
            <a:off x="0" y="761999"/>
            <a:ext cx="9141619" cy="5334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9270263" y="761999"/>
            <a:ext cx="2925318" cy="5334001"/>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69848" y="1298448"/>
            <a:ext cx="7315200" cy="3255264"/>
          </a:xfrm>
        </p:spPr>
        <p:txBody>
          <a:bodyPr anchor="b">
            <a:normAutofit/>
          </a:bodyPr>
          <a:lstStyle>
            <a:lvl1pPr algn="l">
              <a:defRPr sz="5900" spc="-100" baseline="0">
                <a:solidFill>
                  <a:srgbClr val="FFFFFF"/>
                </a:solidFill>
              </a:defRPr>
            </a:lvl1pPr>
          </a:lstStyle>
          <a:p>
            <a:r>
              <a:rPr lang="zh-TW" altLang="en-US"/>
              <a:t>按一下以編輯母片標題樣式</a:t>
            </a:r>
            <a:endParaRPr lang="en-US" dirty="0"/>
          </a:p>
        </p:txBody>
      </p:sp>
      <p:sp>
        <p:nvSpPr>
          <p:cNvPr id="3" name="Subtitle 2"/>
          <p:cNvSpPr>
            <a:spLocks noGrp="1"/>
          </p:cNvSpPr>
          <p:nvPr>
            <p:ph type="subTitle" idx="1"/>
          </p:nvPr>
        </p:nvSpPr>
        <p:spPr>
          <a:xfrm>
            <a:off x="1100015" y="4670246"/>
            <a:ext cx="7315200" cy="914400"/>
          </a:xfrm>
        </p:spPr>
        <p:txBody>
          <a:bodyPr anchor="t">
            <a:normAutofit/>
          </a:bodyPr>
          <a:lstStyle>
            <a:lvl1pPr marL="0" indent="0" algn="l">
              <a:buNone/>
              <a:defRPr sz="2200" cap="none" spc="0" baseline="0">
                <a:solidFill>
                  <a:schemeClr val="accent1">
                    <a:lumMod val="20000"/>
                    <a:lumOff val="80000"/>
                  </a:schemeClr>
                </a:solidFill>
              </a:defRPr>
            </a:lvl1pPr>
            <a:lvl2pPr marL="457200" indent="0" algn="ctr">
              <a:buNone/>
              <a:defRPr sz="2200"/>
            </a:lvl2pPr>
            <a:lvl3pPr marL="914400" indent="0" algn="ctr">
              <a:buNone/>
              <a:defRPr sz="22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zh-TW" altLang="en-US"/>
              <a:t>按一下以編輯母片副標題樣式</a:t>
            </a:r>
            <a:endParaRPr lang="en-US" dirty="0"/>
          </a:p>
        </p:txBody>
      </p:sp>
      <p:sp>
        <p:nvSpPr>
          <p:cNvPr id="4" name="Date Placeholder 3"/>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29794199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Content Placeholder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13105473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p:spPr>
        <p:txBody>
          <a:bodyPr anchor="b">
            <a:normAutofit/>
          </a:bodyPr>
          <a:lstStyle>
            <a:lvl1pPr>
              <a:defRPr sz="5900" b="0" spc="-100" baseline="0">
                <a:solidFill>
                  <a:schemeClr val="tx1">
                    <a:lumMod val="65000"/>
                    <a:lumOff val="35000"/>
                  </a:schemeClr>
                </a:solidFill>
              </a:defRPr>
            </a:lvl1pPr>
          </a:lstStyle>
          <a:p>
            <a:r>
              <a:rPr lang="zh-TW" altLang="en-US"/>
              <a:t>按一下以編輯母片標題樣式</a:t>
            </a:r>
            <a:endParaRPr lang="en-US" dirty="0"/>
          </a:p>
        </p:txBody>
      </p:sp>
      <p:sp>
        <p:nvSpPr>
          <p:cNvPr id="3" name="Text Placeholder 2"/>
          <p:cNvSpPr>
            <a:spLocks noGrp="1"/>
          </p:cNvSpPr>
          <p:nvPr>
            <p:ph type="body" idx="1"/>
          </p:nvPr>
        </p:nvSpPr>
        <p:spPr>
          <a:xfrm>
            <a:off x="3886200" y="4672584"/>
            <a:ext cx="7315200" cy="914400"/>
          </a:xfr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4" name="Date Placeholder 3"/>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6781750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Content Placeholder 2"/>
          <p:cNvSpPr>
            <a:spLocks noGrp="1"/>
          </p:cNvSpPr>
          <p:nvPr>
            <p:ph sz="half" idx="1"/>
          </p:nvPr>
        </p:nvSpPr>
        <p:spPr>
          <a:xfrm>
            <a:off x="3867912"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Content Placeholder 3"/>
          <p:cNvSpPr>
            <a:spLocks noGrp="1"/>
          </p:cNvSpPr>
          <p:nvPr>
            <p:ph sz="half" idx="2"/>
          </p:nvPr>
        </p:nvSpPr>
        <p:spPr>
          <a:xfrm>
            <a:off x="7818120" y="868680"/>
            <a:ext cx="347472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8" name="Date Placeholder 7"/>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9" name="Footer Placeholder 8"/>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103131128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zh-TW" altLang="en-US"/>
              <a:t>按一下以編輯母片標題樣式</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5" name="Text Placeholder 4"/>
          <p:cNvSpPr>
            <a:spLocks noGrp="1"/>
          </p:cNvSpPr>
          <p:nvPr>
            <p:ph type="body" sz="quarter" idx="3"/>
          </p:nvPr>
        </p:nvSpPr>
        <p:spPr>
          <a:xfrm>
            <a:off x="7818463" y="1023586"/>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2" name="Date Placeholder 1"/>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11" name="Footer Placeholder 10"/>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12" name="Slide Number Placeholder 11"/>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19286590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zh-TW" altLang="en-US"/>
              <a:t>按一下以編輯母片標題樣式</a:t>
            </a:r>
            <a:endParaRPr lang="en-US" dirty="0"/>
          </a:p>
        </p:txBody>
      </p:sp>
      <p:sp>
        <p:nvSpPr>
          <p:cNvPr id="2" name="Date Placeholder 1"/>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7" name="Footer Placeholder 6"/>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8" name="Slide Number Placeholder 7"/>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302683002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6" name="Footer Placeholder 5"/>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7" name="Slide Number Placeholder 6"/>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184075121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zh-TW" altLang="en-US"/>
              <a:t>按一下以編輯母片標題樣式</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8" name="Date Placeholder 7"/>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9" name="Footer Placeholder 8"/>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1442834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zh-TW" altLang="en-US"/>
              <a:t>按一下以編輯母片標題樣式</a:t>
            </a:r>
            <a:endParaRPr lang="en-US" dirty="0"/>
          </a:p>
        </p:txBody>
      </p:sp>
      <p:sp>
        <p:nvSpPr>
          <p:cNvPr id="3" name="Picture Placeholder 2"/>
          <p:cNvSpPr>
            <a:spLocks noGrp="1" noChangeAspect="1"/>
          </p:cNvSpPr>
          <p:nvPr>
            <p:ph type="pic" idx="1"/>
          </p:nvPr>
        </p:nvSpPr>
        <p:spPr>
          <a:xfrm>
            <a:off x="3570644" y="767419"/>
            <a:ext cx="8115230"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8" name="Date Placeholder 7"/>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9" name="Footer Placeholder 8"/>
          <p:cNvSpPr>
            <a:spLocks noGrp="1"/>
          </p:cNvSpPr>
          <p:nvPr>
            <p:ph type="ftr" sz="quarter" idx="11"/>
          </p:nvPr>
        </p:nvSpPr>
        <p:spPr>
          <a:xfrm>
            <a:off x="3499101" y="6356350"/>
            <a:ext cx="5911517" cy="365125"/>
          </a:xfrm>
        </p:spPr>
        <p:txBody>
          <a:bodyPr/>
          <a:lstStyle/>
          <a:p>
            <a:endParaRPr lang="en-US" dirty="0">
              <a:solidFill>
                <a:srgbClr val="000000">
                  <a:lumMod val="50000"/>
                  <a:lumOff val="50000"/>
                </a:srgbClr>
              </a:solidFill>
            </a:endParaRPr>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5462117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zh-TW" altLang="en-US"/>
              <a:t>按一下以編輯母片標題樣式</a:t>
            </a:r>
            <a:endParaRPr lang="en-US" dirty="0"/>
          </a:p>
        </p:txBody>
      </p:sp>
      <p:sp>
        <p:nvSpPr>
          <p:cNvPr id="3" name="Text Placeholder 2"/>
          <p:cNvSpPr>
            <a:spLocks noGrp="1"/>
          </p:cNvSpPr>
          <p:nvPr>
            <p:ph type="body" idx="1"/>
          </p:nvPr>
        </p:nvSpPr>
        <p:spPr>
          <a:xfrm>
            <a:off x="3867912" y="1023586"/>
            <a:ext cx="3474720" cy="807720"/>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Content Placeholder 3"/>
          <p:cNvSpPr>
            <a:spLocks noGrp="1"/>
          </p:cNvSpPr>
          <p:nvPr>
            <p:ph sz="half" idx="2"/>
          </p:nvPr>
        </p:nvSpPr>
        <p:spPr>
          <a:xfrm>
            <a:off x="3867912"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5" name="Text Placeholder 4"/>
          <p:cNvSpPr>
            <a:spLocks noGrp="1"/>
          </p:cNvSpPr>
          <p:nvPr>
            <p:ph type="body" sz="quarter" idx="3"/>
          </p:nvPr>
        </p:nvSpPr>
        <p:spPr>
          <a:xfrm>
            <a:off x="7818463" y="1023590"/>
            <a:ext cx="3474720" cy="813171"/>
          </a:xfr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Content Placeholder 5"/>
          <p:cNvSpPr>
            <a:spLocks noGrp="1"/>
          </p:cNvSpPr>
          <p:nvPr>
            <p:ph sz="quarter" idx="4"/>
          </p:nvPr>
        </p:nvSpPr>
        <p:spPr>
          <a:xfrm>
            <a:off x="7818463" y="1930936"/>
            <a:ext cx="3474720" cy="402336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2" name="Date Placeholder 1"/>
          <p:cNvSpPr>
            <a:spLocks noGrp="1"/>
          </p:cNvSpPr>
          <p:nvPr>
            <p:ph type="dt" sz="half" idx="10"/>
          </p:nvPr>
        </p:nvSpPr>
        <p:spPr/>
        <p:txBody>
          <a:bodyPr/>
          <a:lstStyle/>
          <a:p>
            <a:fld id="{9BA3A13D-7ACC-4350-B368-5F9372CAD98C}" type="datetimeFigureOut">
              <a:rPr lang="zh-TW" altLang="en-US" smtClean="0"/>
              <a:pPr/>
              <a:t>2021/1/7</a:t>
            </a:fld>
            <a:endParaRPr lang="zh-TW" altLang="en-US"/>
          </a:p>
        </p:txBody>
      </p:sp>
      <p:sp>
        <p:nvSpPr>
          <p:cNvPr id="11" name="Footer Placeholder 10"/>
          <p:cNvSpPr>
            <a:spLocks noGrp="1"/>
          </p:cNvSpPr>
          <p:nvPr>
            <p:ph type="ftr" sz="quarter" idx="11"/>
          </p:nvPr>
        </p:nvSpPr>
        <p:spPr/>
        <p:txBody>
          <a:bodyPr/>
          <a:lstStyle/>
          <a:p>
            <a:endParaRPr lang="zh-TW" altLang="en-US"/>
          </a:p>
        </p:txBody>
      </p:sp>
      <p:sp>
        <p:nvSpPr>
          <p:cNvPr id="12" name="Slide Number Placeholder 11"/>
          <p:cNvSpPr>
            <a:spLocks noGrp="1"/>
          </p:cNvSpPr>
          <p:nvPr>
            <p:ph type="sldNum" sz="quarter" idx="12"/>
          </p:nvPr>
        </p:nvSpPr>
        <p:spPr/>
        <p:txBody>
          <a:body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384385176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Vertical Text Placeholder 2"/>
          <p:cNvSpPr>
            <a:spLocks noGrp="1"/>
          </p:cNvSpPr>
          <p:nvPr>
            <p:ph type="body" orient="vert" idx="1"/>
          </p:nvPr>
        </p:nvSpPr>
        <p:spPr/>
        <p:txBody>
          <a:bodyPr vert="eaVert" ancho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7" name="Date Placeholder 6"/>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8" name="Footer Placeholder 7"/>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9" name="Slide Number Placeholder 8"/>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19978209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p:spPr>
        <p:txBody>
          <a:bodyPr vert="eaVert"/>
          <a:lstStyle/>
          <a:p>
            <a:r>
              <a:rPr lang="zh-TW" altLang="en-US"/>
              <a:t>按一下以編輯母片標題樣式</a:t>
            </a:r>
            <a:endParaRPr lang="en-US" dirty="0"/>
          </a:p>
        </p:txBody>
      </p:sp>
      <p:sp>
        <p:nvSpPr>
          <p:cNvPr id="3" name="Vertical Text Placeholder 2"/>
          <p:cNvSpPr>
            <a:spLocks noGrp="1"/>
          </p:cNvSpPr>
          <p:nvPr>
            <p:ph type="body" orient="vert" idx="1"/>
          </p:nvPr>
        </p:nvSpPr>
        <p:spPr>
          <a:xfrm>
            <a:off x="3867912" y="868680"/>
            <a:ext cx="7315200" cy="5120640"/>
          </a:xfrm>
        </p:spPr>
        <p:txBody>
          <a:bodyPr vert="eaVert" ancho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7" name="Date Placeholder 6"/>
          <p:cNvSpPr>
            <a:spLocks noGrp="1"/>
          </p:cNvSpPr>
          <p:nvPr>
            <p:ph type="dt" sz="half" idx="10"/>
          </p:nvPr>
        </p:nvSpPr>
        <p:spPr/>
        <p:txBody>
          <a:body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8" name="Footer Placeholder 7"/>
          <p:cNvSpPr>
            <a:spLocks noGrp="1"/>
          </p:cNvSpPr>
          <p:nvPr>
            <p:ph type="ftr" sz="quarter" idx="11"/>
          </p:nvPr>
        </p:nvSpPr>
        <p:spPr/>
        <p:txBody>
          <a:bodyPr/>
          <a:lstStyle/>
          <a:p>
            <a:endParaRPr lang="zh-TW" altLang="en-US">
              <a:solidFill>
                <a:srgbClr val="000000">
                  <a:lumMod val="50000"/>
                  <a:lumOff val="50000"/>
                </a:srgbClr>
              </a:solidFill>
            </a:endParaRPr>
          </a:p>
        </p:txBody>
      </p:sp>
      <p:sp>
        <p:nvSpPr>
          <p:cNvPr id="9" name="Slide Number Placeholder 8"/>
          <p:cNvSpPr>
            <a:spLocks noGrp="1"/>
          </p:cNvSpPr>
          <p:nvPr>
            <p:ph type="sldNum" sz="quarter" idx="12"/>
          </p:nvPr>
        </p:nvSpPr>
        <p:spPr/>
        <p:txBody>
          <a:body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57660271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Photo Grid with Captions">
    <p:bg>
      <p:bgRef idx="1001">
        <a:schemeClr val="bg1"/>
      </p:bgRef>
    </p:bg>
    <p:spTree>
      <p:nvGrpSpPr>
        <p:cNvPr id="1" name=""/>
        <p:cNvGrpSpPr/>
        <p:nvPr/>
      </p:nvGrpSpPr>
      <p:grpSpPr>
        <a:xfrm>
          <a:off x="0" y="0"/>
          <a:ext cx="0" cy="0"/>
          <a:chOff x="0" y="0"/>
          <a:chExt cx="0" cy="0"/>
        </a:xfrm>
      </p:grpSpPr>
      <p:sp>
        <p:nvSpPr>
          <p:cNvPr id="65" name="Rectangle 64"/>
          <p:cNvSpPr/>
          <p:nvPr userDrawn="1"/>
        </p:nvSpPr>
        <p:spPr>
          <a:xfrm>
            <a:off x="6197600" y="45582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6" name="Text Placeholder 25"/>
          <p:cNvSpPr>
            <a:spLocks noGrp="1"/>
          </p:cNvSpPr>
          <p:nvPr>
            <p:ph type="body" sz="quarter" idx="31" hasCustomPrompt="1"/>
          </p:nvPr>
        </p:nvSpPr>
        <p:spPr>
          <a:xfrm>
            <a:off x="6299200" y="47106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67" name="Text Placeholder 28"/>
          <p:cNvSpPr>
            <a:spLocks noGrp="1"/>
          </p:cNvSpPr>
          <p:nvPr>
            <p:ph type="body" sz="quarter" idx="32" hasCustomPrompt="1"/>
          </p:nvPr>
        </p:nvSpPr>
        <p:spPr>
          <a:xfrm>
            <a:off x="6299200" y="51678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33" name="Rectangle 32"/>
          <p:cNvSpPr/>
          <p:nvPr userDrawn="1"/>
        </p:nvSpPr>
        <p:spPr>
          <a:xfrm>
            <a:off x="6197600" y="2910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4" name="Text Placeholder 25"/>
          <p:cNvSpPr>
            <a:spLocks noGrp="1"/>
          </p:cNvSpPr>
          <p:nvPr>
            <p:ph type="body" sz="quarter" idx="19" hasCustomPrompt="1"/>
          </p:nvPr>
        </p:nvSpPr>
        <p:spPr>
          <a:xfrm>
            <a:off x="6299200" y="4434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35" name="Text Placeholder 28"/>
          <p:cNvSpPr>
            <a:spLocks noGrp="1"/>
          </p:cNvSpPr>
          <p:nvPr>
            <p:ph type="body" sz="quarter" idx="20" hasCustomPrompt="1"/>
          </p:nvPr>
        </p:nvSpPr>
        <p:spPr>
          <a:xfrm>
            <a:off x="6299200" y="9006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27" name="Rectangle 26"/>
          <p:cNvSpPr/>
          <p:nvPr userDrawn="1"/>
        </p:nvSpPr>
        <p:spPr>
          <a:xfrm>
            <a:off x="304800" y="2910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Picture Placeholder 11"/>
          <p:cNvSpPr>
            <a:spLocks noGrp="1"/>
          </p:cNvSpPr>
          <p:nvPr>
            <p:ph type="pic" sz="quarter" idx="13"/>
          </p:nvPr>
        </p:nvSpPr>
        <p:spPr>
          <a:xfrm>
            <a:off x="3251200" y="2910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24" name="Picture Placeholder 11"/>
          <p:cNvSpPr>
            <a:spLocks noGrp="1"/>
          </p:cNvSpPr>
          <p:nvPr>
            <p:ph type="pic" sz="quarter" idx="16"/>
          </p:nvPr>
        </p:nvSpPr>
        <p:spPr>
          <a:xfrm>
            <a:off x="9144000" y="2910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26" name="Text Placeholder 25"/>
          <p:cNvSpPr>
            <a:spLocks noGrp="1"/>
          </p:cNvSpPr>
          <p:nvPr>
            <p:ph type="body" sz="quarter" idx="17" hasCustomPrompt="1"/>
          </p:nvPr>
        </p:nvSpPr>
        <p:spPr>
          <a:xfrm>
            <a:off x="406400" y="4434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29" name="Text Placeholder 28"/>
          <p:cNvSpPr>
            <a:spLocks noGrp="1"/>
          </p:cNvSpPr>
          <p:nvPr>
            <p:ph type="body" sz="quarter" idx="18" hasCustomPrompt="1"/>
          </p:nvPr>
        </p:nvSpPr>
        <p:spPr>
          <a:xfrm>
            <a:off x="406400" y="9006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52" name="Rectangle 51"/>
          <p:cNvSpPr/>
          <p:nvPr userDrawn="1"/>
        </p:nvSpPr>
        <p:spPr>
          <a:xfrm>
            <a:off x="3254476" y="24246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3" name="Picture Placeholder 11"/>
          <p:cNvSpPr>
            <a:spLocks noGrp="1"/>
          </p:cNvSpPr>
          <p:nvPr>
            <p:ph type="pic" sz="quarter" idx="21"/>
          </p:nvPr>
        </p:nvSpPr>
        <p:spPr>
          <a:xfrm>
            <a:off x="304800"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54" name="Picture Placeholder 11"/>
          <p:cNvSpPr>
            <a:spLocks noGrp="1"/>
          </p:cNvSpPr>
          <p:nvPr>
            <p:ph type="pic" sz="quarter" idx="22"/>
          </p:nvPr>
        </p:nvSpPr>
        <p:spPr>
          <a:xfrm>
            <a:off x="6200876"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55" name="Text Placeholder 25"/>
          <p:cNvSpPr>
            <a:spLocks noGrp="1"/>
          </p:cNvSpPr>
          <p:nvPr>
            <p:ph type="body" sz="quarter" idx="23" hasCustomPrompt="1"/>
          </p:nvPr>
        </p:nvSpPr>
        <p:spPr>
          <a:xfrm>
            <a:off x="3356076" y="25770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56" name="Text Placeholder 28"/>
          <p:cNvSpPr>
            <a:spLocks noGrp="1"/>
          </p:cNvSpPr>
          <p:nvPr>
            <p:ph type="body" sz="quarter" idx="24" hasCustomPrompt="1"/>
          </p:nvPr>
        </p:nvSpPr>
        <p:spPr>
          <a:xfrm>
            <a:off x="3356076" y="30342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left</a:t>
            </a:r>
          </a:p>
        </p:txBody>
      </p:sp>
      <p:sp>
        <p:nvSpPr>
          <p:cNvPr id="57" name="Rectangle 56"/>
          <p:cNvSpPr/>
          <p:nvPr userDrawn="1"/>
        </p:nvSpPr>
        <p:spPr>
          <a:xfrm>
            <a:off x="9147276" y="24246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8" name="Text Placeholder 25"/>
          <p:cNvSpPr>
            <a:spLocks noGrp="1"/>
          </p:cNvSpPr>
          <p:nvPr>
            <p:ph type="body" sz="quarter" idx="25" hasCustomPrompt="1"/>
          </p:nvPr>
        </p:nvSpPr>
        <p:spPr>
          <a:xfrm>
            <a:off x="9248876" y="25770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59" name="Text Placeholder 28"/>
          <p:cNvSpPr>
            <a:spLocks noGrp="1"/>
          </p:cNvSpPr>
          <p:nvPr>
            <p:ph type="body" sz="quarter" idx="26" hasCustomPrompt="1"/>
          </p:nvPr>
        </p:nvSpPr>
        <p:spPr>
          <a:xfrm>
            <a:off x="9248876" y="30342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left</a:t>
            </a:r>
          </a:p>
        </p:txBody>
      </p:sp>
      <p:sp>
        <p:nvSpPr>
          <p:cNvPr id="60" name="Rectangle 59"/>
          <p:cNvSpPr/>
          <p:nvPr userDrawn="1"/>
        </p:nvSpPr>
        <p:spPr>
          <a:xfrm>
            <a:off x="304800" y="4558210"/>
            <a:ext cx="2743200" cy="199499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1" name="Picture Placeholder 11"/>
          <p:cNvSpPr>
            <a:spLocks noGrp="1"/>
          </p:cNvSpPr>
          <p:nvPr>
            <p:ph type="pic" sz="quarter" idx="27"/>
          </p:nvPr>
        </p:nvSpPr>
        <p:spPr>
          <a:xfrm>
            <a:off x="3247923"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62" name="Picture Placeholder 11"/>
          <p:cNvSpPr>
            <a:spLocks noGrp="1"/>
          </p:cNvSpPr>
          <p:nvPr>
            <p:ph type="pic" sz="quarter" idx="28"/>
          </p:nvPr>
        </p:nvSpPr>
        <p:spPr>
          <a:xfrm>
            <a:off x="9140723"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63" name="Text Placeholder 25"/>
          <p:cNvSpPr>
            <a:spLocks noGrp="1"/>
          </p:cNvSpPr>
          <p:nvPr>
            <p:ph type="body" sz="quarter" idx="29" hasCustomPrompt="1"/>
          </p:nvPr>
        </p:nvSpPr>
        <p:spPr>
          <a:xfrm>
            <a:off x="406400" y="4710611"/>
            <a:ext cx="2540000" cy="366889"/>
          </a:xfrm>
        </p:spPr>
        <p:txBody>
          <a:bodyPr>
            <a:normAutofit/>
          </a:bodyPr>
          <a:lstStyle>
            <a:lvl1pPr algn="l">
              <a:buNone/>
              <a:defRPr sz="1600" b="1" baseline="0">
                <a:solidFill>
                  <a:srgbClr val="FC7500"/>
                </a:solidFill>
              </a:defRPr>
            </a:lvl1pPr>
          </a:lstStyle>
          <a:p>
            <a:pPr lvl="0"/>
            <a:r>
              <a:rPr lang="en-US" dirty="0"/>
              <a:t>CLICK TO ADD TITLE</a:t>
            </a:r>
          </a:p>
        </p:txBody>
      </p:sp>
      <p:sp>
        <p:nvSpPr>
          <p:cNvPr id="64" name="Text Placeholder 28"/>
          <p:cNvSpPr>
            <a:spLocks noGrp="1"/>
          </p:cNvSpPr>
          <p:nvPr>
            <p:ph type="body" sz="quarter" idx="30" hasCustomPrompt="1"/>
          </p:nvPr>
        </p:nvSpPr>
        <p:spPr>
          <a:xfrm>
            <a:off x="406400" y="51678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28" name="Date Placeholder 6"/>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30" name="Footer Placeholder 7"/>
          <p:cNvSpPr>
            <a:spLocks noGrp="1"/>
          </p:cNvSpPr>
          <p:nvPr>
            <p:ph type="ftr" sz="quarter" idx="11"/>
          </p:nvPr>
        </p:nvSpPr>
        <p:spPr>
          <a:xfrm>
            <a:off x="4165600" y="6553200"/>
            <a:ext cx="3860800" cy="304800"/>
          </a:xfrm>
        </p:spPr>
        <p:txBody>
          <a:bodyPr/>
          <a:lstStyle/>
          <a:p>
            <a:endParaRPr lang="en-US">
              <a:solidFill>
                <a:prstClr val="black">
                  <a:tint val="75000"/>
                </a:prstClr>
              </a:solidFill>
            </a:endParaRPr>
          </a:p>
        </p:txBody>
      </p:sp>
      <p:sp>
        <p:nvSpPr>
          <p:cNvPr id="31" name="Slide Number Placeholder 8"/>
          <p:cNvSpPr>
            <a:spLocks noGrp="1"/>
          </p:cNvSpPr>
          <p:nvPr>
            <p:ph type="sldNum" sz="quarter" idx="12"/>
          </p:nvPr>
        </p:nvSpPr>
        <p:spPr>
          <a:xfrm>
            <a:off x="8737600" y="6553200"/>
            <a:ext cx="28448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7433430"/>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Album Cover">
    <p:spTree>
      <p:nvGrpSpPr>
        <p:cNvPr id="1" name=""/>
        <p:cNvGrpSpPr/>
        <p:nvPr/>
      </p:nvGrpSpPr>
      <p:grpSpPr>
        <a:xfrm>
          <a:off x="0" y="0"/>
          <a:ext cx="0" cy="0"/>
          <a:chOff x="0" y="0"/>
          <a:chExt cx="0" cy="0"/>
        </a:xfrm>
      </p:grpSpPr>
      <p:pic>
        <p:nvPicPr>
          <p:cNvPr id="6" name="Picture Placeholder 3"/>
          <p:cNvPicPr>
            <a:picLocks noChangeAspect="1"/>
          </p:cNvPicPr>
          <p:nvPr userDrawn="1"/>
        </p:nvPicPr>
        <p:blipFill>
          <a:blip r:embed="rId2" cstate="email">
            <a:extLst>
              <a:ext uri="{28A0092B-C50C-407E-A947-70E740481C1C}">
                <a14:useLocalDpi xmlns:a14="http://schemas.microsoft.com/office/drawing/2010/main"/>
              </a:ext>
            </a:extLst>
          </a:blip>
          <a:srcRect/>
          <a:stretch>
            <a:fillRect/>
          </a:stretch>
        </p:blipFill>
        <p:spPr>
          <a:xfrm>
            <a:off x="0" y="0"/>
            <a:ext cx="11277600" cy="6858000"/>
          </a:xfrm>
          <a:prstGeom prst="rect">
            <a:avLst/>
          </a:prstGeom>
        </p:spPr>
      </p:pic>
      <p:sp>
        <p:nvSpPr>
          <p:cNvPr id="11" name="Text Placeholder 10"/>
          <p:cNvSpPr>
            <a:spLocks noGrp="1"/>
          </p:cNvSpPr>
          <p:nvPr>
            <p:ph type="body" sz="quarter" idx="14" hasCustomPrompt="1"/>
          </p:nvPr>
        </p:nvSpPr>
        <p:spPr>
          <a:xfrm>
            <a:off x="3934609" y="1191151"/>
            <a:ext cx="6583680" cy="983431"/>
          </a:xfrm>
          <a:solidFill>
            <a:schemeClr val="tx1">
              <a:lumMod val="95000"/>
              <a:lumOff val="5000"/>
              <a:alpha val="64000"/>
            </a:schemeClr>
          </a:solidFill>
          <a:ln w="38100" cmpd="dbl">
            <a:noFill/>
          </a:ln>
        </p:spPr>
        <p:txBody>
          <a:bodyPr tIns="137160" anchor="ctr" anchorCtr="0">
            <a:normAutofit/>
          </a:bodyPr>
          <a:lstStyle>
            <a:lvl1pPr algn="ctr">
              <a:buNone/>
              <a:defRPr sz="3200" b="1" baseline="0">
                <a:solidFill>
                  <a:schemeClr val="bg1"/>
                </a:solidFill>
              </a:defRPr>
            </a:lvl1pPr>
          </a:lstStyle>
          <a:p>
            <a:pPr lvl="0"/>
            <a:r>
              <a:rPr lang="en-US" dirty="0"/>
              <a:t>Click to add Master title</a:t>
            </a:r>
          </a:p>
        </p:txBody>
      </p:sp>
      <p:sp>
        <p:nvSpPr>
          <p:cNvPr id="7" name="Rectangle 6"/>
          <p:cNvSpPr/>
          <p:nvPr userDrawn="1"/>
        </p:nvSpPr>
        <p:spPr>
          <a:xfrm>
            <a:off x="3875964" y="1143000"/>
            <a:ext cx="6705600" cy="1066800"/>
          </a:xfrm>
          <a:prstGeom prst="rect">
            <a:avLst/>
          </a:prstGeom>
          <a:noFill/>
          <a:ln w="38100">
            <a:solidFill>
              <a:schemeClr val="tx1">
                <a:lumMod val="95000"/>
                <a:lumOff val="5000"/>
                <a:alpha val="5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18663429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9" presetClass="entr" presetSubtype="0" fill="hold" nodeType="afterEffect">
                                  <p:stCondLst>
                                    <p:cond delay="300"/>
                                  </p:stCondLst>
                                  <p:childTnLst>
                                    <p:set>
                                      <p:cBhvr>
                                        <p:cTn id="6" dur="1" fill="hold">
                                          <p:stCondLst>
                                            <p:cond delay="0"/>
                                          </p:stCondLst>
                                        </p:cTn>
                                        <p:tgtEl>
                                          <p:spTgt spid="6"/>
                                        </p:tgtEl>
                                        <p:attrNameLst>
                                          <p:attrName>style.visibility</p:attrName>
                                        </p:attrNameLst>
                                      </p:cBhvr>
                                      <p:to>
                                        <p:strVal val="visible"/>
                                      </p:to>
                                    </p:set>
                                    <p:animEffect transition="in" filter="dissolve">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Album Section ">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2" name="Title 1"/>
          <p:cNvSpPr>
            <a:spLocks noGrp="1"/>
          </p:cNvSpPr>
          <p:nvPr>
            <p:ph type="title"/>
          </p:nvPr>
        </p:nvSpPr>
        <p:spPr>
          <a:xfrm>
            <a:off x="812800" y="4646840"/>
            <a:ext cx="10363200" cy="1362075"/>
          </a:xfrm>
        </p:spPr>
        <p:txBody>
          <a:bodyPr anchor="t"/>
          <a:lstStyle>
            <a:lvl1pPr algn="l">
              <a:defRPr sz="4000" b="1" cap="all">
                <a:solidFill>
                  <a:schemeClr val="tx1">
                    <a:lumMod val="85000"/>
                    <a:lumOff val="15000"/>
                  </a:schemeClr>
                </a:solidFill>
              </a:defRPr>
            </a:lvl1pPr>
          </a:lstStyle>
          <a:p>
            <a:r>
              <a:rPr lang="zh-TW" altLang="en-US"/>
              <a:t>按一下以編輯母片標題樣式</a:t>
            </a:r>
            <a:endParaRPr lang="en-US" dirty="0"/>
          </a:p>
        </p:txBody>
      </p:sp>
      <p:sp>
        <p:nvSpPr>
          <p:cNvPr id="3" name="Text Placeholder 2"/>
          <p:cNvSpPr>
            <a:spLocks noGrp="1"/>
          </p:cNvSpPr>
          <p:nvPr>
            <p:ph type="body" idx="1"/>
          </p:nvPr>
        </p:nvSpPr>
        <p:spPr>
          <a:xfrm>
            <a:off x="812800" y="314665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9"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0"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1"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852215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lbum Section with 3 Portrait">
    <p:bg>
      <p:bgPr>
        <a:solidFill>
          <a:schemeClr val="bg1">
            <a:lumMod val="95000"/>
          </a:schemeClr>
        </a:solidFill>
        <a:effectLst/>
      </p:bgPr>
    </p:bg>
    <p:spTree>
      <p:nvGrpSpPr>
        <p:cNvPr id="1" name=""/>
        <p:cNvGrpSpPr/>
        <p:nvPr/>
      </p:nvGrpSpPr>
      <p:grpSpPr>
        <a:xfrm>
          <a:off x="0" y="0"/>
          <a:ext cx="0" cy="0"/>
          <a:chOff x="0" y="0"/>
          <a:chExt cx="0" cy="0"/>
        </a:xfrm>
      </p:grpSpPr>
      <p:sp>
        <p:nvSpPr>
          <p:cNvPr id="8" name="Rectangle 2"/>
          <p:cNvSpPr>
            <a:spLocks noGrp="1"/>
          </p:cNvSpPr>
          <p:nvPr>
            <p:ph type="title" hasCustomPrompt="1"/>
          </p:nvPr>
        </p:nvSpPr>
        <p:spPr>
          <a:xfrm>
            <a:off x="609600" y="3390900"/>
            <a:ext cx="10375640" cy="990600"/>
          </a:xfrm>
        </p:spPr>
        <p:txBody>
          <a:bodyPr vert="horz" bIns="0" anchor="b" anchorCtr="0">
            <a:normAutofit/>
          </a:bodyPr>
          <a:lstStyle>
            <a:lvl1pPr>
              <a:defRPr sz="4400" b="1" baseline="0">
                <a:solidFill>
                  <a:srgbClr val="FC7500"/>
                </a:solidFill>
              </a:defRPr>
            </a:lvl1pPr>
            <a:extLst/>
          </a:lstStyle>
          <a:p>
            <a:r>
              <a:rPr lang="en-US" dirty="0"/>
              <a:t>Click to add section title</a:t>
            </a:r>
          </a:p>
        </p:txBody>
      </p:sp>
      <p:sp>
        <p:nvSpPr>
          <p:cNvPr id="9" name="Rectangle 11"/>
          <p:cNvSpPr>
            <a:spLocks noGrp="1"/>
          </p:cNvSpPr>
          <p:nvPr>
            <p:ph type="body" sz="quarter" idx="14" hasCustomPrompt="1"/>
          </p:nvPr>
        </p:nvSpPr>
        <p:spPr>
          <a:xfrm>
            <a:off x="609600" y="4572000"/>
            <a:ext cx="10363200" cy="838200"/>
          </a:xfrm>
        </p:spPr>
        <p:txBody>
          <a:bodyPr vert="horz" tIns="0"/>
          <a:lstStyle>
            <a:lvl1pPr algn="ctr">
              <a:buFontTx/>
              <a:buNone/>
              <a:defRPr sz="1800">
                <a:solidFill>
                  <a:schemeClr val="tx1">
                    <a:lumMod val="75000"/>
                    <a:lumOff val="25000"/>
                  </a:schemeClr>
                </a:solidFill>
              </a:defRPr>
            </a:lvl1pPr>
            <a:extLst/>
          </a:lstStyle>
          <a:p>
            <a:pPr lvl="0"/>
            <a:r>
              <a:rPr lang="en-US" dirty="0"/>
              <a:t>Click to add subtitle</a:t>
            </a:r>
          </a:p>
        </p:txBody>
      </p:sp>
      <p:sp>
        <p:nvSpPr>
          <p:cNvPr id="10" name="Rectangle 6"/>
          <p:cNvSpPr>
            <a:spLocks noGrp="1"/>
          </p:cNvSpPr>
          <p:nvPr>
            <p:ph type="pic" sz="quarter" idx="11"/>
          </p:nvPr>
        </p:nvSpPr>
        <p:spPr>
          <a:xfrm>
            <a:off x="654491"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1" name="Rectangle 6"/>
          <p:cNvSpPr>
            <a:spLocks noGrp="1"/>
          </p:cNvSpPr>
          <p:nvPr>
            <p:ph type="pic" sz="quarter" idx="15"/>
          </p:nvPr>
        </p:nvSpPr>
        <p:spPr>
          <a:xfrm>
            <a:off x="4238845"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2" name="Rectangle 6"/>
          <p:cNvSpPr>
            <a:spLocks noGrp="1"/>
          </p:cNvSpPr>
          <p:nvPr>
            <p:ph type="pic" sz="quarter" idx="16"/>
          </p:nvPr>
        </p:nvSpPr>
        <p:spPr>
          <a:xfrm>
            <a:off x="7823200" y="807195"/>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algn="ctr">
              <a:buFontTx/>
              <a:buNone/>
            </a:pPr>
            <a:r>
              <a:rPr lang="zh-TW" altLang="en-US" sz="2000"/>
              <a:t>按一下圖示以新增圖片</a:t>
            </a:r>
            <a:endParaRPr lang="en-US" sz="2000" dirty="0"/>
          </a:p>
        </p:txBody>
      </p:sp>
      <p:sp>
        <p:nvSpPr>
          <p:cNvPr id="18"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9" name="Footer Placeholder 4"/>
          <p:cNvSpPr>
            <a:spLocks noGrp="1"/>
          </p:cNvSpPr>
          <p:nvPr>
            <p:ph type="ftr" sz="quarter" idx="17"/>
          </p:nvPr>
        </p:nvSpPr>
        <p:spPr>
          <a:xfrm>
            <a:off x="3962400" y="6553200"/>
            <a:ext cx="3860800" cy="304800"/>
          </a:xfrm>
        </p:spPr>
        <p:txBody>
          <a:bodyPr/>
          <a:lstStyle/>
          <a:p>
            <a:endParaRPr lang="en-US">
              <a:solidFill>
                <a:prstClr val="black">
                  <a:tint val="75000"/>
                </a:prstClr>
              </a:solidFill>
            </a:endParaRPr>
          </a:p>
        </p:txBody>
      </p:sp>
      <p:sp>
        <p:nvSpPr>
          <p:cNvPr id="20"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21" name="Rectangle 20"/>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22" name="Straight Connector 21"/>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10742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andscape with Transparent Caption">
    <p:spTree>
      <p:nvGrpSpPr>
        <p:cNvPr id="1" name=""/>
        <p:cNvGrpSpPr/>
        <p:nvPr/>
      </p:nvGrpSpPr>
      <p:grpSpPr>
        <a:xfrm>
          <a:off x="0" y="0"/>
          <a:ext cx="0" cy="0"/>
          <a:chOff x="0" y="0"/>
          <a:chExt cx="0" cy="0"/>
        </a:xfrm>
      </p:grpSpPr>
      <p:sp>
        <p:nvSpPr>
          <p:cNvPr id="6" name="Rectangle 9"/>
          <p:cNvSpPr>
            <a:spLocks noGrp="1" noChangeAspect="1"/>
          </p:cNvSpPr>
          <p:nvPr>
            <p:ph type="pic" sz="quarter" idx="14"/>
          </p:nvPr>
        </p:nvSpPr>
        <p:spPr>
          <a:xfrm>
            <a:off x="1524000" y="762000"/>
            <a:ext cx="8398933" cy="47244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9"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0"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1"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2" name="Rectangle 11"/>
          <p:cNvSpPr/>
          <p:nvPr userDrawn="1"/>
        </p:nvSpPr>
        <p:spPr>
          <a:xfrm>
            <a:off x="1560221" y="5669280"/>
            <a:ext cx="8396579" cy="731520"/>
          </a:xfrm>
          <a:prstGeom prst="rect">
            <a:avLst/>
          </a:prstGeom>
          <a:noFill/>
          <a:ln w="38100">
            <a:solidFill>
              <a:schemeClr val="tx1">
                <a:lumMod val="95000"/>
                <a:lumOff val="5000"/>
                <a:alpha val="54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Text Placeholder 14"/>
          <p:cNvSpPr>
            <a:spLocks noGrp="1"/>
          </p:cNvSpPr>
          <p:nvPr>
            <p:ph type="body" sz="quarter" idx="16" hasCustomPrompt="1"/>
          </p:nvPr>
        </p:nvSpPr>
        <p:spPr>
          <a:xfrm>
            <a:off x="1625599" y="5715001"/>
            <a:ext cx="8255591" cy="632637"/>
          </a:xfrm>
          <a:solidFill>
            <a:schemeClr val="tx1">
              <a:alpha val="35000"/>
            </a:schemeClr>
          </a:solidFill>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3000" b="1" kern="1200" dirty="0" smtClean="0">
                <a:solidFill>
                  <a:schemeClr val="tx1">
                    <a:lumMod val="85000"/>
                    <a:lumOff val="15000"/>
                  </a:schemeClr>
                </a:solidFill>
                <a:latin typeface="Arial" pitchFamily="34" charset="0"/>
                <a:ea typeface="+mn-ea"/>
                <a:cs typeface="Arial" pitchFamily="34" charset="0"/>
              </a:defRPr>
            </a:lvl1pPr>
          </a:lstStyle>
          <a:p>
            <a:pPr lvl="0"/>
            <a:r>
              <a:rPr lang="en-US" dirty="0"/>
              <a:t>Click to add title</a:t>
            </a:r>
          </a:p>
        </p:txBody>
      </p:sp>
    </p:spTree>
    <p:extLst>
      <p:ext uri="{BB962C8B-B14F-4D97-AF65-F5344CB8AC3E}">
        <p14:creationId xmlns:p14="http://schemas.microsoft.com/office/powerpoint/2010/main" val="11515531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andscape with Caption">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5"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9"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2" name="Rectangle 9"/>
          <p:cNvSpPr>
            <a:spLocks noGrp="1" noChangeAspect="1"/>
          </p:cNvSpPr>
          <p:nvPr>
            <p:ph type="pic" sz="quarter" idx="14"/>
          </p:nvPr>
        </p:nvSpPr>
        <p:spPr>
          <a:xfrm>
            <a:off x="1659467" y="304800"/>
            <a:ext cx="8398933" cy="4724400"/>
          </a:xfrm>
          <a:solidFill>
            <a:schemeClr val="bg1">
              <a:lumMod val="95000"/>
            </a:schemeClr>
          </a:solidFill>
          <a:ln w="38100" cap="sq" cmpd="sng" algn="ctr">
            <a:noFill/>
            <a:prstDash val="solid"/>
            <a:miter lim="800000"/>
          </a:ln>
          <a:effectLst/>
        </p:spPr>
        <p:style>
          <a:lnRef idx="3">
            <a:schemeClr val="lt1"/>
          </a:lnRef>
          <a:fillRef idx="1">
            <a:schemeClr val="accent1"/>
          </a:fillRef>
          <a:effectRef idx="1">
            <a:schemeClr val="accent1"/>
          </a:effectRef>
          <a:fontRef idx="minor">
            <a:schemeClr val="lt1"/>
          </a:fontRef>
        </p:style>
        <p:txBody>
          <a:bodyPr anchor="t"/>
          <a:lstStyle>
            <a:lvl1pPr marL="0" marR="0" indent="1588" algn="ctr" rtl="0" latinLnBrk="0">
              <a:spcBef>
                <a:spcPct val="20000"/>
              </a:spcBef>
              <a:buFontTx/>
              <a:buNone/>
              <a:defRPr lang="en-US" sz="2800" i="0" smtClean="0">
                <a:solidFill>
                  <a:schemeClr val="tx1">
                    <a:lumMod val="50000"/>
                    <a:lumOff val="50000"/>
                  </a:schemeClr>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14" name="Text Placeholder 13"/>
          <p:cNvSpPr>
            <a:spLocks noGrp="1"/>
          </p:cNvSpPr>
          <p:nvPr>
            <p:ph type="body" sz="quarter" idx="15" hasCustomPrompt="1"/>
          </p:nvPr>
        </p:nvSpPr>
        <p:spPr>
          <a:xfrm>
            <a:off x="609600" y="5181600"/>
            <a:ext cx="10464800" cy="457200"/>
          </a:xfrm>
        </p:spPr>
        <p:txBody>
          <a:bodyPr>
            <a:normAutofit/>
          </a:bodyPr>
          <a:lstStyle>
            <a:lvl1pPr>
              <a:buNone/>
              <a:defRPr sz="2400" b="1" baseline="0">
                <a:solidFill>
                  <a:srgbClr val="FC7500"/>
                </a:solidFill>
              </a:defRPr>
            </a:lvl1pPr>
          </a:lstStyle>
          <a:p>
            <a:pPr lvl="0"/>
            <a:r>
              <a:rPr lang="en-US" dirty="0"/>
              <a:t>Click to add title</a:t>
            </a:r>
          </a:p>
        </p:txBody>
      </p:sp>
      <p:sp>
        <p:nvSpPr>
          <p:cNvPr id="16" name="Text Placeholder 15"/>
          <p:cNvSpPr>
            <a:spLocks noGrp="1"/>
          </p:cNvSpPr>
          <p:nvPr>
            <p:ph type="body" sz="quarter" idx="16" hasCustomPrompt="1"/>
          </p:nvPr>
        </p:nvSpPr>
        <p:spPr>
          <a:xfrm>
            <a:off x="609600" y="5715000"/>
            <a:ext cx="10464800" cy="685800"/>
          </a:xfrm>
        </p:spPr>
        <p:txBody>
          <a:bodyPr>
            <a:noAutofit/>
          </a:bodyPr>
          <a:lstStyle>
            <a:lvl1pPr>
              <a:buNone/>
              <a:defRPr sz="1800" baseline="0">
                <a:solidFill>
                  <a:schemeClr val="tx1">
                    <a:lumMod val="75000"/>
                    <a:lumOff val="25000"/>
                  </a:schemeClr>
                </a:solidFill>
              </a:defRPr>
            </a:lvl1pPr>
          </a:lstStyle>
          <a:p>
            <a:pPr lvl="0"/>
            <a:r>
              <a:rPr lang="en-US" dirty="0"/>
              <a:t>Click to add text</a:t>
            </a:r>
          </a:p>
        </p:txBody>
      </p:sp>
    </p:spTree>
    <p:extLst>
      <p:ext uri="{BB962C8B-B14F-4D97-AF65-F5344CB8AC3E}">
        <p14:creationId xmlns:p14="http://schemas.microsoft.com/office/powerpoint/2010/main" val="3501780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Landscape">
    <p:bg>
      <p:bgPr>
        <a:solidFill>
          <a:schemeClr val="bg1">
            <a:lumMod val="95000"/>
          </a:schemeClr>
        </a:solidFill>
        <a:effectLst/>
      </p:bgPr>
    </p:bg>
    <p:spTree>
      <p:nvGrpSpPr>
        <p:cNvPr id="1" name=""/>
        <p:cNvGrpSpPr/>
        <p:nvPr/>
      </p:nvGrpSpPr>
      <p:grpSpPr>
        <a:xfrm>
          <a:off x="0" y="0"/>
          <a:ext cx="0" cy="0"/>
          <a:chOff x="0" y="0"/>
          <a:chExt cx="0" cy="0"/>
        </a:xfrm>
      </p:grpSpPr>
      <p:sp>
        <p:nvSpPr>
          <p:cNvPr id="7" name="Rectangle 6"/>
          <p:cNvSpPr/>
          <p:nvPr userDrawn="1"/>
        </p:nvSpPr>
        <p:spPr>
          <a:xfrm>
            <a:off x="636105" y="228600"/>
            <a:ext cx="10919792" cy="6172200"/>
          </a:xfrm>
          <a:prstGeom prst="rect">
            <a:avLst/>
          </a:prstGeom>
          <a:noFill/>
          <a:ln w="117475" cmpd="thinThick">
            <a:solidFill>
              <a:srgbClr val="FC75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6" name="Rectangle 9"/>
          <p:cNvSpPr>
            <a:spLocks noGrp="1" noChangeAspect="1"/>
          </p:cNvSpPr>
          <p:nvPr>
            <p:ph type="pic" sz="quarter" idx="13"/>
          </p:nvPr>
        </p:nvSpPr>
        <p:spPr>
          <a:xfrm>
            <a:off x="735993" y="299695"/>
            <a:ext cx="10720017" cy="6030010"/>
          </a:xfrm>
          <a:solidFill>
            <a:schemeClr val="bg1"/>
          </a:solidFill>
          <a:ln w="57150">
            <a:noFill/>
          </a:ln>
          <a:effectLst/>
        </p:spPr>
        <p:txBody>
          <a:bodyPr vert="horz" lIns="91440" tIns="45720" rIns="91440" bIns="45720" rtlCol="0">
            <a:normAutofit/>
          </a:bodyPr>
          <a:lstStyle>
            <a:lvl1pPr marL="0" marR="0" indent="1588" algn="ctr" defTabSz="914400" rtl="0" eaLnBrk="1" latinLnBrk="0" hangingPunct="1">
              <a:spcBef>
                <a:spcPct val="20000"/>
              </a:spcBef>
              <a:buClr>
                <a:srgbClr val="438086"/>
              </a:buClr>
              <a:buSzPct val="60000"/>
              <a:buFontTx/>
              <a:buNone/>
              <a:defRPr lang="en-US" sz="2400" i="0" kern="1200" dirty="0">
                <a:solidFill>
                  <a:srgbClr val="FC7500"/>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8"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9" name="Footer Placeholder 4"/>
          <p:cNvSpPr>
            <a:spLocks noGrp="1"/>
          </p:cNvSpPr>
          <p:nvPr>
            <p:ph type="ftr" sz="quarter" idx="11"/>
          </p:nvPr>
        </p:nvSpPr>
        <p:spPr>
          <a:xfrm>
            <a:off x="4165600" y="6553200"/>
            <a:ext cx="3860800" cy="304800"/>
          </a:xfrm>
        </p:spPr>
        <p:txBody>
          <a:bodyPr/>
          <a:lstStyle/>
          <a:p>
            <a:endParaRPr lang="en-US">
              <a:solidFill>
                <a:prstClr val="black">
                  <a:tint val="75000"/>
                </a:prstClr>
              </a:solidFill>
            </a:endParaRPr>
          </a:p>
        </p:txBody>
      </p:sp>
      <p:sp>
        <p:nvSpPr>
          <p:cNvPr id="10" name="Slide Number Placeholder 5"/>
          <p:cNvSpPr>
            <a:spLocks noGrp="1"/>
          </p:cNvSpPr>
          <p:nvPr>
            <p:ph type="sldNum" sz="quarter" idx="12"/>
          </p:nvPr>
        </p:nvSpPr>
        <p:spPr>
          <a:xfrm>
            <a:off x="8737600" y="6553200"/>
            <a:ext cx="28448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934655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Landscape with Title">
    <p:bg>
      <p:bgPr>
        <a:solidFill>
          <a:srgbClr val="91BED4"/>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3" name="Date Placeholder 2"/>
          <p:cNvSpPr>
            <a:spLocks noGrp="1"/>
          </p:cNvSpPr>
          <p:nvPr>
            <p:ph type="dt" sz="half" idx="10"/>
          </p:nvPr>
        </p:nvSpPr>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
        <p:nvSpPr>
          <p:cNvPr id="6" name="Rectangle 9"/>
          <p:cNvSpPr>
            <a:spLocks noGrp="1" noChangeAspect="1"/>
          </p:cNvSpPr>
          <p:nvPr>
            <p:ph type="pic" sz="quarter" idx="13"/>
          </p:nvPr>
        </p:nvSpPr>
        <p:spPr>
          <a:xfrm>
            <a:off x="711201" y="370790"/>
            <a:ext cx="10720017" cy="603001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Clr>
                <a:srgbClr val="438086"/>
              </a:buClr>
              <a:buSzPct val="60000"/>
              <a:buFontTx/>
              <a:buNone/>
              <a:defRPr lang="en-US" sz="2400" i="0" kern="1200" dirty="0">
                <a:solidFill>
                  <a:srgbClr val="FC7500"/>
                </a:solidFill>
                <a:latin typeface="+mn-lt"/>
                <a:ea typeface="+mn-ea"/>
                <a:cs typeface="+mn-cs"/>
              </a:defRPr>
            </a:lvl1pPr>
            <a:extLst/>
          </a:lstStyle>
          <a:p>
            <a:pPr marL="0" marR="0" indent="1588" algn="ctr" rtl="0" latinLnBrk="0">
              <a:spcBef>
                <a:spcPct val="20000"/>
              </a:spcBef>
              <a:buFontTx/>
              <a:buNone/>
            </a:pPr>
            <a:r>
              <a:rPr lang="zh-TW" altLang="en-US" sz="2400" i="0">
                <a:solidFill>
                  <a:schemeClr val="tx1"/>
                </a:solidFill>
                <a:latin typeface="+mn-lt"/>
                <a:ea typeface="+mn-ea"/>
                <a:cs typeface="+mn-cs"/>
              </a:rPr>
              <a:t>按一下圖示以新增圖片</a:t>
            </a:r>
            <a:endParaRPr lang="en-US" i="0" dirty="0"/>
          </a:p>
        </p:txBody>
      </p:sp>
      <p:sp>
        <p:nvSpPr>
          <p:cNvPr id="7" name="Text Placeholder 10"/>
          <p:cNvSpPr>
            <a:spLocks noGrp="1"/>
          </p:cNvSpPr>
          <p:nvPr>
            <p:ph type="body" sz="quarter" idx="14" hasCustomPrompt="1"/>
          </p:nvPr>
        </p:nvSpPr>
        <p:spPr>
          <a:xfrm>
            <a:off x="6807200" y="5257801"/>
            <a:ext cx="5384800" cy="505047"/>
          </a:xfrm>
          <a:solidFill>
            <a:schemeClr val="tx1">
              <a:alpha val="46000"/>
            </a:schemeClr>
          </a:solidFill>
        </p:spPr>
        <p:txBody>
          <a:bodyPr>
            <a:normAutofit/>
          </a:bodyPr>
          <a:lstStyle>
            <a:lvl1pPr>
              <a:buNone/>
              <a:defRPr sz="2800" baseline="0">
                <a:solidFill>
                  <a:schemeClr val="bg1"/>
                </a:solidFill>
              </a:defRPr>
            </a:lvl1pPr>
          </a:lstStyle>
          <a:p>
            <a:pPr lvl="0"/>
            <a:r>
              <a:rPr lang="en-US" dirty="0"/>
              <a:t>Click to add Title</a:t>
            </a:r>
          </a:p>
        </p:txBody>
      </p:sp>
    </p:spTree>
    <p:extLst>
      <p:ext uri="{BB962C8B-B14F-4D97-AF65-F5344CB8AC3E}">
        <p14:creationId xmlns:p14="http://schemas.microsoft.com/office/powerpoint/2010/main" val="17822221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zh-TW" altLang="en-US"/>
              <a:t>按一下以編輯母片標題樣式</a:t>
            </a:r>
            <a:endParaRPr lang="en-US" dirty="0"/>
          </a:p>
        </p:txBody>
      </p:sp>
      <p:sp>
        <p:nvSpPr>
          <p:cNvPr id="2" name="Date Placeholder 1"/>
          <p:cNvSpPr>
            <a:spLocks noGrp="1"/>
          </p:cNvSpPr>
          <p:nvPr>
            <p:ph type="dt" sz="half" idx="10"/>
          </p:nvPr>
        </p:nvSpPr>
        <p:spPr/>
        <p:txBody>
          <a:bodyPr/>
          <a:lstStyle/>
          <a:p>
            <a:fld id="{9BA3A13D-7ACC-4350-B368-5F9372CAD98C}" type="datetimeFigureOut">
              <a:rPr lang="zh-TW" altLang="en-US" smtClean="0"/>
              <a:pPr/>
              <a:t>2021/1/7</a:t>
            </a:fld>
            <a:endParaRPr lang="zh-TW" altLang="en-US"/>
          </a:p>
        </p:txBody>
      </p:sp>
      <p:sp>
        <p:nvSpPr>
          <p:cNvPr id="7" name="Footer Placeholder 6"/>
          <p:cNvSpPr>
            <a:spLocks noGrp="1"/>
          </p:cNvSpPr>
          <p:nvPr>
            <p:ph type="ftr" sz="quarter" idx="11"/>
          </p:nvPr>
        </p:nvSpPr>
        <p:spPr/>
        <p:txBody>
          <a:bodyPr/>
          <a:lstStyle/>
          <a:p>
            <a:endParaRPr lang="zh-TW" altLang="en-US"/>
          </a:p>
        </p:txBody>
      </p:sp>
      <p:sp>
        <p:nvSpPr>
          <p:cNvPr id="8" name="Slide Number Placeholder 7"/>
          <p:cNvSpPr>
            <a:spLocks noGrp="1"/>
          </p:cNvSpPr>
          <p:nvPr>
            <p:ph type="sldNum" sz="quarter" idx="12"/>
          </p:nvPr>
        </p:nvSpPr>
        <p:spPr/>
        <p:txBody>
          <a:body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343524591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Up Portrait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8"/>
          <p:cNvSpPr>
            <a:spLocks noGrp="1" noChangeAspect="1"/>
          </p:cNvSpPr>
          <p:nvPr>
            <p:ph type="pic" sz="quarter" idx="13"/>
          </p:nvPr>
        </p:nvSpPr>
        <p:spPr>
          <a:xfrm>
            <a:off x="6016664" y="381001"/>
            <a:ext cx="4575137" cy="4575141"/>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7" name="Rectangle 8"/>
          <p:cNvSpPr>
            <a:spLocks noGrp="1" noChangeAspect="1"/>
          </p:cNvSpPr>
          <p:nvPr>
            <p:ph type="pic" sz="quarter" idx="14"/>
          </p:nvPr>
        </p:nvSpPr>
        <p:spPr>
          <a:xfrm>
            <a:off x="1143000" y="381000"/>
            <a:ext cx="4572000" cy="4572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8" name="Rectangle 7"/>
          <p:cNvSpPr>
            <a:spLocks noGrp="1"/>
          </p:cNvSpPr>
          <p:nvPr>
            <p:ph type="body" sz="quarter" idx="15" hasCustomPrompt="1"/>
          </p:nvPr>
        </p:nvSpPr>
        <p:spPr>
          <a:xfrm>
            <a:off x="1117600" y="5181600"/>
            <a:ext cx="4635501" cy="1066800"/>
          </a:xfrm>
        </p:spPr>
        <p:txBody>
          <a:bodyPr lIns="91440" rIns="9144" anchor="t" anchorCtr="0">
            <a:noAutofit/>
          </a:bodyPr>
          <a:lstStyle>
            <a:lvl1pPr marL="0" marR="0" indent="0" algn="ctr"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9" name="Rectangle 7"/>
          <p:cNvSpPr>
            <a:spLocks noGrp="1"/>
          </p:cNvSpPr>
          <p:nvPr>
            <p:ph type="body" sz="quarter" idx="16" hasCustomPrompt="1"/>
          </p:nvPr>
        </p:nvSpPr>
        <p:spPr>
          <a:xfrm>
            <a:off x="6007099" y="5181600"/>
            <a:ext cx="4635500" cy="1066800"/>
          </a:xfrm>
        </p:spPr>
        <p:txBody>
          <a:bodyPr lIns="91440" rIns="9144" anchor="t" anchorCtr="0">
            <a:noAutofit/>
          </a:bodyPr>
          <a:lstStyle>
            <a:lvl1pPr marL="0" marR="0" indent="0" algn="ctr"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2"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3"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4"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8649096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2-Up Landscape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noChangeAspect="1"/>
          </p:cNvSpPr>
          <p:nvPr>
            <p:ph type="pic" sz="quarter" idx="13"/>
          </p:nvPr>
        </p:nvSpPr>
        <p:spPr>
          <a:xfrm>
            <a:off x="6400800" y="914400"/>
            <a:ext cx="5283200" cy="29718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noChangeAspect="1"/>
          </p:cNvSpPr>
          <p:nvPr>
            <p:ph type="pic" sz="quarter" idx="14"/>
          </p:nvPr>
        </p:nvSpPr>
        <p:spPr>
          <a:xfrm>
            <a:off x="609600" y="914400"/>
            <a:ext cx="5283200" cy="29718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Rectangle 7"/>
          <p:cNvSpPr>
            <a:spLocks noGrp="1"/>
          </p:cNvSpPr>
          <p:nvPr>
            <p:ph type="body" sz="quarter" idx="16" hasCustomPrompt="1"/>
          </p:nvPr>
        </p:nvSpPr>
        <p:spPr>
          <a:xfrm>
            <a:off x="609600" y="4114801"/>
            <a:ext cx="5283200" cy="1214887"/>
          </a:xfrm>
        </p:spPr>
        <p:txBody>
          <a:bodyPr vert="horz" lIns="91440" tIns="45720" rIns="9144" bIns="45720" rtlCol="0" anchor="t" anchorCtr="0">
            <a:noAutofit/>
          </a:bodyPr>
          <a:lstStyle>
            <a:lvl1pPr marL="0" marR="0" indent="0" algn="ctr" rtl="0" latinLnBrk="0">
              <a:spcBef>
                <a:spcPct val="20000"/>
              </a:spcBef>
              <a:buFontTx/>
              <a:buNone/>
              <a:defRPr lang="en-US" sz="1800" kern="1200" baseline="0" dirty="0">
                <a:solidFill>
                  <a:schemeClr val="tx1">
                    <a:lumMod val="75000"/>
                    <a:lumOff val="25000"/>
                  </a:schemeClr>
                </a:solidFill>
                <a:latin typeface="+mn-lt"/>
                <a:ea typeface="+mn-ea"/>
                <a:cs typeface="+mn-cs"/>
              </a:defRPr>
            </a:lvl1pPr>
            <a:extLst/>
          </a:lstStyle>
          <a:p>
            <a:pPr marL="0" marR="0" lvl="0" indent="0" algn="l" defTabSz="914400" rtl="0" eaLnBrk="1" latinLnBrk="0" hangingPunct="1">
              <a:spcBef>
                <a:spcPct val="20000"/>
              </a:spcBef>
              <a:buFontTx/>
              <a:buNone/>
            </a:pPr>
            <a:r>
              <a:rPr lang="en-US" dirty="0"/>
              <a:t>Click to add caption</a:t>
            </a:r>
          </a:p>
        </p:txBody>
      </p:sp>
      <p:sp>
        <p:nvSpPr>
          <p:cNvPr id="9" name="Rectangle 7"/>
          <p:cNvSpPr>
            <a:spLocks noGrp="1"/>
          </p:cNvSpPr>
          <p:nvPr>
            <p:ph type="body" sz="quarter" idx="17" hasCustomPrompt="1"/>
          </p:nvPr>
        </p:nvSpPr>
        <p:spPr>
          <a:xfrm>
            <a:off x="6400799" y="4114801"/>
            <a:ext cx="5321300" cy="1214887"/>
          </a:xfrm>
        </p:spPr>
        <p:txBody>
          <a:bodyPr vert="horz" lIns="91440" tIns="45720" rIns="9144" bIns="45720" rtlCol="0" anchor="t" anchorCtr="0">
            <a:noAutofit/>
          </a:bodyPr>
          <a:lstStyle>
            <a:lvl1pPr marL="0" marR="0" indent="0" algn="ctr" rtl="0" latinLnBrk="0">
              <a:spcBef>
                <a:spcPct val="20000"/>
              </a:spcBef>
              <a:buFontTx/>
              <a:buNone/>
              <a:defRPr lang="en-US" sz="1800" kern="1200" baseline="0" dirty="0">
                <a:solidFill>
                  <a:schemeClr val="tx1">
                    <a:lumMod val="75000"/>
                    <a:lumOff val="25000"/>
                  </a:schemeClr>
                </a:solidFill>
                <a:latin typeface="+mn-lt"/>
                <a:ea typeface="+mn-ea"/>
                <a:cs typeface="+mn-cs"/>
              </a:defRPr>
            </a:lvl1pPr>
            <a:extLst/>
          </a:lstStyle>
          <a:p>
            <a:pPr marL="0" marR="0" lvl="0" indent="0" algn="l" defTabSz="914400" rtl="0" eaLnBrk="1" latinLnBrk="0" hangingPunct="1">
              <a:spcBef>
                <a:spcPct val="20000"/>
              </a:spcBef>
              <a:buFontTx/>
              <a:buNone/>
            </a:pPr>
            <a:r>
              <a:rPr lang="en-US" dirty="0"/>
              <a:t>Click to add caption</a:t>
            </a:r>
          </a:p>
        </p:txBody>
      </p:sp>
      <p:grpSp>
        <p:nvGrpSpPr>
          <p:cNvPr id="10" name="Group 9"/>
          <p:cNvGrpSpPr/>
          <p:nvPr userDrawn="1"/>
        </p:nvGrpSpPr>
        <p:grpSpPr>
          <a:xfrm rot="5400000">
            <a:off x="5801032" y="467032"/>
            <a:ext cx="589936" cy="12192000"/>
            <a:chOff x="8524568" y="0"/>
            <a:chExt cx="589936" cy="6858000"/>
          </a:xfrm>
        </p:grpSpPr>
        <p:sp>
          <p:nvSpPr>
            <p:cNvPr id="11" name="Rectangle 10"/>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2" name="Straight Connector 11"/>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3"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4"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5"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4477515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3-Up Snapshot">
    <p:spTree>
      <p:nvGrpSpPr>
        <p:cNvPr id="1" name=""/>
        <p:cNvGrpSpPr/>
        <p:nvPr/>
      </p:nvGrpSpPr>
      <p:grpSpPr>
        <a:xfrm>
          <a:off x="0" y="0"/>
          <a:ext cx="0" cy="0"/>
          <a:chOff x="0" y="0"/>
          <a:chExt cx="0" cy="0"/>
        </a:xfrm>
      </p:grpSpPr>
      <p:pic>
        <p:nvPicPr>
          <p:cNvPr id="13" name="Pictur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11" name="Rectangle 10"/>
          <p:cNvSpPr/>
          <p:nvPr userDrawn="1"/>
        </p:nvSpPr>
        <p:spPr>
          <a:xfrm rot="1223811">
            <a:off x="6130833" y="530555"/>
            <a:ext cx="3043255" cy="2467504"/>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2" name="Picture Placeholder 7"/>
          <p:cNvSpPr>
            <a:spLocks noGrp="1"/>
          </p:cNvSpPr>
          <p:nvPr>
            <p:ph type="pic" sz="quarter" idx="15"/>
          </p:nvPr>
        </p:nvSpPr>
        <p:spPr>
          <a:xfrm rot="1223811">
            <a:off x="6392112" y="657038"/>
            <a:ext cx="2714253" cy="1912315"/>
          </a:xfrm>
          <a:solidFill>
            <a:schemeClr val="tx1">
              <a:lumMod val="85000"/>
              <a:lumOff val="15000"/>
            </a:schemeClr>
          </a:solidFill>
        </p:spPr>
        <p:txBody>
          <a:bodyPr>
            <a:normAutofit/>
          </a:bodyPr>
          <a:lstStyle>
            <a:lvl1pPr algn="ctr">
              <a:buNone/>
              <a:defRPr sz="1600">
                <a:solidFill>
                  <a:schemeClr val="bg1"/>
                </a:solidFill>
              </a:defRPr>
            </a:lvl1pPr>
          </a:lstStyle>
          <a:p>
            <a:r>
              <a:rPr lang="zh-TW" altLang="en-US"/>
              <a:t>按一下圖示以新增圖片</a:t>
            </a:r>
            <a:endParaRPr lang="en-US" dirty="0"/>
          </a:p>
        </p:txBody>
      </p:sp>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20" name="Text Placeholder 13"/>
          <p:cNvSpPr>
            <a:spLocks noGrp="1"/>
          </p:cNvSpPr>
          <p:nvPr>
            <p:ph type="body" sz="quarter" idx="18" hasCustomPrompt="1"/>
          </p:nvPr>
        </p:nvSpPr>
        <p:spPr>
          <a:xfrm>
            <a:off x="609600" y="5943600"/>
            <a:ext cx="10938933" cy="457200"/>
          </a:xfrm>
        </p:spPr>
        <p:txBody>
          <a:bodyPr>
            <a:normAutofit/>
          </a:bodyPr>
          <a:lstStyle>
            <a:lvl1pPr>
              <a:buNone/>
              <a:defRPr sz="2400" b="1" baseline="0">
                <a:solidFill>
                  <a:schemeClr val="tx1">
                    <a:lumMod val="75000"/>
                    <a:lumOff val="25000"/>
                  </a:schemeClr>
                </a:solidFill>
              </a:defRPr>
            </a:lvl1pPr>
          </a:lstStyle>
          <a:p>
            <a:pPr lvl="0"/>
            <a:r>
              <a:rPr lang="en-US" dirty="0"/>
              <a:t>Click to add title</a:t>
            </a:r>
          </a:p>
        </p:txBody>
      </p:sp>
      <p:sp>
        <p:nvSpPr>
          <p:cNvPr id="6" name="Rectangle 5"/>
          <p:cNvSpPr/>
          <p:nvPr userDrawn="1"/>
        </p:nvSpPr>
        <p:spPr>
          <a:xfrm>
            <a:off x="711200" y="1172147"/>
            <a:ext cx="5080000" cy="4148667"/>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Picture Placeholder 7"/>
          <p:cNvSpPr>
            <a:spLocks noGrp="1"/>
          </p:cNvSpPr>
          <p:nvPr>
            <p:ph type="pic" sz="quarter" idx="13"/>
          </p:nvPr>
        </p:nvSpPr>
        <p:spPr>
          <a:xfrm>
            <a:off x="1040713" y="1439693"/>
            <a:ext cx="4462163" cy="3175000"/>
          </a:xfrm>
          <a:solidFill>
            <a:schemeClr val="tx1">
              <a:lumMod val="85000"/>
              <a:lumOff val="15000"/>
            </a:schemeClr>
          </a:solidFill>
        </p:spPr>
        <p:txBody>
          <a:bodyPr>
            <a:normAutofit/>
          </a:bodyPr>
          <a:lstStyle>
            <a:lvl1pPr algn="ctr">
              <a:buNone/>
              <a:defRPr sz="2200">
                <a:solidFill>
                  <a:schemeClr val="bg1"/>
                </a:solidFill>
              </a:defRPr>
            </a:lvl1pPr>
          </a:lstStyle>
          <a:p>
            <a:r>
              <a:rPr lang="zh-TW" altLang="en-US"/>
              <a:t>按一下圖示以新增圖片</a:t>
            </a:r>
            <a:endParaRPr lang="en-US" dirty="0"/>
          </a:p>
        </p:txBody>
      </p:sp>
      <p:sp>
        <p:nvSpPr>
          <p:cNvPr id="10" name="Text Placeholder 9"/>
          <p:cNvSpPr>
            <a:spLocks noGrp="1"/>
          </p:cNvSpPr>
          <p:nvPr>
            <p:ph type="body" sz="quarter" idx="14" hasCustomPrompt="1"/>
          </p:nvPr>
        </p:nvSpPr>
        <p:spPr>
          <a:xfrm>
            <a:off x="1041400" y="4754393"/>
            <a:ext cx="4445000" cy="317500"/>
          </a:xfrm>
        </p:spPr>
        <p:txBody>
          <a:bodyPr>
            <a:noAutofit/>
          </a:bodyPr>
          <a:lstStyle>
            <a:lvl1pPr algn="ctr">
              <a:buNone/>
              <a:defRPr sz="1600" baseline="0">
                <a:solidFill>
                  <a:schemeClr val="tx1">
                    <a:lumMod val="65000"/>
                    <a:lumOff val="35000"/>
                  </a:schemeClr>
                </a:solidFill>
              </a:defRPr>
            </a:lvl1pPr>
          </a:lstStyle>
          <a:p>
            <a:pPr lvl="0"/>
            <a:r>
              <a:rPr lang="en-US" dirty="0"/>
              <a:t>Click to add short caption</a:t>
            </a:r>
          </a:p>
        </p:txBody>
      </p:sp>
      <p:sp>
        <p:nvSpPr>
          <p:cNvPr id="17" name="Rectangle 16"/>
          <p:cNvSpPr/>
          <p:nvPr userDrawn="1"/>
        </p:nvSpPr>
        <p:spPr>
          <a:xfrm>
            <a:off x="7980811" y="2877172"/>
            <a:ext cx="3499989" cy="2837829"/>
          </a:xfrm>
          <a:prstGeom prst="rect">
            <a:avLst/>
          </a:prstGeom>
          <a:gradFill>
            <a:gsLst>
              <a:gs pos="0">
                <a:schemeClr val="bg1">
                  <a:lumMod val="95000"/>
                </a:schemeClr>
              </a:gs>
              <a:gs pos="36000">
                <a:schemeClr val="bg1"/>
              </a:gs>
            </a:gsLst>
            <a:lin ang="14400000" scaled="0"/>
          </a:gradFill>
          <a:ln w="9525">
            <a:solidFill>
              <a:schemeClr val="bg1">
                <a:lumMod val="85000"/>
              </a:schemeClr>
            </a:solidFill>
          </a:ln>
          <a:effectLst>
            <a:outerShdw blurRad="25400" dist="12700" dir="2700000" algn="t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8" name="Picture Placeholder 7"/>
          <p:cNvSpPr>
            <a:spLocks noGrp="1"/>
          </p:cNvSpPr>
          <p:nvPr>
            <p:ph type="pic" sz="quarter" idx="17"/>
          </p:nvPr>
        </p:nvSpPr>
        <p:spPr>
          <a:xfrm>
            <a:off x="8183251" y="3013976"/>
            <a:ext cx="3121612" cy="2199318"/>
          </a:xfrm>
          <a:solidFill>
            <a:schemeClr val="tx1">
              <a:lumMod val="85000"/>
              <a:lumOff val="15000"/>
            </a:schemeClr>
          </a:solidFill>
        </p:spPr>
        <p:txBody>
          <a:bodyPr>
            <a:normAutofit/>
          </a:bodyPr>
          <a:lstStyle>
            <a:lvl1pPr algn="ctr">
              <a:buNone/>
              <a:defRPr sz="1600">
                <a:solidFill>
                  <a:schemeClr val="bg1"/>
                </a:solidFill>
              </a:defRPr>
            </a:lvl1pPr>
          </a:lstStyle>
          <a:p>
            <a:r>
              <a:rPr lang="zh-TW" altLang="en-US"/>
              <a:t>按一下圖示以新增圖片</a:t>
            </a:r>
            <a:endParaRPr lang="en-US" dirty="0"/>
          </a:p>
        </p:txBody>
      </p:sp>
    </p:spTree>
    <p:extLst>
      <p:ext uri="{BB962C8B-B14F-4D97-AF65-F5344CB8AC3E}">
        <p14:creationId xmlns:p14="http://schemas.microsoft.com/office/powerpoint/2010/main" val="1556914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up)">
                                      <p:cBhvr>
                                        <p:cTn id="7" dur="1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3-Up Slide Film">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print"/>
          <a:stretch>
            <a:fillRect/>
          </a:stretch>
        </p:blipFill>
        <p:spPr>
          <a:xfrm>
            <a:off x="1320800" y="1371600"/>
            <a:ext cx="5369009" cy="4038600"/>
          </a:xfrm>
          <a:prstGeom prst="rect">
            <a:avLst/>
          </a:prstGeom>
        </p:spPr>
      </p:pic>
      <p:sp>
        <p:nvSpPr>
          <p:cNvPr id="13" name="Picture Placeholder 12"/>
          <p:cNvSpPr>
            <a:spLocks noGrp="1"/>
          </p:cNvSpPr>
          <p:nvPr>
            <p:ph type="pic" sz="quarter" idx="13"/>
          </p:nvPr>
        </p:nvSpPr>
        <p:spPr>
          <a:xfrm>
            <a:off x="2122999" y="2370152"/>
            <a:ext cx="3739763" cy="1788380"/>
          </a:xfrm>
          <a:solidFill>
            <a:schemeClr val="tx1">
              <a:lumMod val="85000"/>
              <a:lumOff val="15000"/>
            </a:schemeClr>
          </a:solidFill>
        </p:spPr>
        <p:txBody>
          <a:bodyPr>
            <a:normAutofit/>
          </a:bodyPr>
          <a:lstStyle>
            <a:lvl1pPr algn="ctr">
              <a:buNone/>
              <a:defRPr sz="1400" baseline="0">
                <a:solidFill>
                  <a:schemeClr val="bg1"/>
                </a:solidFill>
              </a:defRPr>
            </a:lvl1pPr>
          </a:lstStyle>
          <a:p>
            <a:r>
              <a:rPr lang="zh-TW" altLang="en-US"/>
              <a:t>按一下圖示以新增圖片</a:t>
            </a:r>
            <a:endParaRPr lang="en-US" dirty="0"/>
          </a:p>
        </p:txBody>
      </p:sp>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20235" y="685801"/>
            <a:ext cx="3342965" cy="2514599"/>
          </a:xfrm>
          <a:prstGeom prst="rect">
            <a:avLst/>
          </a:prstGeom>
        </p:spPr>
      </p:pic>
      <p:sp>
        <p:nvSpPr>
          <p:cNvPr id="15" name="Picture Placeholder 12"/>
          <p:cNvSpPr>
            <a:spLocks noGrp="1"/>
          </p:cNvSpPr>
          <p:nvPr>
            <p:ph type="pic" sz="quarter" idx="14"/>
          </p:nvPr>
        </p:nvSpPr>
        <p:spPr>
          <a:xfrm>
            <a:off x="7608632" y="1371601"/>
            <a:ext cx="2133600" cy="1002547"/>
          </a:xfrm>
          <a:solidFill>
            <a:schemeClr val="tx1">
              <a:lumMod val="85000"/>
              <a:lumOff val="15000"/>
            </a:schemeClr>
          </a:solidFill>
        </p:spPr>
        <p:txBody>
          <a:bodyPr>
            <a:normAutofit/>
          </a:bodyPr>
          <a:lstStyle>
            <a:lvl1pPr algn="ctr">
              <a:buNone/>
              <a:defRPr sz="1100" baseline="0">
                <a:solidFill>
                  <a:schemeClr val="bg1"/>
                </a:solidFill>
              </a:defRPr>
            </a:lvl1pPr>
          </a:lstStyle>
          <a:p>
            <a:r>
              <a:rPr lang="zh-TW" altLang="en-US"/>
              <a:t>按一下圖示以新增圖片</a:t>
            </a:r>
            <a:endParaRPr lang="en-US" dirty="0"/>
          </a:p>
        </p:txBody>
      </p:sp>
      <p:pic>
        <p:nvPicPr>
          <p:cNvPr id="16" name="Picture 1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020235" y="3429002"/>
            <a:ext cx="3342965" cy="2514599"/>
          </a:xfrm>
          <a:prstGeom prst="rect">
            <a:avLst/>
          </a:prstGeom>
        </p:spPr>
      </p:pic>
      <p:sp>
        <p:nvSpPr>
          <p:cNvPr id="17" name="Picture Placeholder 12"/>
          <p:cNvSpPr>
            <a:spLocks noGrp="1"/>
          </p:cNvSpPr>
          <p:nvPr>
            <p:ph type="pic" sz="quarter" idx="15"/>
          </p:nvPr>
        </p:nvSpPr>
        <p:spPr>
          <a:xfrm>
            <a:off x="7608632" y="4114801"/>
            <a:ext cx="2133600" cy="1002547"/>
          </a:xfrm>
          <a:solidFill>
            <a:schemeClr val="tx1">
              <a:lumMod val="85000"/>
              <a:lumOff val="15000"/>
            </a:schemeClr>
          </a:solidFill>
        </p:spPr>
        <p:txBody>
          <a:bodyPr>
            <a:normAutofit/>
          </a:bodyPr>
          <a:lstStyle>
            <a:lvl1pPr algn="ctr">
              <a:buNone/>
              <a:defRPr sz="1100" baseline="0">
                <a:solidFill>
                  <a:schemeClr val="bg1"/>
                </a:solidFill>
              </a:defRPr>
            </a:lvl1pPr>
          </a:lstStyle>
          <a:p>
            <a:r>
              <a:rPr lang="zh-TW" altLang="en-US"/>
              <a:t>按一下圖示以新增圖片</a:t>
            </a:r>
            <a:endParaRPr lang="en-US" dirty="0"/>
          </a:p>
        </p:txBody>
      </p:sp>
      <p:sp>
        <p:nvSpPr>
          <p:cNvPr id="23"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24"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25"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0606026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3-Up Portrait with Captions">
    <p:spTree>
      <p:nvGrpSpPr>
        <p:cNvPr id="1" name=""/>
        <p:cNvGrpSpPr/>
        <p:nvPr/>
      </p:nvGrpSpPr>
      <p:grpSpPr>
        <a:xfrm>
          <a:off x="0" y="0"/>
          <a:ext cx="0" cy="0"/>
          <a:chOff x="0" y="0"/>
          <a:chExt cx="0" cy="0"/>
        </a:xfrm>
      </p:grpSpPr>
      <p:sp>
        <p:nvSpPr>
          <p:cNvPr id="6" name="Rectangle 8"/>
          <p:cNvSpPr>
            <a:spLocks noGrp="1" noChangeAspect="1"/>
          </p:cNvSpPr>
          <p:nvPr>
            <p:ph type="pic" sz="quarter" idx="13"/>
          </p:nvPr>
        </p:nvSpPr>
        <p:spPr>
          <a:xfrm>
            <a:off x="3048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7" name="Rectangle 8"/>
          <p:cNvSpPr>
            <a:spLocks noGrp="1" noChangeAspect="1"/>
          </p:cNvSpPr>
          <p:nvPr>
            <p:ph type="pic" sz="quarter" idx="14"/>
          </p:nvPr>
        </p:nvSpPr>
        <p:spPr>
          <a:xfrm>
            <a:off x="42672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8" name="Rectangle 8"/>
          <p:cNvSpPr>
            <a:spLocks noGrp="1" noChangeAspect="1"/>
          </p:cNvSpPr>
          <p:nvPr>
            <p:ph type="pic" sz="quarter" idx="15"/>
          </p:nvPr>
        </p:nvSpPr>
        <p:spPr>
          <a:xfrm>
            <a:off x="8229600" y="533400"/>
            <a:ext cx="3657600" cy="36576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9" name="Rectangle 6"/>
          <p:cNvSpPr>
            <a:spLocks noGrp="1"/>
          </p:cNvSpPr>
          <p:nvPr>
            <p:ph type="body" sz="quarter" idx="16" hasCustomPrompt="1"/>
          </p:nvPr>
        </p:nvSpPr>
        <p:spPr>
          <a:xfrm>
            <a:off x="3048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0" name="Rectangle 6"/>
          <p:cNvSpPr>
            <a:spLocks noGrp="1"/>
          </p:cNvSpPr>
          <p:nvPr>
            <p:ph type="body" sz="quarter" idx="17" hasCustomPrompt="1"/>
          </p:nvPr>
        </p:nvSpPr>
        <p:spPr>
          <a:xfrm>
            <a:off x="42672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sp>
        <p:nvSpPr>
          <p:cNvPr id="11" name="Rectangle 6"/>
          <p:cNvSpPr>
            <a:spLocks noGrp="1"/>
          </p:cNvSpPr>
          <p:nvPr>
            <p:ph type="body" sz="quarter" idx="18" hasCustomPrompt="1"/>
          </p:nvPr>
        </p:nvSpPr>
        <p:spPr>
          <a:xfrm>
            <a:off x="8229600" y="4419600"/>
            <a:ext cx="3657600" cy="1447800"/>
          </a:xfrm>
        </p:spPr>
        <p:txBody>
          <a:bodyPr anchor="t" anchorCtr="0">
            <a:noAutofit/>
          </a:bodyPr>
          <a:lstStyle>
            <a:lvl1pPr marL="0" marR="0" indent="0" algn="l" rtl="0" latinLnBrk="0">
              <a:spcBef>
                <a:spcPct val="20000"/>
              </a:spcBef>
              <a:buFontTx/>
              <a:buNone/>
              <a:defRPr sz="1800" baseline="0">
                <a:solidFill>
                  <a:schemeClr val="tx1">
                    <a:lumMod val="75000"/>
                    <a:lumOff val="25000"/>
                  </a:schemeClr>
                </a:solidFill>
                <a:latin typeface="+mn-lt"/>
                <a:ea typeface="+mn-ea"/>
                <a:cs typeface="+mn-cs"/>
              </a:defRPr>
            </a:lvl1pPr>
            <a:extLst/>
          </a:lstStyle>
          <a:p>
            <a:pPr lvl="0"/>
            <a:r>
              <a:rPr lang="en-US" dirty="0"/>
              <a:t>Click to add caption</a:t>
            </a:r>
          </a:p>
        </p:txBody>
      </p:sp>
      <p:grpSp>
        <p:nvGrpSpPr>
          <p:cNvPr id="12" name="Group 11"/>
          <p:cNvGrpSpPr/>
          <p:nvPr userDrawn="1"/>
        </p:nvGrpSpPr>
        <p:grpSpPr>
          <a:xfrm rot="5400000">
            <a:off x="5801032" y="467032"/>
            <a:ext cx="589936" cy="12192000"/>
            <a:chOff x="8524568" y="0"/>
            <a:chExt cx="589936" cy="6858000"/>
          </a:xfrm>
        </p:grpSpPr>
        <p:sp>
          <p:nvSpPr>
            <p:cNvPr id="13" name="Rectangle 12"/>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4" name="Straight Connector 13"/>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5"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6"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7"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41438199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3-Up Landscape with Caption">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noChangeAspect="1"/>
          </p:cNvSpPr>
          <p:nvPr>
            <p:ph type="pic" sz="quarter" idx="13"/>
          </p:nvPr>
        </p:nvSpPr>
        <p:spPr>
          <a:xfrm>
            <a:off x="6322176" y="3480024"/>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7" name="Rectangle 7"/>
          <p:cNvSpPr>
            <a:spLocks noGrp="1" noChangeAspect="1"/>
          </p:cNvSpPr>
          <p:nvPr>
            <p:ph type="pic" sz="quarter" idx="14"/>
          </p:nvPr>
        </p:nvSpPr>
        <p:spPr>
          <a:xfrm>
            <a:off x="745068" y="3480024"/>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8" name="Picture Placeholder 7"/>
          <p:cNvSpPr>
            <a:spLocks noGrp="1" noChangeAspect="1"/>
          </p:cNvSpPr>
          <p:nvPr>
            <p:ph type="pic" sz="quarter" idx="15"/>
          </p:nvPr>
        </p:nvSpPr>
        <p:spPr>
          <a:xfrm>
            <a:off x="6322176" y="355824"/>
            <a:ext cx="5057025" cy="284457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marR="0" indent="-342900" algn="ctr" defTabSz="914400" rtl="0" eaLnBrk="1" latinLnBrk="0" hangingPunct="1">
              <a:spcBef>
                <a:spcPct val="20000"/>
              </a:spcBef>
              <a:buClr>
                <a:srgbClr val="438086"/>
              </a:buClr>
              <a:buSzPct val="60000"/>
              <a:buFontTx/>
              <a:buNone/>
              <a:defRPr lang="en-US" sz="2400" i="0" kern="1200" dirty="0">
                <a:solidFill>
                  <a:schemeClr val="tx1">
                    <a:lumMod val="65000"/>
                    <a:lumOff val="35000"/>
                  </a:schemeClr>
                </a:solidFill>
                <a:latin typeface="+mn-lt"/>
                <a:ea typeface="+mn-ea"/>
                <a:cs typeface="+mn-cs"/>
              </a:defRPr>
            </a:lvl1pPr>
            <a:extLst/>
          </a:lstStyle>
          <a:p>
            <a:pPr marL="342900" indent="-342900" algn="ctr" rtl="0" latinLnBrk="0">
              <a:spcBef>
                <a:spcPct val="20000"/>
              </a:spcBef>
              <a:buClr>
                <a:srgbClr val="438086"/>
              </a:buClr>
              <a:buSzPct val="60000"/>
              <a:buFontTx/>
              <a:buNone/>
            </a:pPr>
            <a:r>
              <a:rPr lang="zh-TW" altLang="en-US"/>
              <a:t>按一下圖示以新增圖片</a:t>
            </a:r>
            <a:endParaRPr lang="en-US" dirty="0"/>
          </a:p>
        </p:txBody>
      </p:sp>
      <p:sp>
        <p:nvSpPr>
          <p:cNvPr id="9" name="Rectangle 11"/>
          <p:cNvSpPr>
            <a:spLocks noGrp="1"/>
          </p:cNvSpPr>
          <p:nvPr>
            <p:ph type="body" sz="quarter" idx="16" hasCustomPrompt="1"/>
          </p:nvPr>
        </p:nvSpPr>
        <p:spPr>
          <a:xfrm>
            <a:off x="745068" y="355824"/>
            <a:ext cx="5057025" cy="2844577"/>
          </a:xfrm>
        </p:spPr>
        <p:txBody>
          <a:bodyPr anchor="b" anchorCtr="0">
            <a:noAutofit/>
          </a:bodyPr>
          <a:lstStyle>
            <a:lvl1pPr marL="0" marR="0" indent="0" algn="ctr" rtl="0" latinLnBrk="0">
              <a:spcBef>
                <a:spcPct val="20000"/>
              </a:spcBef>
              <a:buFontTx/>
              <a:buNone/>
              <a:defRPr sz="1800" b="1" i="0" baseline="0">
                <a:solidFill>
                  <a:schemeClr val="tx1">
                    <a:lumMod val="75000"/>
                    <a:lumOff val="25000"/>
                  </a:schemeClr>
                </a:solidFill>
                <a:latin typeface="+mn-lt"/>
                <a:ea typeface="+mn-ea"/>
                <a:cs typeface="+mn-cs"/>
              </a:defRPr>
            </a:lvl1pPr>
            <a:extLst/>
          </a:lstStyle>
          <a:p>
            <a:pPr lvl="0"/>
            <a:r>
              <a:rPr lang="en-US" dirty="0"/>
              <a:t>Click to add caption</a:t>
            </a:r>
          </a:p>
        </p:txBody>
      </p:sp>
    </p:spTree>
    <p:extLst>
      <p:ext uri="{BB962C8B-B14F-4D97-AF65-F5344CB8AC3E}">
        <p14:creationId xmlns:p14="http://schemas.microsoft.com/office/powerpoint/2010/main" val="1472114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up)">
                                      <p:cBhvr>
                                        <p:cTn id="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Panorama Mixed">
    <p:bg>
      <p:bgPr>
        <a:solidFill>
          <a:srgbClr val="F0F0F0"/>
        </a:solidFill>
        <a:effectLst/>
      </p:bgPr>
    </p:bg>
    <p:spTree>
      <p:nvGrpSpPr>
        <p:cNvPr id="1" name=""/>
        <p:cNvGrpSpPr/>
        <p:nvPr/>
      </p:nvGrpSpPr>
      <p:grpSpPr>
        <a:xfrm>
          <a:off x="0" y="0"/>
          <a:ext cx="0" cy="0"/>
          <a:chOff x="0" y="0"/>
          <a:chExt cx="0" cy="0"/>
        </a:xfrm>
      </p:grpSpPr>
      <p:pic>
        <p:nvPicPr>
          <p:cNvPr id="19" name="Picture 1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4" name="Date Placeholder 3"/>
          <p:cNvSpPr>
            <a:spLocks noGrp="1"/>
          </p:cNvSpPr>
          <p:nvPr>
            <p:ph type="dt" sz="half" idx="10"/>
          </p:nvPr>
        </p:nvSpPr>
        <p:spPr>
          <a:xfrm>
            <a:off x="8128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a:xfrm>
            <a:off x="85344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1" name="Picture Placeholder 10"/>
          <p:cNvSpPr>
            <a:spLocks noGrp="1"/>
          </p:cNvSpPr>
          <p:nvPr>
            <p:ph type="pic" sz="quarter" idx="13"/>
          </p:nvPr>
        </p:nvSpPr>
        <p:spPr>
          <a:xfrm>
            <a:off x="789856" y="592392"/>
            <a:ext cx="9855200" cy="2286000"/>
          </a:xfrm>
          <a:solidFill>
            <a:srgbClr val="F0F0F0"/>
          </a:solidFill>
          <a:ln w="57150">
            <a:solidFill>
              <a:schemeClr val="bg1"/>
            </a:solidFill>
          </a:ln>
          <a:effectLst>
            <a:outerShdw dist="38100" dir="2700000" algn="tl" rotWithShape="0">
              <a:prstClr val="black">
                <a:alpha val="17000"/>
              </a:prstClr>
            </a:outerShdw>
          </a:effectLst>
        </p:spPr>
        <p:txBody>
          <a:bodyPr>
            <a:normAutofit/>
          </a:bodyPr>
          <a:lstStyle>
            <a:lvl1pPr algn="ctr">
              <a:buNone/>
              <a:defRPr sz="2400">
                <a:solidFill>
                  <a:schemeClr val="tx1">
                    <a:lumMod val="65000"/>
                    <a:lumOff val="35000"/>
                  </a:schemeClr>
                </a:solidFill>
              </a:defRPr>
            </a:lvl1pPr>
          </a:lstStyle>
          <a:p>
            <a:r>
              <a:rPr lang="zh-TW" altLang="en-US"/>
              <a:t>按一下圖示以新增圖片</a:t>
            </a:r>
            <a:endParaRPr lang="en-US" dirty="0"/>
          </a:p>
        </p:txBody>
      </p:sp>
      <p:sp>
        <p:nvSpPr>
          <p:cNvPr id="13" name="Picture Placeholder 12"/>
          <p:cNvSpPr>
            <a:spLocks noGrp="1"/>
          </p:cNvSpPr>
          <p:nvPr>
            <p:ph type="pic" sz="quarter" idx="14"/>
          </p:nvPr>
        </p:nvSpPr>
        <p:spPr>
          <a:xfrm>
            <a:off x="812800" y="3352800"/>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1600" b="0" kern="1200" dirty="0" smtClean="0">
                <a:solidFill>
                  <a:schemeClr val="tx1">
                    <a:lumMod val="65000"/>
                    <a:lumOff val="35000"/>
                  </a:schemeClr>
                </a:solidFill>
                <a:latin typeface="+mn-lt"/>
                <a:ea typeface="+mn-ea"/>
                <a:cs typeface="+mn-cs"/>
              </a:defRPr>
            </a:lvl1pPr>
          </a:lstStyle>
          <a:p>
            <a:r>
              <a:rPr lang="zh-TW" altLang="en-US"/>
              <a:t>按一下圖示以新增圖片</a:t>
            </a:r>
            <a:endParaRPr lang="en-US" dirty="0"/>
          </a:p>
        </p:txBody>
      </p:sp>
      <p:sp>
        <p:nvSpPr>
          <p:cNvPr id="14" name="Picture Placeholder 12"/>
          <p:cNvSpPr>
            <a:spLocks noGrp="1"/>
          </p:cNvSpPr>
          <p:nvPr>
            <p:ph type="pic" sz="quarter" idx="15"/>
          </p:nvPr>
        </p:nvSpPr>
        <p:spPr>
          <a:xfrm>
            <a:off x="4368800" y="3352800"/>
            <a:ext cx="3048000" cy="22860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342900" indent="-342900" algn="ctr" defTabSz="914400" rtl="0" eaLnBrk="1" latinLnBrk="0" hangingPunct="1">
              <a:spcBef>
                <a:spcPct val="20000"/>
              </a:spcBef>
              <a:buFont typeface="Arial" pitchFamily="34" charset="0"/>
              <a:buNone/>
              <a:defRPr lang="en-US" sz="1600" b="0" kern="1200" dirty="0" smtClean="0">
                <a:solidFill>
                  <a:schemeClr val="tx1">
                    <a:lumMod val="65000"/>
                    <a:lumOff val="35000"/>
                  </a:schemeClr>
                </a:solidFill>
                <a:latin typeface="+mn-lt"/>
                <a:ea typeface="+mn-ea"/>
                <a:cs typeface="+mn-cs"/>
              </a:defRPr>
            </a:lvl1pPr>
          </a:lstStyle>
          <a:p>
            <a:r>
              <a:rPr lang="zh-TW" altLang="en-US"/>
              <a:t>按一下圖示以新增圖片</a:t>
            </a:r>
            <a:endParaRPr lang="en-US" dirty="0"/>
          </a:p>
        </p:txBody>
      </p:sp>
      <p:sp>
        <p:nvSpPr>
          <p:cNvPr id="16" name="Text Placeholder 15"/>
          <p:cNvSpPr>
            <a:spLocks noGrp="1"/>
          </p:cNvSpPr>
          <p:nvPr>
            <p:ph type="body" sz="quarter" idx="16" hasCustomPrompt="1"/>
          </p:nvPr>
        </p:nvSpPr>
        <p:spPr>
          <a:xfrm>
            <a:off x="7721600" y="3352800"/>
            <a:ext cx="3048000" cy="381000"/>
          </a:xfrm>
        </p:spPr>
        <p:txBody>
          <a:bodyPr>
            <a:normAutofit/>
          </a:bodyPr>
          <a:lstStyle>
            <a:lvl1pPr>
              <a:buNone/>
              <a:defRPr sz="1800" b="1" baseline="0">
                <a:solidFill>
                  <a:srgbClr val="FC7500"/>
                </a:solidFill>
              </a:defRPr>
            </a:lvl1pPr>
          </a:lstStyle>
          <a:p>
            <a:pPr lvl="0"/>
            <a:r>
              <a:rPr lang="en-US" dirty="0"/>
              <a:t>CLICK TO ADD TITLE</a:t>
            </a:r>
          </a:p>
        </p:txBody>
      </p:sp>
      <p:sp>
        <p:nvSpPr>
          <p:cNvPr id="18" name="Text Placeholder 17"/>
          <p:cNvSpPr>
            <a:spLocks noGrp="1"/>
          </p:cNvSpPr>
          <p:nvPr>
            <p:ph type="body" sz="quarter" idx="17" hasCustomPrompt="1"/>
          </p:nvPr>
        </p:nvSpPr>
        <p:spPr>
          <a:xfrm>
            <a:off x="7721600" y="3886200"/>
            <a:ext cx="3048000" cy="1752600"/>
          </a:xfrm>
        </p:spPr>
        <p:txBody>
          <a:bodyPr>
            <a:normAutofit/>
          </a:bodyPr>
          <a:lstStyle>
            <a:lvl1pPr>
              <a:buNone/>
              <a:defRPr sz="1800">
                <a:solidFill>
                  <a:schemeClr val="tx1">
                    <a:lumMod val="75000"/>
                    <a:lumOff val="25000"/>
                  </a:schemeClr>
                </a:solidFill>
              </a:defRPr>
            </a:lvl1pPr>
          </a:lstStyle>
          <a:p>
            <a:pPr lvl="0"/>
            <a:r>
              <a:rPr lang="en-US" dirty="0"/>
              <a:t>Click to add subtext</a:t>
            </a:r>
          </a:p>
        </p:txBody>
      </p:sp>
      <p:sp>
        <p:nvSpPr>
          <p:cNvPr id="12" name="Rectangle 11"/>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5" name="Straight Connector 14"/>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8192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wipe(up)">
                                      <p:cBhvr>
                                        <p:cTn id="7" dur="10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4-Up Portrait with Colored Captions">
    <p:bg>
      <p:bgPr>
        <a:solidFill>
          <a:srgbClr val="F0F0F0"/>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p:cNvSpPr>
          <p:nvPr>
            <p:ph type="pic" sz="quarter" idx="14"/>
          </p:nvPr>
        </p:nvSpPr>
        <p:spPr>
          <a:xfrm>
            <a:off x="2946400" y="2411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26"/>
          </p:nvPr>
        </p:nvSpPr>
        <p:spPr>
          <a:xfrm>
            <a:off x="29464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5"/>
          </p:nvPr>
        </p:nvSpPr>
        <p:spPr>
          <a:xfrm>
            <a:off x="6203627" y="241192"/>
            <a:ext cx="2956931"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27"/>
          </p:nvPr>
        </p:nvSpPr>
        <p:spPr>
          <a:xfrm>
            <a:off x="61976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16" hasCustomPrompt="1"/>
          </p:nvPr>
        </p:nvSpPr>
        <p:spPr>
          <a:xfrm>
            <a:off x="533996" y="1295400"/>
            <a:ext cx="2235200" cy="1905000"/>
          </a:xfrm>
          <a:solidFill>
            <a:srgbClr val="91BED4"/>
          </a:solidFill>
        </p:spPr>
        <p:txBody>
          <a:bodyPr anchor="b" anchorCtr="0">
            <a:noAutofit/>
          </a:bodyPr>
          <a:lstStyle>
            <a:lvl1pPr marL="0" marR="0" indent="0" algn="r" rtl="0" latinLnBrk="0">
              <a:spcBef>
                <a:spcPct val="20000"/>
              </a:spcBef>
              <a:buFontTx/>
              <a:buNone/>
              <a:defRPr sz="1600" baseline="0">
                <a:solidFill>
                  <a:schemeClr val="bg1"/>
                </a:solidFill>
                <a:latin typeface="+mn-lt"/>
                <a:ea typeface="+mn-ea"/>
                <a:cs typeface="+mn-cs"/>
              </a:defRPr>
            </a:lvl1pPr>
            <a:extLst/>
          </a:lstStyle>
          <a:p>
            <a:pPr lvl="0"/>
            <a:r>
              <a:rPr lang="en-US" dirty="0"/>
              <a:t>Click to add caption</a:t>
            </a:r>
          </a:p>
        </p:txBody>
      </p:sp>
      <p:sp>
        <p:nvSpPr>
          <p:cNvPr id="11" name="Rectangle 7"/>
          <p:cNvSpPr>
            <a:spLocks noGrp="1"/>
          </p:cNvSpPr>
          <p:nvPr>
            <p:ph type="body" sz="quarter" idx="29" hasCustomPrompt="1"/>
          </p:nvPr>
        </p:nvSpPr>
        <p:spPr>
          <a:xfrm>
            <a:off x="9448800" y="1295400"/>
            <a:ext cx="2235200" cy="1905000"/>
          </a:xfrm>
          <a:solidFill>
            <a:srgbClr val="FC7500"/>
          </a:solidFill>
        </p:spPr>
        <p:txBody>
          <a:bodyPr anchor="b" anchorCtr="0"/>
          <a:lstStyle>
            <a:lvl1pPr marL="0" marR="0" indent="0" algn="l">
              <a:buFontTx/>
              <a:buNone/>
              <a:defRPr sz="1600" baseline="0">
                <a:solidFill>
                  <a:schemeClr val="bg1"/>
                </a:solidFill>
              </a:defRPr>
            </a:lvl1pPr>
            <a:extLst/>
          </a:lstStyle>
          <a:p>
            <a:pPr lvl="0"/>
            <a:r>
              <a:rPr lang="en-US" dirty="0"/>
              <a:t>Click to add caption</a:t>
            </a:r>
          </a:p>
        </p:txBody>
      </p:sp>
      <p:sp>
        <p:nvSpPr>
          <p:cNvPr id="12" name="Rectangle 7"/>
          <p:cNvSpPr>
            <a:spLocks noGrp="1"/>
          </p:cNvSpPr>
          <p:nvPr>
            <p:ph type="body" sz="quarter" idx="28" hasCustomPrompt="1"/>
          </p:nvPr>
        </p:nvSpPr>
        <p:spPr>
          <a:xfrm>
            <a:off x="533996" y="3352800"/>
            <a:ext cx="2235200" cy="1905000"/>
          </a:xfrm>
          <a:solidFill>
            <a:srgbClr val="FC7500"/>
          </a:solidFill>
        </p:spPr>
        <p:txBody>
          <a:bodyPr anchor="t" anchorCtr="0"/>
          <a:lstStyle>
            <a:lvl1pPr marL="0" marR="0" indent="0" algn="r">
              <a:buFontTx/>
              <a:buNone/>
              <a:defRPr sz="1600" baseline="0">
                <a:solidFill>
                  <a:schemeClr val="bg1"/>
                </a:solidFill>
              </a:defRPr>
            </a:lvl1pPr>
            <a:extLst/>
          </a:lstStyle>
          <a:p>
            <a:pPr lvl="0"/>
            <a:r>
              <a:rPr lang="en-US" dirty="0"/>
              <a:t>Click to add caption</a:t>
            </a:r>
          </a:p>
        </p:txBody>
      </p:sp>
      <p:sp>
        <p:nvSpPr>
          <p:cNvPr id="13" name="Rectangle 7"/>
          <p:cNvSpPr>
            <a:spLocks noGrp="1"/>
          </p:cNvSpPr>
          <p:nvPr>
            <p:ph type="body" sz="quarter" idx="30" hasCustomPrompt="1"/>
          </p:nvPr>
        </p:nvSpPr>
        <p:spPr>
          <a:xfrm>
            <a:off x="9448800" y="3352800"/>
            <a:ext cx="2235200" cy="1905000"/>
          </a:xfrm>
          <a:solidFill>
            <a:srgbClr val="91BED4"/>
          </a:solidFill>
        </p:spPr>
        <p:txBody>
          <a:bodyPr anchor="t" anchorCtr="0"/>
          <a:lstStyle>
            <a:lvl1pPr marL="0" marR="0" indent="0" algn="l">
              <a:buFontTx/>
              <a:buNone/>
              <a:defRPr sz="1600" baseline="0">
                <a:solidFill>
                  <a:schemeClr val="bg1"/>
                </a:solidFill>
              </a:defRPr>
            </a:lvl1pPr>
            <a:extLst/>
          </a:lstStyle>
          <a:p>
            <a:pPr lvl="0"/>
            <a:r>
              <a:rPr lang="en-US" dirty="0"/>
              <a:t>Click to add caption</a:t>
            </a:r>
          </a:p>
        </p:txBody>
      </p:sp>
    </p:spTree>
    <p:extLst>
      <p:ext uri="{BB962C8B-B14F-4D97-AF65-F5344CB8AC3E}">
        <p14:creationId xmlns:p14="http://schemas.microsoft.com/office/powerpoint/2010/main" val="1424835101"/>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4-Up Portrait with Captions">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6" name="Rectangle 7"/>
          <p:cNvSpPr>
            <a:spLocks noGrp="1"/>
          </p:cNvSpPr>
          <p:nvPr>
            <p:ph type="pic" sz="quarter" idx="14"/>
          </p:nvPr>
        </p:nvSpPr>
        <p:spPr>
          <a:xfrm>
            <a:off x="2997200" y="2411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26"/>
          </p:nvPr>
        </p:nvSpPr>
        <p:spPr>
          <a:xfrm>
            <a:off x="29972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5"/>
          </p:nvPr>
        </p:nvSpPr>
        <p:spPr>
          <a:xfrm>
            <a:off x="6254427" y="241192"/>
            <a:ext cx="2956931"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27"/>
          </p:nvPr>
        </p:nvSpPr>
        <p:spPr>
          <a:xfrm>
            <a:off x="6248400" y="3365392"/>
            <a:ext cx="2955915" cy="288300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16" hasCustomPrompt="1"/>
          </p:nvPr>
        </p:nvSpPr>
        <p:spPr>
          <a:xfrm>
            <a:off x="457200" y="1257300"/>
            <a:ext cx="2235200" cy="1905000"/>
          </a:xfrm>
          <a:noFill/>
        </p:spPr>
        <p:txBody>
          <a:bodyPr anchor="b" anchorCtr="0">
            <a:noAutofit/>
          </a:bodyPr>
          <a:lstStyle>
            <a:lvl1pPr marL="0" marR="0" indent="0" algn="r" rtl="0" latinLnBrk="0">
              <a:spcBef>
                <a:spcPct val="20000"/>
              </a:spcBef>
              <a:buFontTx/>
              <a:buNone/>
              <a:defRPr sz="1600" baseline="0">
                <a:solidFill>
                  <a:schemeClr val="tx1">
                    <a:lumMod val="50000"/>
                    <a:lumOff val="50000"/>
                  </a:schemeClr>
                </a:solidFill>
                <a:latin typeface="+mn-lt"/>
                <a:ea typeface="+mn-ea"/>
                <a:cs typeface="+mn-cs"/>
              </a:defRPr>
            </a:lvl1pPr>
            <a:extLst/>
          </a:lstStyle>
          <a:p>
            <a:pPr lvl="0"/>
            <a:r>
              <a:rPr lang="en-US" dirty="0"/>
              <a:t>Click to add caption</a:t>
            </a:r>
          </a:p>
        </p:txBody>
      </p:sp>
      <p:sp>
        <p:nvSpPr>
          <p:cNvPr id="12" name="Rectangle 7"/>
          <p:cNvSpPr>
            <a:spLocks noGrp="1"/>
          </p:cNvSpPr>
          <p:nvPr>
            <p:ph type="body" sz="quarter" idx="28" hasCustomPrompt="1"/>
          </p:nvPr>
        </p:nvSpPr>
        <p:spPr>
          <a:xfrm>
            <a:off x="457200" y="3352800"/>
            <a:ext cx="2235200" cy="1905000"/>
          </a:xfrm>
          <a:noFill/>
        </p:spPr>
        <p:txBody>
          <a:bodyPr anchor="t" anchorCtr="0"/>
          <a:lstStyle>
            <a:lvl1pPr marL="0" marR="0" indent="0" algn="r">
              <a:buFontTx/>
              <a:buNone/>
              <a:defRPr sz="1600" baseline="0">
                <a:solidFill>
                  <a:schemeClr val="tx1">
                    <a:lumMod val="50000"/>
                    <a:lumOff val="50000"/>
                  </a:schemeClr>
                </a:solidFill>
              </a:defRPr>
            </a:lvl1pPr>
            <a:extLst/>
          </a:lstStyle>
          <a:p>
            <a:pPr lvl="0"/>
            <a:r>
              <a:rPr lang="en-US" dirty="0"/>
              <a:t>Click to add caption</a:t>
            </a:r>
          </a:p>
        </p:txBody>
      </p:sp>
      <p:sp>
        <p:nvSpPr>
          <p:cNvPr id="13" name="Rectangle 7"/>
          <p:cNvSpPr>
            <a:spLocks noGrp="1"/>
          </p:cNvSpPr>
          <p:nvPr>
            <p:ph type="body" sz="quarter" idx="30" hasCustomPrompt="1"/>
          </p:nvPr>
        </p:nvSpPr>
        <p:spPr>
          <a:xfrm>
            <a:off x="9499600" y="3352800"/>
            <a:ext cx="2235200" cy="1905000"/>
          </a:xfrm>
          <a:noFill/>
        </p:spPr>
        <p:txBody>
          <a:bodyPr anchor="t" anchorCtr="0"/>
          <a:lstStyle>
            <a:lvl1pPr marL="0" marR="0" indent="0" algn="l">
              <a:buFontTx/>
              <a:buNone/>
              <a:defRPr sz="1600" baseline="0">
                <a:solidFill>
                  <a:schemeClr val="tx1">
                    <a:lumMod val="50000"/>
                    <a:lumOff val="50000"/>
                  </a:schemeClr>
                </a:solidFill>
              </a:defRPr>
            </a:lvl1pPr>
            <a:extLst/>
          </a:lstStyle>
          <a:p>
            <a:pPr lvl="0"/>
            <a:r>
              <a:rPr lang="en-US" dirty="0"/>
              <a:t>Click to add caption</a:t>
            </a:r>
          </a:p>
        </p:txBody>
      </p:sp>
      <p:sp>
        <p:nvSpPr>
          <p:cNvPr id="14" name="Rectangle 7"/>
          <p:cNvSpPr>
            <a:spLocks noGrp="1"/>
          </p:cNvSpPr>
          <p:nvPr>
            <p:ph type="body" sz="quarter" idx="31" hasCustomPrompt="1"/>
          </p:nvPr>
        </p:nvSpPr>
        <p:spPr>
          <a:xfrm>
            <a:off x="9499600" y="1257300"/>
            <a:ext cx="2235200" cy="1905000"/>
          </a:xfrm>
        </p:spPr>
        <p:txBody>
          <a:bodyPr anchor="b" anchorCtr="0"/>
          <a:lstStyle>
            <a:lvl1pPr marL="0" marR="0" indent="0" algn="l">
              <a:buFontTx/>
              <a:buNone/>
              <a:defRPr sz="1600" baseline="0">
                <a:solidFill>
                  <a:schemeClr val="tx1">
                    <a:lumMod val="50000"/>
                    <a:lumOff val="50000"/>
                  </a:schemeClr>
                </a:solidFill>
              </a:defRPr>
            </a:lvl1pPr>
            <a:extLst/>
          </a:lstStyle>
          <a:p>
            <a:pPr lvl="0"/>
            <a:r>
              <a:rPr lang="en-US" dirty="0"/>
              <a:t>Click to add caption</a:t>
            </a:r>
          </a:p>
        </p:txBody>
      </p:sp>
    </p:spTree>
    <p:extLst>
      <p:ext uri="{BB962C8B-B14F-4D97-AF65-F5344CB8AC3E}">
        <p14:creationId xmlns:p14="http://schemas.microsoft.com/office/powerpoint/2010/main" val="386309121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4-Up Portrait with Title and Large Capti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p:cNvSpPr>
          <p:nvPr>
            <p:ph type="pic" sz="quarter" idx="14"/>
          </p:nvPr>
        </p:nvSpPr>
        <p:spPr>
          <a:xfrm>
            <a:off x="304800"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31"/>
          </p:nvPr>
        </p:nvSpPr>
        <p:spPr>
          <a:xfrm>
            <a:off x="6163733"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p:cNvSpPr>
          <p:nvPr>
            <p:ph type="pic" sz="quarter" idx="30"/>
          </p:nvPr>
        </p:nvSpPr>
        <p:spPr>
          <a:xfrm>
            <a:off x="3233680"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p:cNvSpPr>
          <p:nvPr>
            <p:ph type="pic" sz="quarter" idx="32"/>
          </p:nvPr>
        </p:nvSpPr>
        <p:spPr>
          <a:xfrm>
            <a:off x="9088488" y="838200"/>
            <a:ext cx="2667003" cy="266700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p:cNvSpPr>
          <p:nvPr>
            <p:ph type="body" sz="quarter" idx="29" hasCustomPrompt="1"/>
          </p:nvPr>
        </p:nvSpPr>
        <p:spPr>
          <a:xfrm>
            <a:off x="304800" y="3733799"/>
            <a:ext cx="11480800" cy="457200"/>
          </a:xfrm>
        </p:spPr>
        <p:txBody>
          <a:bodyPr anchor="t" anchorCtr="0">
            <a:noAutofit/>
          </a:bodyPr>
          <a:lstStyle>
            <a:lvl1pPr marL="0" marR="0" indent="0" algn="l">
              <a:buFontTx/>
              <a:buNone/>
              <a:defRPr sz="2600" b="1" baseline="0">
                <a:solidFill>
                  <a:srgbClr val="FC7500"/>
                </a:solidFill>
              </a:defRPr>
            </a:lvl1pPr>
            <a:extLst/>
          </a:lstStyle>
          <a:p>
            <a:pPr lvl="0"/>
            <a:r>
              <a:rPr lang="en-US" dirty="0"/>
              <a:t>Click to add title style</a:t>
            </a:r>
          </a:p>
        </p:txBody>
      </p:sp>
      <p:sp>
        <p:nvSpPr>
          <p:cNvPr id="12" name="Text Placeholder 11"/>
          <p:cNvSpPr>
            <a:spLocks noGrp="1"/>
          </p:cNvSpPr>
          <p:nvPr>
            <p:ph type="body" sz="quarter" idx="33" hasCustomPrompt="1"/>
          </p:nvPr>
        </p:nvSpPr>
        <p:spPr>
          <a:xfrm>
            <a:off x="304800" y="4343399"/>
            <a:ext cx="11480800" cy="1600200"/>
          </a:xfrm>
        </p:spPr>
        <p:txBody>
          <a:bodyPr>
            <a:normAutofit/>
          </a:bodyPr>
          <a:lstStyle>
            <a:lvl1pPr>
              <a:buNone/>
              <a:defRPr sz="2000">
                <a:solidFill>
                  <a:schemeClr val="tx1">
                    <a:lumMod val="75000"/>
                    <a:lumOff val="25000"/>
                  </a:schemeClr>
                </a:solidFill>
              </a:defRPr>
            </a:lvl1pPr>
          </a:lstStyle>
          <a:p>
            <a:pPr lvl="0"/>
            <a:r>
              <a:rPr lang="en-US" dirty="0"/>
              <a:t>Click to add caption text</a:t>
            </a:r>
          </a:p>
        </p:txBody>
      </p:sp>
      <p:grpSp>
        <p:nvGrpSpPr>
          <p:cNvPr id="11" name="Group 10"/>
          <p:cNvGrpSpPr/>
          <p:nvPr userDrawn="1"/>
        </p:nvGrpSpPr>
        <p:grpSpPr>
          <a:xfrm rot="5400000">
            <a:off x="5801032" y="467032"/>
            <a:ext cx="589936" cy="12192000"/>
            <a:chOff x="8524568" y="0"/>
            <a:chExt cx="589936" cy="6858000"/>
          </a:xfrm>
        </p:grpSpPr>
        <p:sp>
          <p:nvSpPr>
            <p:cNvPr id="13" name="Rectangle 12"/>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4" name="Straight Connector 13"/>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5"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6"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7"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21456249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9BA3A13D-7ACC-4350-B368-5F9372CAD98C}" type="datetimeFigureOut">
              <a:rPr lang="zh-TW" altLang="en-US" smtClean="0"/>
              <a:pPr/>
              <a:t>2021/1/7</a:t>
            </a:fld>
            <a:endParaRPr lang="zh-TW" altLang="en-US"/>
          </a:p>
        </p:txBody>
      </p:sp>
      <p:sp>
        <p:nvSpPr>
          <p:cNvPr id="6" name="Footer Placeholder 5"/>
          <p:cNvSpPr>
            <a:spLocks noGrp="1"/>
          </p:cNvSpPr>
          <p:nvPr>
            <p:ph type="ftr" sz="quarter" idx="11"/>
          </p:nvPr>
        </p:nvSpPr>
        <p:spPr/>
        <p:txBody>
          <a:bodyPr/>
          <a:lstStyle/>
          <a:p>
            <a:endParaRPr lang="zh-TW" altLang="en-US"/>
          </a:p>
        </p:txBody>
      </p:sp>
      <p:sp>
        <p:nvSpPr>
          <p:cNvPr id="7" name="Slide Number Placeholder 6"/>
          <p:cNvSpPr>
            <a:spLocks noGrp="1"/>
          </p:cNvSpPr>
          <p:nvPr>
            <p:ph type="sldNum" sz="quarter" idx="12"/>
          </p:nvPr>
        </p:nvSpPr>
        <p:spPr/>
        <p:txBody>
          <a:body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34006326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4-Up Mixed">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6" name="Rectangle 7"/>
          <p:cNvSpPr>
            <a:spLocks noGrp="1"/>
          </p:cNvSpPr>
          <p:nvPr>
            <p:ph type="pic" sz="quarter" idx="14"/>
          </p:nvPr>
        </p:nvSpPr>
        <p:spPr>
          <a:xfrm>
            <a:off x="1016001" y="257666"/>
            <a:ext cx="5975943" cy="5990735"/>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noChangeAspect="1"/>
          </p:cNvSpPr>
          <p:nvPr>
            <p:ph type="pic" sz="quarter" idx="18"/>
          </p:nvPr>
        </p:nvSpPr>
        <p:spPr>
          <a:xfrm>
            <a:off x="7540585" y="257666"/>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noChangeAspect="1"/>
          </p:cNvSpPr>
          <p:nvPr>
            <p:ph type="pic" sz="quarter" idx="22"/>
          </p:nvPr>
        </p:nvSpPr>
        <p:spPr>
          <a:xfrm>
            <a:off x="7540585" y="2362201"/>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noChangeAspect="1"/>
          </p:cNvSpPr>
          <p:nvPr>
            <p:ph type="pic" sz="quarter" idx="23"/>
          </p:nvPr>
        </p:nvSpPr>
        <p:spPr>
          <a:xfrm>
            <a:off x="7540585" y="4495801"/>
            <a:ext cx="3155617" cy="1775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2"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3"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4"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5" name="Rectangle 14"/>
          <p:cNvSpPr/>
          <p:nvPr userDrawn="1"/>
        </p:nvSpPr>
        <p:spPr>
          <a:xfrm>
            <a:off x="11366091" y="0"/>
            <a:ext cx="721032" cy="685800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6" name="Straight Connector 15"/>
          <p:cNvCxnSpPr/>
          <p:nvPr userDrawn="1"/>
        </p:nvCxnSpPr>
        <p:spPr>
          <a:xfrm rot="5400000">
            <a:off x="8734645" y="3429000"/>
            <a:ext cx="6858000" cy="0"/>
          </a:xfrm>
          <a:prstGeom prst="line">
            <a:avLst/>
          </a:prstGeom>
          <a:ln w="50800">
            <a:solidFill>
              <a:srgbClr val="91BED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86783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Up: 3 Landscape with 2 Portrait">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7"/>
          <p:cNvSpPr>
            <a:spLocks noGrp="1"/>
          </p:cNvSpPr>
          <p:nvPr>
            <p:ph type="pic" sz="quarter" idx="14"/>
          </p:nvPr>
        </p:nvSpPr>
        <p:spPr>
          <a:xfrm>
            <a:off x="812800" y="3480498"/>
            <a:ext cx="2561275" cy="275762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7" name="Rectangle 7"/>
          <p:cNvSpPr>
            <a:spLocks noGrp="1"/>
          </p:cNvSpPr>
          <p:nvPr>
            <p:ph type="pic" sz="quarter" idx="17"/>
          </p:nvPr>
        </p:nvSpPr>
        <p:spPr>
          <a:xfrm>
            <a:off x="3841930" y="228600"/>
            <a:ext cx="7012547" cy="3944558"/>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Picture Placeholder 7"/>
          <p:cNvSpPr>
            <a:spLocks noGrp="1"/>
          </p:cNvSpPr>
          <p:nvPr>
            <p:ph type="pic" sz="quarter" idx="26"/>
          </p:nvPr>
        </p:nvSpPr>
        <p:spPr>
          <a:xfrm>
            <a:off x="812800" y="228601"/>
            <a:ext cx="2561275" cy="2757620"/>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9" name="Rectangle 7"/>
          <p:cNvSpPr>
            <a:spLocks noGrp="1" noChangeAspect="1"/>
          </p:cNvSpPr>
          <p:nvPr>
            <p:ph type="pic" sz="quarter" idx="27"/>
          </p:nvPr>
        </p:nvSpPr>
        <p:spPr>
          <a:xfrm>
            <a:off x="7733193" y="4563307"/>
            <a:ext cx="3239608" cy="170773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0" name="Rectangle 7"/>
          <p:cNvSpPr>
            <a:spLocks noGrp="1" noChangeAspect="1"/>
          </p:cNvSpPr>
          <p:nvPr>
            <p:ph type="pic" sz="quarter" idx="28"/>
          </p:nvPr>
        </p:nvSpPr>
        <p:spPr>
          <a:xfrm>
            <a:off x="3860800" y="4563307"/>
            <a:ext cx="3349360" cy="1707737"/>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3"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14"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15"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69123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5-Up: 2 Landscape with 3 Portrait">
    <p:bg>
      <p:bgPr>
        <a:solidFill>
          <a:schemeClr val="bg1">
            <a:lumMod val="95000"/>
          </a:schemeClr>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10" name="Rectangle 7"/>
          <p:cNvSpPr>
            <a:spLocks noGrp="1"/>
          </p:cNvSpPr>
          <p:nvPr>
            <p:ph type="pic" sz="quarter" idx="26"/>
          </p:nvPr>
        </p:nvSpPr>
        <p:spPr>
          <a:xfrm>
            <a:off x="705474" y="3124201"/>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1" name="Rectangle 7"/>
          <p:cNvSpPr>
            <a:spLocks noGrp="1"/>
          </p:cNvSpPr>
          <p:nvPr>
            <p:ph type="pic" sz="quarter" idx="29"/>
          </p:nvPr>
        </p:nvSpPr>
        <p:spPr>
          <a:xfrm>
            <a:off x="681832" y="228602"/>
            <a:ext cx="5106533" cy="2651469"/>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2" name="Rectangle 7"/>
          <p:cNvSpPr>
            <a:spLocks noGrp="1"/>
          </p:cNvSpPr>
          <p:nvPr>
            <p:ph type="pic" sz="quarter" idx="30"/>
          </p:nvPr>
        </p:nvSpPr>
        <p:spPr>
          <a:xfrm>
            <a:off x="6374267" y="228602"/>
            <a:ext cx="5106533" cy="2651469"/>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3" name="Rectangle 7"/>
          <p:cNvSpPr>
            <a:spLocks noGrp="1"/>
          </p:cNvSpPr>
          <p:nvPr>
            <p:ph type="pic" sz="quarter" idx="27"/>
          </p:nvPr>
        </p:nvSpPr>
        <p:spPr>
          <a:xfrm>
            <a:off x="4413874" y="3124201"/>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14" name="Rectangle 7"/>
          <p:cNvSpPr>
            <a:spLocks noGrp="1"/>
          </p:cNvSpPr>
          <p:nvPr>
            <p:ph type="pic" sz="quarter" idx="28"/>
          </p:nvPr>
        </p:nvSpPr>
        <p:spPr>
          <a:xfrm>
            <a:off x="8122274" y="3124201"/>
            <a:ext cx="3358527" cy="3167033"/>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40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Tree>
    <p:extLst>
      <p:ext uri="{BB962C8B-B14F-4D97-AF65-F5344CB8AC3E}">
        <p14:creationId xmlns:p14="http://schemas.microsoft.com/office/powerpoint/2010/main" val="38158951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Photo Grid with Colored Captions">
    <p:bg>
      <p:bgPr>
        <a:solidFill>
          <a:schemeClr val="bg1"/>
        </a:solidFill>
        <a:effectLst/>
      </p:bgPr>
    </p:bg>
    <p:spTree>
      <p:nvGrpSpPr>
        <p:cNvPr id="1" name=""/>
        <p:cNvGrpSpPr/>
        <p:nvPr/>
      </p:nvGrpSpPr>
      <p:grpSpPr>
        <a:xfrm>
          <a:off x="0" y="0"/>
          <a:ext cx="0" cy="0"/>
          <a:chOff x="0" y="0"/>
          <a:chExt cx="0" cy="0"/>
        </a:xfrm>
      </p:grpSpPr>
      <p:sp>
        <p:nvSpPr>
          <p:cNvPr id="51" name="Rectangle 50"/>
          <p:cNvSpPr/>
          <p:nvPr userDrawn="1"/>
        </p:nvSpPr>
        <p:spPr>
          <a:xfrm>
            <a:off x="6197600" y="4558210"/>
            <a:ext cx="2743200" cy="199499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2" name="Text Placeholder 25"/>
          <p:cNvSpPr>
            <a:spLocks noGrp="1"/>
          </p:cNvSpPr>
          <p:nvPr>
            <p:ph type="body" sz="quarter" idx="31" hasCustomPrompt="1"/>
          </p:nvPr>
        </p:nvSpPr>
        <p:spPr>
          <a:xfrm>
            <a:off x="6299200" y="47106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53" name="Text Placeholder 28"/>
          <p:cNvSpPr>
            <a:spLocks noGrp="1"/>
          </p:cNvSpPr>
          <p:nvPr>
            <p:ph type="body" sz="quarter" idx="32" hasCustomPrompt="1"/>
          </p:nvPr>
        </p:nvSpPr>
        <p:spPr>
          <a:xfrm>
            <a:off x="6299200" y="51678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right</a:t>
            </a:r>
          </a:p>
        </p:txBody>
      </p:sp>
      <p:sp>
        <p:nvSpPr>
          <p:cNvPr id="35" name="Rectangle 34"/>
          <p:cNvSpPr/>
          <p:nvPr userDrawn="1"/>
        </p:nvSpPr>
        <p:spPr>
          <a:xfrm>
            <a:off x="6197600" y="291010"/>
            <a:ext cx="2743200" cy="1994990"/>
          </a:xfrm>
          <a:prstGeom prst="rect">
            <a:avLst/>
          </a:prstGeom>
          <a:solidFill>
            <a:srgbClr val="D9E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6" name="Text Placeholder 25"/>
          <p:cNvSpPr>
            <a:spLocks noGrp="1"/>
          </p:cNvSpPr>
          <p:nvPr>
            <p:ph type="body" sz="quarter" idx="19" hasCustomPrompt="1"/>
          </p:nvPr>
        </p:nvSpPr>
        <p:spPr>
          <a:xfrm>
            <a:off x="6299200" y="443411"/>
            <a:ext cx="2540000" cy="366889"/>
          </a:xfrm>
        </p:spPr>
        <p:txBody>
          <a:bodyPr>
            <a:normAutofit/>
          </a:bodyPr>
          <a:lstStyle>
            <a:lvl1pPr algn="l">
              <a:buNone/>
              <a:defRPr sz="1600" b="1" baseline="0">
                <a:solidFill>
                  <a:schemeClr val="accent1">
                    <a:lumMod val="75000"/>
                  </a:schemeClr>
                </a:solidFill>
              </a:defRPr>
            </a:lvl1pPr>
          </a:lstStyle>
          <a:p>
            <a:pPr lvl="0"/>
            <a:r>
              <a:rPr lang="en-US" dirty="0"/>
              <a:t>CLICK TO ADD TITLE</a:t>
            </a:r>
          </a:p>
        </p:txBody>
      </p:sp>
      <p:sp>
        <p:nvSpPr>
          <p:cNvPr id="37" name="Text Placeholder 28"/>
          <p:cNvSpPr>
            <a:spLocks noGrp="1"/>
          </p:cNvSpPr>
          <p:nvPr>
            <p:ph type="body" sz="quarter" idx="20" hasCustomPrompt="1"/>
          </p:nvPr>
        </p:nvSpPr>
        <p:spPr>
          <a:xfrm>
            <a:off x="6299200" y="9006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30" name="Rectangle 29"/>
          <p:cNvSpPr/>
          <p:nvPr userDrawn="1"/>
        </p:nvSpPr>
        <p:spPr>
          <a:xfrm>
            <a:off x="304800" y="291010"/>
            <a:ext cx="2743200" cy="199499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C7500"/>
              </a:solidFill>
            </a:endParaRPr>
          </a:p>
        </p:txBody>
      </p:sp>
      <p:sp>
        <p:nvSpPr>
          <p:cNvPr id="31" name="Picture Placeholder 11"/>
          <p:cNvSpPr>
            <a:spLocks noGrp="1"/>
          </p:cNvSpPr>
          <p:nvPr>
            <p:ph type="pic" sz="quarter" idx="13"/>
          </p:nvPr>
        </p:nvSpPr>
        <p:spPr>
          <a:xfrm>
            <a:off x="3247923" y="295275"/>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32" name="Picture Placeholder 11"/>
          <p:cNvSpPr>
            <a:spLocks noGrp="1"/>
          </p:cNvSpPr>
          <p:nvPr>
            <p:ph type="pic" sz="quarter" idx="16"/>
          </p:nvPr>
        </p:nvSpPr>
        <p:spPr>
          <a:xfrm>
            <a:off x="9140723" y="2910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33" name="Text Placeholder 25"/>
          <p:cNvSpPr>
            <a:spLocks noGrp="1"/>
          </p:cNvSpPr>
          <p:nvPr>
            <p:ph type="body" sz="quarter" idx="17" hasCustomPrompt="1"/>
          </p:nvPr>
        </p:nvSpPr>
        <p:spPr>
          <a:xfrm>
            <a:off x="406400" y="4434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34" name="Text Placeholder 28"/>
          <p:cNvSpPr>
            <a:spLocks noGrp="1"/>
          </p:cNvSpPr>
          <p:nvPr>
            <p:ph type="body" sz="quarter" idx="18" hasCustomPrompt="1"/>
          </p:nvPr>
        </p:nvSpPr>
        <p:spPr>
          <a:xfrm>
            <a:off x="406400" y="9006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right</a:t>
            </a:r>
          </a:p>
        </p:txBody>
      </p:sp>
      <p:sp>
        <p:nvSpPr>
          <p:cNvPr id="38" name="Rectangle 37"/>
          <p:cNvSpPr/>
          <p:nvPr userDrawn="1"/>
        </p:nvSpPr>
        <p:spPr>
          <a:xfrm>
            <a:off x="3254476" y="2424610"/>
            <a:ext cx="2743200" cy="1994990"/>
          </a:xfrm>
          <a:prstGeom prst="rect">
            <a:avLst/>
          </a:prstGeom>
          <a:solidFill>
            <a:srgbClr val="91BE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9" name="Picture Placeholder 11"/>
          <p:cNvSpPr>
            <a:spLocks noGrp="1"/>
          </p:cNvSpPr>
          <p:nvPr>
            <p:ph type="pic" sz="quarter" idx="21"/>
          </p:nvPr>
        </p:nvSpPr>
        <p:spPr>
          <a:xfrm>
            <a:off x="304800"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0" name="Picture Placeholder 11"/>
          <p:cNvSpPr>
            <a:spLocks noGrp="1"/>
          </p:cNvSpPr>
          <p:nvPr>
            <p:ph type="pic" sz="quarter" idx="22"/>
          </p:nvPr>
        </p:nvSpPr>
        <p:spPr>
          <a:xfrm>
            <a:off x="6200876" y="24246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1" name="Text Placeholder 25"/>
          <p:cNvSpPr>
            <a:spLocks noGrp="1"/>
          </p:cNvSpPr>
          <p:nvPr>
            <p:ph type="body" sz="quarter" idx="23" hasCustomPrompt="1"/>
          </p:nvPr>
        </p:nvSpPr>
        <p:spPr>
          <a:xfrm>
            <a:off x="3356076" y="25770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42" name="Text Placeholder 28"/>
          <p:cNvSpPr>
            <a:spLocks noGrp="1"/>
          </p:cNvSpPr>
          <p:nvPr>
            <p:ph type="body" sz="quarter" idx="24" hasCustomPrompt="1"/>
          </p:nvPr>
        </p:nvSpPr>
        <p:spPr>
          <a:xfrm>
            <a:off x="3356076" y="30342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left</a:t>
            </a:r>
          </a:p>
        </p:txBody>
      </p:sp>
      <p:sp>
        <p:nvSpPr>
          <p:cNvPr id="43" name="Rectangle 42"/>
          <p:cNvSpPr/>
          <p:nvPr userDrawn="1"/>
        </p:nvSpPr>
        <p:spPr>
          <a:xfrm>
            <a:off x="9147276" y="2424610"/>
            <a:ext cx="2743200" cy="199499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4" name="Text Placeholder 25"/>
          <p:cNvSpPr>
            <a:spLocks noGrp="1"/>
          </p:cNvSpPr>
          <p:nvPr>
            <p:ph type="body" sz="quarter" idx="25" hasCustomPrompt="1"/>
          </p:nvPr>
        </p:nvSpPr>
        <p:spPr>
          <a:xfrm>
            <a:off x="9248876" y="2577011"/>
            <a:ext cx="2540000" cy="366889"/>
          </a:xfrm>
        </p:spPr>
        <p:txBody>
          <a:bodyPr>
            <a:normAutofit/>
          </a:bodyPr>
          <a:lstStyle>
            <a:lvl1pPr algn="l">
              <a:buNone/>
              <a:defRPr sz="1600" b="1" baseline="0">
                <a:solidFill>
                  <a:schemeClr val="bg1"/>
                </a:solidFill>
              </a:defRPr>
            </a:lvl1pPr>
          </a:lstStyle>
          <a:p>
            <a:pPr lvl="0"/>
            <a:r>
              <a:rPr lang="en-US" dirty="0"/>
              <a:t>CLICK TO ADD TITLE</a:t>
            </a:r>
          </a:p>
        </p:txBody>
      </p:sp>
      <p:sp>
        <p:nvSpPr>
          <p:cNvPr id="45" name="Text Placeholder 28"/>
          <p:cNvSpPr>
            <a:spLocks noGrp="1"/>
          </p:cNvSpPr>
          <p:nvPr>
            <p:ph type="body" sz="quarter" idx="26" hasCustomPrompt="1"/>
          </p:nvPr>
        </p:nvSpPr>
        <p:spPr>
          <a:xfrm>
            <a:off x="9248876" y="3034210"/>
            <a:ext cx="2540000" cy="1247422"/>
          </a:xfrm>
        </p:spPr>
        <p:txBody>
          <a:bodyPr>
            <a:normAutofit/>
          </a:bodyPr>
          <a:lstStyle>
            <a:lvl1pPr marL="0" indent="0" algn="l">
              <a:buNone/>
              <a:defRPr sz="1800" baseline="0">
                <a:solidFill>
                  <a:schemeClr val="bg1"/>
                </a:solidFill>
              </a:defRPr>
            </a:lvl1pPr>
          </a:lstStyle>
          <a:p>
            <a:pPr lvl="0"/>
            <a:r>
              <a:rPr lang="en-US" dirty="0"/>
              <a:t>Click to add text for the picture to the left</a:t>
            </a:r>
          </a:p>
        </p:txBody>
      </p:sp>
      <p:sp>
        <p:nvSpPr>
          <p:cNvPr id="46" name="Rectangle 45"/>
          <p:cNvSpPr/>
          <p:nvPr userDrawn="1"/>
        </p:nvSpPr>
        <p:spPr>
          <a:xfrm>
            <a:off x="304800" y="4558210"/>
            <a:ext cx="2743200" cy="1994990"/>
          </a:xfrm>
          <a:prstGeom prst="rect">
            <a:avLst/>
          </a:prstGeom>
          <a:solidFill>
            <a:srgbClr val="D9E8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7" name="Picture Placeholder 11"/>
          <p:cNvSpPr>
            <a:spLocks noGrp="1"/>
          </p:cNvSpPr>
          <p:nvPr>
            <p:ph type="pic" sz="quarter" idx="27"/>
          </p:nvPr>
        </p:nvSpPr>
        <p:spPr>
          <a:xfrm>
            <a:off x="3251200"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8" name="Picture Placeholder 11"/>
          <p:cNvSpPr>
            <a:spLocks noGrp="1"/>
          </p:cNvSpPr>
          <p:nvPr>
            <p:ph type="pic" sz="quarter" idx="28"/>
          </p:nvPr>
        </p:nvSpPr>
        <p:spPr>
          <a:xfrm>
            <a:off x="9144000" y="4558210"/>
            <a:ext cx="2746477" cy="1981200"/>
          </a:xfrm>
          <a:solidFill>
            <a:srgbClr val="F0F0F0"/>
          </a:solidFill>
        </p:spPr>
        <p:txBody>
          <a:bodyPr>
            <a:normAutofit/>
          </a:bodyPr>
          <a:lstStyle>
            <a:lvl1pPr algn="ctr">
              <a:buNone/>
              <a:defRPr sz="1800">
                <a:solidFill>
                  <a:schemeClr val="tx1">
                    <a:lumMod val="75000"/>
                    <a:lumOff val="25000"/>
                  </a:schemeClr>
                </a:solidFill>
              </a:defRPr>
            </a:lvl1pPr>
          </a:lstStyle>
          <a:p>
            <a:r>
              <a:rPr lang="zh-TW" altLang="en-US"/>
              <a:t>按一下圖示以新增圖片</a:t>
            </a:r>
            <a:endParaRPr lang="en-US" dirty="0"/>
          </a:p>
        </p:txBody>
      </p:sp>
      <p:sp>
        <p:nvSpPr>
          <p:cNvPr id="49" name="Text Placeholder 25"/>
          <p:cNvSpPr>
            <a:spLocks noGrp="1"/>
          </p:cNvSpPr>
          <p:nvPr>
            <p:ph type="body" sz="quarter" idx="29" hasCustomPrompt="1"/>
          </p:nvPr>
        </p:nvSpPr>
        <p:spPr>
          <a:xfrm>
            <a:off x="406400" y="4710611"/>
            <a:ext cx="2540000" cy="366889"/>
          </a:xfrm>
        </p:spPr>
        <p:txBody>
          <a:bodyPr>
            <a:normAutofit/>
          </a:bodyPr>
          <a:lstStyle>
            <a:lvl1pPr algn="l">
              <a:buNone/>
              <a:defRPr sz="1600" b="1" baseline="0">
                <a:solidFill>
                  <a:schemeClr val="accent1">
                    <a:lumMod val="75000"/>
                  </a:schemeClr>
                </a:solidFill>
              </a:defRPr>
            </a:lvl1pPr>
          </a:lstStyle>
          <a:p>
            <a:pPr lvl="0"/>
            <a:r>
              <a:rPr lang="en-US" dirty="0"/>
              <a:t>CLICK TO ADD TITLE</a:t>
            </a:r>
          </a:p>
        </p:txBody>
      </p:sp>
      <p:sp>
        <p:nvSpPr>
          <p:cNvPr id="50" name="Text Placeholder 28"/>
          <p:cNvSpPr>
            <a:spLocks noGrp="1"/>
          </p:cNvSpPr>
          <p:nvPr>
            <p:ph type="body" sz="quarter" idx="30" hasCustomPrompt="1"/>
          </p:nvPr>
        </p:nvSpPr>
        <p:spPr>
          <a:xfrm>
            <a:off x="406400" y="5167810"/>
            <a:ext cx="2540000" cy="1247422"/>
          </a:xfrm>
        </p:spPr>
        <p:txBody>
          <a:bodyPr>
            <a:normAutofit/>
          </a:bodyPr>
          <a:lstStyle>
            <a:lvl1pPr marL="0" indent="0" algn="l">
              <a:buNone/>
              <a:defRPr sz="1800" baseline="0">
                <a:solidFill>
                  <a:schemeClr val="tx1">
                    <a:lumMod val="65000"/>
                    <a:lumOff val="35000"/>
                  </a:schemeClr>
                </a:solidFill>
              </a:defRPr>
            </a:lvl1pPr>
          </a:lstStyle>
          <a:p>
            <a:pPr lvl="0"/>
            <a:r>
              <a:rPr lang="en-US" dirty="0"/>
              <a:t>Click to add text for the picture to the right</a:t>
            </a:r>
          </a:p>
        </p:txBody>
      </p:sp>
      <p:sp>
        <p:nvSpPr>
          <p:cNvPr id="29" name="Date Placeholder 6"/>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54" name="Footer Placeholder 7"/>
          <p:cNvSpPr>
            <a:spLocks noGrp="1"/>
          </p:cNvSpPr>
          <p:nvPr>
            <p:ph type="ftr" sz="quarter" idx="11"/>
          </p:nvPr>
        </p:nvSpPr>
        <p:spPr>
          <a:xfrm>
            <a:off x="4165600" y="6553200"/>
            <a:ext cx="3860800" cy="304800"/>
          </a:xfrm>
        </p:spPr>
        <p:txBody>
          <a:bodyPr/>
          <a:lstStyle/>
          <a:p>
            <a:endParaRPr lang="en-US">
              <a:solidFill>
                <a:prstClr val="black">
                  <a:tint val="75000"/>
                </a:prstClr>
              </a:solidFill>
            </a:endParaRPr>
          </a:p>
        </p:txBody>
      </p:sp>
      <p:sp>
        <p:nvSpPr>
          <p:cNvPr id="55" name="Slide Number Placeholder 8"/>
          <p:cNvSpPr>
            <a:spLocks noGrp="1"/>
          </p:cNvSpPr>
          <p:nvPr>
            <p:ph type="sldNum" sz="quarter" idx="12"/>
          </p:nvPr>
        </p:nvSpPr>
        <p:spPr>
          <a:xfrm>
            <a:off x="8737600" y="6553200"/>
            <a:ext cx="28448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3835061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Panoramic with Caption">
    <p:bg>
      <p:bgPr>
        <a:solidFill>
          <a:schemeClr val="bg1">
            <a:lumMod val="95000"/>
          </a:schemeClr>
        </a:solidFill>
        <a:effectLst/>
      </p:bgPr>
    </p:bg>
    <p:spTree>
      <p:nvGrpSpPr>
        <p:cNvPr id="1" name=""/>
        <p:cNvGrpSpPr/>
        <p:nvPr/>
      </p:nvGrpSpPr>
      <p:grpSpPr>
        <a:xfrm>
          <a:off x="0" y="0"/>
          <a:ext cx="0" cy="0"/>
          <a:chOff x="0" y="0"/>
          <a:chExt cx="0" cy="0"/>
        </a:xfrm>
      </p:grpSpPr>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5072063" cy="6858000"/>
          </a:xfrm>
          <a:prstGeom prst="rect">
            <a:avLst/>
          </a:prstGeom>
        </p:spPr>
      </p:pic>
      <p:sp>
        <p:nvSpPr>
          <p:cNvPr id="7" name="W¥ل云玗İαЂôÁûÂÚ丫:Pïçtúrê Plå¢éhõlðér 表¥鷗字㌍ 表_W 2"/>
          <p:cNvSpPr>
            <a:spLocks noGrp="1"/>
          </p:cNvSpPr>
          <p:nvPr>
            <p:ph type="pic" sz="quarter" idx="30"/>
          </p:nvPr>
        </p:nvSpPr>
        <p:spPr>
          <a:xfrm>
            <a:off x="622300" y="1371599"/>
            <a:ext cx="10922001" cy="2771776"/>
          </a:xfrm>
          <a:prstGeom prst="rect">
            <a:avLst/>
          </a:prstGeo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0"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0" algn="ctr" rtl="0" latinLnBrk="0">
              <a:buFontTx/>
              <a:buNone/>
            </a:pPr>
            <a:r>
              <a:rPr lang="zh-TW" altLang="en-US"/>
              <a:t>按一下圖示以新增圖片</a:t>
            </a:r>
            <a:endParaRPr lang="en-US" dirty="0"/>
          </a:p>
        </p:txBody>
      </p:sp>
      <p:sp>
        <p:nvSpPr>
          <p:cNvPr id="8" name="W¥ل云玗İαЂÕØÚáÛ丫:Téxt Plàçèhòlðêr 表¥鷗字㌍_W 3"/>
          <p:cNvSpPr>
            <a:spLocks noGrp="1"/>
          </p:cNvSpPr>
          <p:nvPr>
            <p:ph type="body" sz="quarter" idx="31" hasCustomPrompt="1"/>
          </p:nvPr>
        </p:nvSpPr>
        <p:spPr>
          <a:xfrm>
            <a:off x="609600" y="4343400"/>
            <a:ext cx="10972800" cy="1447800"/>
          </a:xfrm>
          <a:solidFill>
            <a:schemeClr val="bg1"/>
          </a:solidFill>
        </p:spPr>
        <p:txBody>
          <a:bodyPr tIns="91440" rIns="9144" bIns="91440" anchor="t"/>
          <a:lstStyle>
            <a:lvl1pPr marL="0" marR="0" indent="0" algn="l">
              <a:buFontTx/>
              <a:buNone/>
              <a:defRPr sz="1800" i="0">
                <a:solidFill>
                  <a:schemeClr val="tx1">
                    <a:lumMod val="75000"/>
                    <a:lumOff val="25000"/>
                  </a:schemeClr>
                </a:solidFill>
              </a:defRPr>
            </a:lvl1pPr>
            <a:extLst/>
          </a:lstStyle>
          <a:p>
            <a:pPr lvl="0"/>
            <a:r>
              <a:rPr lang="en-US" dirty="0"/>
              <a:t>Click to add caption</a:t>
            </a:r>
          </a:p>
        </p:txBody>
      </p:sp>
      <p:grpSp>
        <p:nvGrpSpPr>
          <p:cNvPr id="9" name="Group 8"/>
          <p:cNvGrpSpPr/>
          <p:nvPr userDrawn="1"/>
        </p:nvGrpSpPr>
        <p:grpSpPr>
          <a:xfrm rot="5400000">
            <a:off x="5801032" y="467032"/>
            <a:ext cx="589936" cy="12192000"/>
            <a:chOff x="8524568" y="0"/>
            <a:chExt cx="589936" cy="6858000"/>
          </a:xfrm>
        </p:grpSpPr>
        <p:sp>
          <p:nvSpPr>
            <p:cNvPr id="10" name="Rectangle 9"/>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1" name="Straight Connector 10"/>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2"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3"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4"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702262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quare with Caption">
    <p:spTree>
      <p:nvGrpSpPr>
        <p:cNvPr id="1" name=""/>
        <p:cNvGrpSpPr/>
        <p:nvPr/>
      </p:nvGrpSpPr>
      <p:grpSpPr>
        <a:xfrm>
          <a:off x="0" y="0"/>
          <a:ext cx="0" cy="0"/>
          <a:chOff x="0" y="0"/>
          <a:chExt cx="0" cy="0"/>
        </a:xfrm>
      </p:grpSpPr>
      <p:sp>
        <p:nvSpPr>
          <p:cNvPr id="8" name="Rectangle 7"/>
          <p:cNvSpPr/>
          <p:nvPr userDrawn="1"/>
        </p:nvSpPr>
        <p:spPr>
          <a:xfrm rot="5400000">
            <a:off x="5825613" y="442451"/>
            <a:ext cx="540774" cy="12192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9" name="Straight Connector 8"/>
          <p:cNvCxnSpPr/>
          <p:nvPr userDrawn="1"/>
        </p:nvCxnSpPr>
        <p:spPr>
          <a:xfrm rot="10800000">
            <a:off x="0" y="6858000"/>
            <a:ext cx="12192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userDrawn="1">
            <p:ph type="dt" sz="half" idx="10"/>
          </p:nvPr>
        </p:nvSpPr>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4" name="Footer Placeholder 3"/>
          <p:cNvSpPr>
            <a:spLocks noGrp="1"/>
          </p:cNvSpPr>
          <p:nvPr userDrawn="1">
            <p:ph type="ftr" sz="quarter" idx="11"/>
          </p:nvPr>
        </p:nvSpPr>
        <p:spPr/>
        <p:txBody>
          <a:bodyPr/>
          <a:lstStyle>
            <a:lvl1pPr>
              <a:defRPr>
                <a:solidFill>
                  <a:schemeClr val="bg1"/>
                </a:solidFill>
              </a:defRPr>
            </a:lvl1pPr>
          </a:lstStyle>
          <a:p>
            <a:endParaRPr lang="en-US" dirty="0">
              <a:solidFill>
                <a:prstClr val="white"/>
              </a:solidFill>
            </a:endParaRPr>
          </a:p>
        </p:txBody>
      </p:sp>
      <p:sp>
        <p:nvSpPr>
          <p:cNvPr id="5" name="Slide Number Placeholder 4"/>
          <p:cNvSpPr>
            <a:spLocks noGrp="1"/>
          </p:cNvSpPr>
          <p:nvPr userDrawn="1">
            <p:ph type="sldNum" sz="quarter" idx="12"/>
          </p:nvPr>
        </p:nvSpPr>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
        <p:nvSpPr>
          <p:cNvPr id="6" name="W¥ل云玗İαЂôÁûÂÚ丫:Pïçtúrê Plå¢éhõlðér 表¥鷗字㌍ 表_W 3"/>
          <p:cNvSpPr>
            <a:spLocks noGrp="1" noChangeAspect="1"/>
          </p:cNvSpPr>
          <p:nvPr userDrawn="1">
            <p:ph type="pic" sz="quarter" idx="13"/>
          </p:nvPr>
        </p:nvSpPr>
        <p:spPr>
          <a:xfrm>
            <a:off x="3965432" y="609600"/>
            <a:ext cx="4264169" cy="320040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sz="2400" i="0"/>
              <a:t>按一下圖示以新增圖片</a:t>
            </a:r>
            <a:endParaRPr lang="en-US" sz="2400" i="0" dirty="0"/>
          </a:p>
        </p:txBody>
      </p:sp>
      <p:sp>
        <p:nvSpPr>
          <p:cNvPr id="7" name="W¥ل云玗İαЂÕØÚáÛ丫:Téxt Plàçèhòlðêr 表¥鷗字㌍_W 6"/>
          <p:cNvSpPr>
            <a:spLocks noGrp="1"/>
          </p:cNvSpPr>
          <p:nvPr userDrawn="1">
            <p:ph type="body" sz="quarter" idx="15" hasCustomPrompt="1"/>
          </p:nvPr>
        </p:nvSpPr>
        <p:spPr>
          <a:xfrm>
            <a:off x="3962400" y="4038600"/>
            <a:ext cx="4267200" cy="1600200"/>
          </a:xfrm>
        </p:spPr>
        <p:txBody>
          <a:bodyPr tIns="91440" rIns="9144" bIns="91440" anchor="t"/>
          <a:lstStyle>
            <a:lvl1pPr marL="0" marR="0" indent="0" algn="l">
              <a:buFontTx/>
              <a:buNone/>
              <a:defRPr sz="1800" i="0">
                <a:solidFill>
                  <a:schemeClr val="tx1">
                    <a:lumMod val="75000"/>
                    <a:lumOff val="25000"/>
                  </a:schemeClr>
                </a:solidFill>
              </a:defRPr>
            </a:lvl1pPr>
            <a:extLst/>
          </a:lstStyle>
          <a:p>
            <a:pPr lvl="0"/>
            <a:r>
              <a:rPr lang="en-US" dirty="0"/>
              <a:t>Click to add caption</a:t>
            </a:r>
          </a:p>
        </p:txBody>
      </p:sp>
    </p:spTree>
    <p:extLst>
      <p:ext uri="{BB962C8B-B14F-4D97-AF65-F5344CB8AC3E}">
        <p14:creationId xmlns:p14="http://schemas.microsoft.com/office/powerpoint/2010/main" val="234319940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Portrait with Capti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8"/>
          <p:cNvSpPr>
            <a:spLocks noGrp="1"/>
          </p:cNvSpPr>
          <p:nvPr>
            <p:ph type="pic" sz="quarter" idx="13"/>
          </p:nvPr>
        </p:nvSpPr>
        <p:spPr>
          <a:xfrm>
            <a:off x="860936" y="290540"/>
            <a:ext cx="5743065" cy="5729260"/>
          </a:xfrm>
          <a:solidFill>
            <a:srgbClr val="F0F0F0"/>
          </a:solidFill>
          <a:ln w="57150">
            <a:solidFill>
              <a:schemeClr val="bg1"/>
            </a:solidFill>
          </a:ln>
          <a:effectLst>
            <a:outerShdw dist="38100" dir="2700000" algn="tl" rotWithShape="0">
              <a:prstClr val="black">
                <a:alpha val="17000"/>
              </a:prstClr>
            </a:outerShdw>
          </a:effectLst>
        </p:spPr>
        <p:txBody>
          <a:bodyPr vert="horz" lIns="91440" tIns="45720" rIns="91440" bIns="45720" rtlCol="0">
            <a:normAutofit/>
          </a:bodyPr>
          <a:lstStyle>
            <a:lvl1pPr marL="0" marR="0" indent="1588" algn="ctr" defTabSz="914400" rtl="0" eaLnBrk="1" latinLnBrk="0" hangingPunct="1">
              <a:spcBef>
                <a:spcPct val="20000"/>
              </a:spcBef>
              <a:buFontTx/>
              <a:buNone/>
              <a:defRPr lang="en-US" sz="2000" i="0" kern="1200" dirty="0">
                <a:solidFill>
                  <a:schemeClr val="tx1">
                    <a:lumMod val="65000"/>
                    <a:lumOff val="35000"/>
                  </a:schemeClr>
                </a:solidFill>
                <a:latin typeface="+mn-lt"/>
                <a:ea typeface="+mn-ea"/>
                <a:cs typeface="+mn-cs"/>
              </a:defRPr>
            </a:lvl1pPr>
            <a:extLst/>
          </a:lstStyle>
          <a:p>
            <a:pPr marL="0" marR="0" indent="1588" algn="ctr" rtl="0" latinLnBrk="0">
              <a:spcBef>
                <a:spcPct val="20000"/>
              </a:spcBef>
              <a:buFontTx/>
              <a:buNone/>
            </a:pPr>
            <a:r>
              <a:rPr lang="zh-TW" altLang="en-US" i="0"/>
              <a:t>按一下圖示以新增圖片</a:t>
            </a:r>
            <a:endParaRPr lang="en-US" i="0" dirty="0"/>
          </a:p>
        </p:txBody>
      </p:sp>
      <p:sp>
        <p:nvSpPr>
          <p:cNvPr id="10" name="Rectangle 6"/>
          <p:cNvSpPr>
            <a:spLocks noGrp="1"/>
          </p:cNvSpPr>
          <p:nvPr>
            <p:ph type="body" sz="quarter" idx="14" hasCustomPrompt="1"/>
          </p:nvPr>
        </p:nvSpPr>
        <p:spPr>
          <a:xfrm>
            <a:off x="7124700" y="2859716"/>
            <a:ext cx="4241800" cy="3181350"/>
          </a:xfrm>
        </p:spPr>
        <p:txBody>
          <a:bodyPr tIns="91440" bIns="91440" anchor="b" anchorCtr="0">
            <a:noAutofit/>
          </a:bodyPr>
          <a:lstStyle>
            <a:lvl1pPr marL="0" marR="0" indent="0" algn="l" rtl="0" latinLnBrk="0">
              <a:spcBef>
                <a:spcPct val="20000"/>
              </a:spcBef>
              <a:buFontTx/>
              <a:buNone/>
              <a:defRPr sz="1800" i="0" baseline="0">
                <a:solidFill>
                  <a:schemeClr val="tx1">
                    <a:lumMod val="75000"/>
                    <a:lumOff val="25000"/>
                  </a:schemeClr>
                </a:solidFill>
                <a:latin typeface="+mn-lt"/>
                <a:ea typeface="+mn-ea"/>
                <a:cs typeface="+mn-cs"/>
              </a:defRPr>
            </a:lvl1pPr>
            <a:extLst/>
          </a:lstStyle>
          <a:p>
            <a:pPr lvl="0"/>
            <a:r>
              <a:rPr lang="en-US" dirty="0"/>
              <a:t>Click to add caption</a:t>
            </a:r>
          </a:p>
        </p:txBody>
      </p:sp>
      <p:grpSp>
        <p:nvGrpSpPr>
          <p:cNvPr id="13" name="Group 12"/>
          <p:cNvGrpSpPr/>
          <p:nvPr userDrawn="1"/>
        </p:nvGrpSpPr>
        <p:grpSpPr>
          <a:xfrm rot="5400000">
            <a:off x="5801032" y="467032"/>
            <a:ext cx="589936" cy="12192000"/>
            <a:chOff x="8524568" y="0"/>
            <a:chExt cx="589936" cy="6858000"/>
          </a:xfrm>
        </p:grpSpPr>
        <p:sp>
          <p:nvSpPr>
            <p:cNvPr id="14" name="Rectangle 13"/>
            <p:cNvSpPr/>
            <p:nvPr userDrawn="1"/>
          </p:nvSpPr>
          <p:spPr>
            <a:xfrm>
              <a:off x="8524568" y="0"/>
              <a:ext cx="540774" cy="6858000"/>
            </a:xfrm>
            <a:prstGeom prst="rect">
              <a:avLst/>
            </a:prstGeom>
            <a:solidFill>
              <a:srgbClr val="FC7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C7500"/>
                </a:solidFill>
              </a:endParaRPr>
            </a:p>
          </p:txBody>
        </p:sp>
        <p:cxnSp>
          <p:nvCxnSpPr>
            <p:cNvPr id="15" name="Straight Connector 14"/>
            <p:cNvCxnSpPr/>
            <p:nvPr userDrawn="1"/>
          </p:nvCxnSpPr>
          <p:spPr>
            <a:xfrm rot="5400000">
              <a:off x="5685504" y="3429000"/>
              <a:ext cx="6858000" cy="0"/>
            </a:xfrm>
            <a:prstGeom prst="line">
              <a:avLst/>
            </a:prstGeom>
            <a:ln w="50800">
              <a:solidFill>
                <a:srgbClr val="FC7500"/>
              </a:solidFill>
            </a:ln>
          </p:spPr>
          <p:style>
            <a:lnRef idx="1">
              <a:schemeClr val="accent1"/>
            </a:lnRef>
            <a:fillRef idx="0">
              <a:schemeClr val="accent1"/>
            </a:fillRef>
            <a:effectRef idx="0">
              <a:schemeClr val="accent1"/>
            </a:effectRef>
            <a:fontRef idx="minor">
              <a:schemeClr val="tx1"/>
            </a:fontRef>
          </p:style>
        </p:cxnSp>
      </p:grpSp>
      <p:sp>
        <p:nvSpPr>
          <p:cNvPr id="16" name="Date Placeholder 2"/>
          <p:cNvSpPr>
            <a:spLocks noGrp="1"/>
          </p:cNvSpPr>
          <p:nvPr>
            <p:ph type="dt" sz="half" idx="10"/>
          </p:nvPr>
        </p:nvSpPr>
        <p:spPr>
          <a:xfrm>
            <a:off x="609600" y="6553200"/>
            <a:ext cx="2844800" cy="304800"/>
          </a:xfrm>
        </p:spPr>
        <p:txBody>
          <a:bodyPr/>
          <a:lstStyle>
            <a:lvl1pPr>
              <a:defRPr>
                <a:solidFill>
                  <a:schemeClr val="bg1"/>
                </a:solidFill>
              </a:defRPr>
            </a:lvl1pPr>
          </a:lstStyle>
          <a:p>
            <a:fld id="{EFEED2B4-868F-4681-9E70-FF7ECCDC67D4}" type="datetimeFigureOut">
              <a:rPr lang="en-US" smtClean="0">
                <a:solidFill>
                  <a:prstClr val="white"/>
                </a:solidFill>
              </a:rPr>
              <a:pPr/>
              <a:t>1/7/2021</a:t>
            </a:fld>
            <a:endParaRPr lang="en-US" dirty="0">
              <a:solidFill>
                <a:prstClr val="white"/>
              </a:solidFill>
            </a:endParaRPr>
          </a:p>
        </p:txBody>
      </p:sp>
      <p:sp>
        <p:nvSpPr>
          <p:cNvPr id="17" name="Footer Placeholder 3"/>
          <p:cNvSpPr>
            <a:spLocks noGrp="1"/>
          </p:cNvSpPr>
          <p:nvPr>
            <p:ph type="ftr" sz="quarter" idx="11"/>
          </p:nvPr>
        </p:nvSpPr>
        <p:spPr>
          <a:xfrm>
            <a:off x="4165600" y="6553200"/>
            <a:ext cx="3860800" cy="304800"/>
          </a:xfrm>
        </p:spPr>
        <p:txBody>
          <a:bodyPr/>
          <a:lstStyle>
            <a:lvl1pPr>
              <a:defRPr>
                <a:solidFill>
                  <a:schemeClr val="bg1"/>
                </a:solidFill>
              </a:defRPr>
            </a:lvl1pPr>
          </a:lstStyle>
          <a:p>
            <a:endParaRPr lang="en-US" dirty="0">
              <a:solidFill>
                <a:prstClr val="white"/>
              </a:solidFill>
            </a:endParaRPr>
          </a:p>
        </p:txBody>
      </p:sp>
      <p:sp>
        <p:nvSpPr>
          <p:cNvPr id="18" name="Slide Number Placeholder 4"/>
          <p:cNvSpPr>
            <a:spLocks noGrp="1"/>
          </p:cNvSpPr>
          <p:nvPr>
            <p:ph type="sldNum" sz="quarter" idx="12"/>
          </p:nvPr>
        </p:nvSpPr>
        <p:spPr>
          <a:xfrm>
            <a:off x="8737600" y="6553200"/>
            <a:ext cx="2844800" cy="304800"/>
          </a:xfrm>
        </p:spPr>
        <p:txBody>
          <a:bodyPr/>
          <a:lstStyle>
            <a:lvl1pPr>
              <a:defRPr>
                <a:solidFill>
                  <a:schemeClr val="bg1"/>
                </a:solidFill>
              </a:defRPr>
            </a:lvl1pPr>
          </a:lstStyle>
          <a:p>
            <a:fld id="{80F88FF4-1BD9-4AA8-B980-C7776087ABAF}"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33430395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Photo with Title">
    <p:spTree>
      <p:nvGrpSpPr>
        <p:cNvPr id="1" name=""/>
        <p:cNvGrpSpPr/>
        <p:nvPr/>
      </p:nvGrpSpPr>
      <p:grpSpPr>
        <a:xfrm>
          <a:off x="0" y="0"/>
          <a:ext cx="0" cy="0"/>
          <a:chOff x="0" y="0"/>
          <a:chExt cx="0" cy="0"/>
        </a:xfrm>
      </p:grpSpPr>
      <p:sp>
        <p:nvSpPr>
          <p:cNvPr id="8" name="Rectangle 7"/>
          <p:cNvSpPr/>
          <p:nvPr userDrawn="1"/>
        </p:nvSpPr>
        <p:spPr>
          <a:xfrm>
            <a:off x="0" y="6096000"/>
            <a:ext cx="11379200"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7" name="Picture Placeholder 6"/>
          <p:cNvSpPr>
            <a:spLocks noGrp="1"/>
          </p:cNvSpPr>
          <p:nvPr>
            <p:ph type="pic" sz="quarter" idx="10"/>
          </p:nvPr>
        </p:nvSpPr>
        <p:spPr>
          <a:xfrm>
            <a:off x="0" y="0"/>
            <a:ext cx="11379200" cy="6096000"/>
          </a:xfrm>
        </p:spPr>
        <p:txBody>
          <a:bodyPr/>
          <a:lstStyle>
            <a:lvl1pPr algn="ctr">
              <a:buNone/>
              <a:defRPr>
                <a:solidFill>
                  <a:schemeClr val="tx1">
                    <a:lumMod val="85000"/>
                    <a:lumOff val="15000"/>
                  </a:schemeClr>
                </a:solidFill>
              </a:defRPr>
            </a:lvl1pPr>
          </a:lstStyle>
          <a:p>
            <a:r>
              <a:rPr lang="zh-TW" altLang="en-US"/>
              <a:t>按一下圖示以新增圖片</a:t>
            </a:r>
            <a:endParaRPr lang="en-US" dirty="0"/>
          </a:p>
        </p:txBody>
      </p:sp>
      <p:sp>
        <p:nvSpPr>
          <p:cNvPr id="2" name="Title 1"/>
          <p:cNvSpPr>
            <a:spLocks noGrp="1"/>
          </p:cNvSpPr>
          <p:nvPr>
            <p:ph type="title"/>
          </p:nvPr>
        </p:nvSpPr>
        <p:spPr>
          <a:xfrm>
            <a:off x="203200" y="6172200"/>
            <a:ext cx="10972800" cy="571500"/>
          </a:xfrm>
        </p:spPr>
        <p:txBody>
          <a:bodyPr>
            <a:noAutofit/>
          </a:bodyPr>
          <a:lstStyle>
            <a:lvl1pPr algn="l">
              <a:defRPr sz="3600" b="1">
                <a:solidFill>
                  <a:schemeClr val="tx1">
                    <a:lumMod val="85000"/>
                    <a:lumOff val="15000"/>
                  </a:schemeClr>
                </a:solidFill>
              </a:defRPr>
            </a:lvl1pPr>
          </a:lstStyle>
          <a:p>
            <a:r>
              <a:rPr lang="zh-TW" altLang="en-US"/>
              <a:t>按一下以編輯母片標題樣式</a:t>
            </a:r>
            <a:endParaRPr lang="en-US" dirty="0"/>
          </a:p>
        </p:txBody>
      </p:sp>
    </p:spTree>
    <p:extLst>
      <p:ext uri="{BB962C8B-B14F-4D97-AF65-F5344CB8AC3E}">
        <p14:creationId xmlns:p14="http://schemas.microsoft.com/office/powerpoint/2010/main" val="179947963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Full Page Photo with Title">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
        <p:nvSpPr>
          <p:cNvPr id="8" name="Rectangle 6"/>
          <p:cNvSpPr>
            <a:spLocks noGrp="1" noChangeAspect="1"/>
          </p:cNvSpPr>
          <p:nvPr>
            <p:ph type="pic" sz="quarter" idx="13"/>
          </p:nvPr>
        </p:nvSpPr>
        <p:spPr>
          <a:xfrm>
            <a:off x="0" y="0"/>
            <a:ext cx="12192000" cy="6858000"/>
          </a:xfrm>
          <a:noFill/>
          <a:ln w="25400"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t">
            <a:normAutofit/>
          </a:bodyPr>
          <a:lstStyle>
            <a:lvl1pPr marL="0" marR="0" indent="0" algn="ctr" rtl="0" latinLnBrk="0">
              <a:spcBef>
                <a:spcPct val="20000"/>
              </a:spcBef>
              <a:buFontTx/>
              <a:buNone/>
              <a:defRPr sz="2400" i="0">
                <a:solidFill>
                  <a:schemeClr val="tx1">
                    <a:lumMod val="75000"/>
                    <a:lumOff val="25000"/>
                  </a:schemeClr>
                </a:solidFill>
                <a:latin typeface="+mn-lt"/>
                <a:ea typeface="+mn-ea"/>
                <a:cs typeface="+mn-cs"/>
              </a:defRPr>
            </a:lvl1pPr>
            <a:extLst/>
          </a:lstStyle>
          <a:p>
            <a:pPr marL="0" marR="0" indent="0" algn="ctr">
              <a:buFontTx/>
              <a:buNone/>
            </a:pPr>
            <a:r>
              <a:rPr lang="zh-TW" altLang="en-US" i="0"/>
              <a:t>按一下圖示以新增圖片</a:t>
            </a:r>
            <a:endParaRPr lang="en-US" i="0" dirty="0"/>
          </a:p>
        </p:txBody>
      </p:sp>
      <p:sp>
        <p:nvSpPr>
          <p:cNvPr id="12" name="Text Placeholder 10"/>
          <p:cNvSpPr>
            <a:spLocks noGrp="1"/>
          </p:cNvSpPr>
          <p:nvPr>
            <p:ph type="body" sz="quarter" idx="14" hasCustomPrompt="1"/>
          </p:nvPr>
        </p:nvSpPr>
        <p:spPr>
          <a:xfrm>
            <a:off x="6807200" y="5257801"/>
            <a:ext cx="5384800" cy="505047"/>
          </a:xfrm>
          <a:solidFill>
            <a:schemeClr val="tx1">
              <a:alpha val="46000"/>
            </a:schemeClr>
          </a:solidFill>
        </p:spPr>
        <p:txBody>
          <a:bodyPr>
            <a:normAutofit/>
          </a:bodyPr>
          <a:lstStyle>
            <a:lvl1pPr>
              <a:buNone/>
              <a:defRPr sz="2800" baseline="0">
                <a:solidFill>
                  <a:schemeClr val="bg1"/>
                </a:solidFill>
              </a:defRPr>
            </a:lvl1pPr>
          </a:lstStyle>
          <a:p>
            <a:pPr lvl="0"/>
            <a:r>
              <a:rPr lang="en-US" dirty="0"/>
              <a:t>Click to add Title</a:t>
            </a:r>
          </a:p>
        </p:txBody>
      </p:sp>
    </p:spTree>
    <p:extLst>
      <p:ext uri="{BB962C8B-B14F-4D97-AF65-F5344CB8AC3E}">
        <p14:creationId xmlns:p14="http://schemas.microsoft.com/office/powerpoint/2010/main" val="95064343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lank with Color">
    <p:spTree>
      <p:nvGrpSpPr>
        <p:cNvPr id="1" name=""/>
        <p:cNvGrpSpPr/>
        <p:nvPr/>
      </p:nvGrpSpPr>
      <p:grpSpPr>
        <a:xfrm>
          <a:off x="0" y="0"/>
          <a:ext cx="0" cy="0"/>
          <a:chOff x="0" y="0"/>
          <a:chExt cx="0" cy="0"/>
        </a:xfrm>
      </p:grpSpPr>
      <p:sp>
        <p:nvSpPr>
          <p:cNvPr id="5" name="Date Placeholder 3"/>
          <p:cNvSpPr>
            <a:spLocks noGrp="1"/>
          </p:cNvSpPr>
          <p:nvPr>
            <p:ph type="dt" sz="half" idx="10"/>
          </p:nvPr>
        </p:nvSpPr>
        <p:spPr>
          <a:xfrm>
            <a:off x="609600" y="6553200"/>
            <a:ext cx="2844800" cy="304800"/>
          </a:xfrm>
        </p:spPr>
        <p:txBody>
          <a:bodyPr/>
          <a:lstStyle/>
          <a:p>
            <a:fld id="{EFEED2B4-868F-4681-9E70-FF7ECCDC67D4}" type="datetimeFigureOut">
              <a:rPr lang="en-US" smtClean="0">
                <a:solidFill>
                  <a:prstClr val="black">
                    <a:tint val="75000"/>
                  </a:prstClr>
                </a:solidFill>
              </a:rPr>
              <a:pPr/>
              <a:t>1/7/2021</a:t>
            </a:fld>
            <a:endParaRPr lang="en-US">
              <a:solidFill>
                <a:prstClr val="black">
                  <a:tint val="75000"/>
                </a:prstClr>
              </a:solidFill>
            </a:endParaRPr>
          </a:p>
        </p:txBody>
      </p:sp>
      <p:sp>
        <p:nvSpPr>
          <p:cNvPr id="6" name="Footer Placeholder 4"/>
          <p:cNvSpPr>
            <a:spLocks noGrp="1"/>
          </p:cNvSpPr>
          <p:nvPr>
            <p:ph type="ftr" sz="quarter" idx="11"/>
          </p:nvPr>
        </p:nvSpPr>
        <p:spPr>
          <a:xfrm>
            <a:off x="3962400" y="6553200"/>
            <a:ext cx="3860800" cy="304800"/>
          </a:xfrm>
        </p:spPr>
        <p:txBody>
          <a:bodyPr/>
          <a:lstStyle/>
          <a:p>
            <a:endParaRPr lang="en-US">
              <a:solidFill>
                <a:prstClr val="black">
                  <a:tint val="75000"/>
                </a:prstClr>
              </a:solidFill>
            </a:endParaRPr>
          </a:p>
        </p:txBody>
      </p:sp>
      <p:sp>
        <p:nvSpPr>
          <p:cNvPr id="7" name="Slide Number Placeholder 5"/>
          <p:cNvSpPr>
            <a:spLocks noGrp="1"/>
          </p:cNvSpPr>
          <p:nvPr>
            <p:ph type="sldNum" sz="quarter" idx="12"/>
          </p:nvPr>
        </p:nvSpPr>
        <p:spPr>
          <a:xfrm>
            <a:off x="8331200" y="6553200"/>
            <a:ext cx="2743200" cy="304800"/>
          </a:xfrm>
        </p:spPr>
        <p:txBody>
          <a:bodyPr/>
          <a:lstStyle/>
          <a:p>
            <a:fld id="{80F88FF4-1BD9-4AA8-B980-C7776087ABAF}"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764662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baseline="0"/>
            </a:lvl1pPr>
          </a:lstStyle>
          <a:p>
            <a:r>
              <a:rPr lang="zh-TW" altLang="en-US"/>
              <a:t>按一下以編輯母片標題樣式</a:t>
            </a:r>
            <a:endParaRPr lang="en-US" dirty="0"/>
          </a:p>
        </p:txBody>
      </p:sp>
      <p:sp>
        <p:nvSpPr>
          <p:cNvPr id="3" name="Content Placeholder 2"/>
          <p:cNvSpPr>
            <a:spLocks noGrp="1"/>
          </p:cNvSpPr>
          <p:nvPr>
            <p:ph idx="1"/>
          </p:nvPr>
        </p:nvSpPr>
        <p:spPr>
          <a:xfrm>
            <a:off x="3867912" y="868680"/>
            <a:ext cx="7315200" cy="5120640"/>
          </a:xfr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Text Placeholder 3"/>
          <p:cNvSpPr>
            <a:spLocks noGrp="1"/>
          </p:cNvSpPr>
          <p:nvPr>
            <p:ph type="body" sz="half" idx="2"/>
          </p:nvPr>
        </p:nvSpPr>
        <p:spPr>
          <a:xfrm>
            <a:off x="256032" y="3494176"/>
            <a:ext cx="2834640" cy="2321990"/>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8" name="Date Placeholder 7"/>
          <p:cNvSpPr>
            <a:spLocks noGrp="1"/>
          </p:cNvSpPr>
          <p:nvPr>
            <p:ph type="dt" sz="half" idx="10"/>
          </p:nvPr>
        </p:nvSpPr>
        <p:spPr/>
        <p:txBody>
          <a:bodyPr/>
          <a:lstStyle/>
          <a:p>
            <a:fld id="{9BA3A13D-7ACC-4350-B368-5F9372CAD98C}" type="datetimeFigureOut">
              <a:rPr lang="zh-TW" altLang="en-US" smtClean="0"/>
              <a:pPr/>
              <a:t>2021/1/7</a:t>
            </a:fld>
            <a:endParaRPr lang="zh-TW" altLang="en-US"/>
          </a:p>
        </p:txBody>
      </p:sp>
      <p:sp>
        <p:nvSpPr>
          <p:cNvPr id="9" name="Footer Placeholder 8"/>
          <p:cNvSpPr>
            <a:spLocks noGrp="1"/>
          </p:cNvSpPr>
          <p:nvPr>
            <p:ph type="ftr" sz="quarter" idx="11"/>
          </p:nvPr>
        </p:nvSpPr>
        <p:spPr/>
        <p:txBody>
          <a:bodyPr/>
          <a:lstStyle/>
          <a:p>
            <a:endParaRPr lang="zh-TW" altLang="en-US"/>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55825156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空白">
    <p:bg>
      <p:bgRef idx="1001">
        <a:schemeClr val="bg1"/>
      </p:bgRef>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FF934E2-BBB6-4D34-BB01-078E9AA25260}" type="datetimeFigureOut">
              <a:rPr lang="en-US" smtClean="0">
                <a:solidFill>
                  <a:srgbClr val="000000">
                    <a:lumMod val="50000"/>
                    <a:lumOff val="50000"/>
                  </a:srgbClr>
                </a:solidFill>
              </a:rPr>
              <a:pPr/>
              <a:t>1/7/2021</a:t>
            </a:fld>
            <a:endParaRPr lang="en-US" dirty="0">
              <a:solidFill>
                <a:srgbClr val="000000">
                  <a:lumMod val="50000"/>
                  <a:lumOff val="50000"/>
                </a:srgbClr>
              </a:solidFill>
            </a:endParaRPr>
          </a:p>
        </p:txBody>
      </p:sp>
      <p:sp>
        <p:nvSpPr>
          <p:cNvPr id="3" name="Footer Placeholder 2"/>
          <p:cNvSpPr>
            <a:spLocks noGrp="1"/>
          </p:cNvSpPr>
          <p:nvPr>
            <p:ph type="ftr" sz="quarter" idx="11"/>
          </p:nvPr>
        </p:nvSpPr>
        <p:spPr/>
        <p:txBody>
          <a:bodyPr/>
          <a:lstStyle/>
          <a:p>
            <a:endParaRPr lang="en-US" dirty="0">
              <a:solidFill>
                <a:srgbClr val="000000">
                  <a:lumMod val="50000"/>
                  <a:lumOff val="50000"/>
                </a:srgbClr>
              </a:solidFill>
            </a:endParaRPr>
          </a:p>
        </p:txBody>
      </p:sp>
      <p:sp>
        <p:nvSpPr>
          <p:cNvPr id="4" name="Slide Number Placeholder 3"/>
          <p:cNvSpPr>
            <a:spLocks noGrp="1"/>
          </p:cNvSpPr>
          <p:nvPr>
            <p:ph type="sldNum" sz="quarter" idx="12"/>
          </p:nvPr>
        </p:nvSpPr>
        <p:spPr/>
        <p:txBody>
          <a:bodyPr/>
          <a:lstStyle/>
          <a:p>
            <a:fld id="{73820FCD-5F4C-4989-BE05-0A8208BCBC21}" type="slidenum">
              <a:rPr lang="en-US" smtClean="0">
                <a:solidFill>
                  <a:srgbClr val="40BAD2"/>
                </a:solidFill>
              </a:rPr>
              <a:pPr/>
              <a:t>‹#›</a:t>
            </a:fld>
            <a:endParaRPr lang="en-US" dirty="0">
              <a:solidFill>
                <a:srgbClr val="40BAD2"/>
              </a:solidFill>
            </a:endParaRPr>
          </a:p>
        </p:txBody>
      </p:sp>
    </p:spTree>
    <p:extLst>
      <p:ext uri="{BB962C8B-B14F-4D97-AF65-F5344CB8AC3E}">
        <p14:creationId xmlns:p14="http://schemas.microsoft.com/office/powerpoint/2010/main" val="1725411213"/>
      </p:ext>
    </p:extLst>
  </p:cSld>
  <p:clrMapOvr>
    <a:overrideClrMapping bg1="lt1" tx1="dk1" bg2="lt2" tx2="dk2" accent1="accent1" accent2="accent2" accent3="accent3" accent4="accent4" accent5="accent5" accent6="accent6" hlink="hlink" folHlink="folHlink"/>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1_含標題的內容">
    <p:spTree>
      <p:nvGrpSpPr>
        <p:cNvPr id="1" name=""/>
        <p:cNvGrpSpPr/>
        <p:nvPr/>
      </p:nvGrpSpPr>
      <p:grpSpPr>
        <a:xfrm>
          <a:off x="0" y="0"/>
          <a:ext cx="0" cy="0"/>
          <a:chOff x="0" y="0"/>
          <a:chExt cx="0" cy="0"/>
        </a:xfrm>
      </p:grpSpPr>
      <p:sp>
        <p:nvSpPr>
          <p:cNvPr id="3" name="Content Placeholder 2"/>
          <p:cNvSpPr>
            <a:spLocks noGrp="1"/>
          </p:cNvSpPr>
          <p:nvPr>
            <p:ph idx="1"/>
          </p:nvPr>
        </p:nvSpPr>
        <p:spPr>
          <a:xfrm>
            <a:off x="4258733" y="1066801"/>
            <a:ext cx="6815667" cy="467836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Text Placeholder 3"/>
          <p:cNvSpPr>
            <a:spLocks noGrp="1"/>
          </p:cNvSpPr>
          <p:nvPr>
            <p:ph type="body" sz="half" idx="2"/>
          </p:nvPr>
        </p:nvSpPr>
        <p:spPr>
          <a:xfrm>
            <a:off x="1219200" y="1066801"/>
            <a:ext cx="3149600" cy="4373563"/>
          </a:xfrm>
        </p:spPr>
        <p:txBody>
          <a:bodyPr>
            <a:normAutofit/>
          </a:bodyPr>
          <a:lstStyle>
            <a:lvl1pPr marL="0" indent="0">
              <a:lnSpc>
                <a:spcPts val="1600"/>
              </a:lnSpc>
              <a:buNone/>
              <a:defRPr sz="12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12" name="Slide Number Placeholder 11"/>
          <p:cNvSpPr>
            <a:spLocks noGrp="1"/>
          </p:cNvSpPr>
          <p:nvPr>
            <p:ph type="sldNum" sz="quarter" idx="14"/>
          </p:nvPr>
        </p:nvSpPr>
        <p:spPr/>
        <p:txBody>
          <a:bodyPr/>
          <a:lstStyle/>
          <a:p>
            <a:fld id="{81582BD6-FC20-4557-852B-8433F8572D30}" type="slidenum">
              <a:rPr lang="en-US" smtClean="0">
                <a:solidFill>
                  <a:srgbClr val="40BAD2"/>
                </a:solidFill>
              </a:rPr>
              <a:pPr/>
              <a:t>‹#›</a:t>
            </a:fld>
            <a:endParaRPr lang="en-US" dirty="0">
              <a:solidFill>
                <a:srgbClr val="40BAD2"/>
              </a:solidFill>
            </a:endParaRPr>
          </a:p>
        </p:txBody>
      </p:sp>
      <p:sp>
        <p:nvSpPr>
          <p:cNvPr id="13" name="Footer Placeholder 12"/>
          <p:cNvSpPr>
            <a:spLocks noGrp="1"/>
          </p:cNvSpPr>
          <p:nvPr>
            <p:ph type="ftr" sz="quarter" idx="15"/>
          </p:nvPr>
        </p:nvSpPr>
        <p:spPr/>
        <p:txBody>
          <a:bodyPr/>
          <a:lstStyle/>
          <a:p>
            <a:endParaRPr lang="en-US" dirty="0">
              <a:solidFill>
                <a:srgbClr val="000000">
                  <a:lumMod val="50000"/>
                  <a:lumOff val="50000"/>
                </a:srgbClr>
              </a:solidFill>
            </a:endParaRPr>
          </a:p>
        </p:txBody>
      </p:sp>
      <p:sp>
        <p:nvSpPr>
          <p:cNvPr id="14" name="Title 13"/>
          <p:cNvSpPr>
            <a:spLocks noGrp="1"/>
          </p:cNvSpPr>
          <p:nvPr>
            <p:ph type="title"/>
          </p:nvPr>
        </p:nvSpPr>
        <p:spPr>
          <a:xfrm>
            <a:off x="711200" y="198438"/>
            <a:ext cx="10972800" cy="639763"/>
          </a:xfrm>
        </p:spPr>
        <p:txBody>
          <a:bodyPr/>
          <a:lstStyle>
            <a:lvl1pPr algn="ctr">
              <a:defRPr>
                <a:solidFill>
                  <a:schemeClr val="bg1"/>
                </a:solidFill>
              </a:defRPr>
            </a:lvl1pPr>
          </a:lstStyle>
          <a:p>
            <a:r>
              <a:rPr lang="zh-TW" altLang="en-US"/>
              <a:t>按一下以編輯母片標題樣式</a:t>
            </a:r>
            <a:endParaRPr lang="en-US" dirty="0"/>
          </a:p>
        </p:txBody>
      </p:sp>
    </p:spTree>
    <p:extLst>
      <p:ext uri="{BB962C8B-B14F-4D97-AF65-F5344CB8AC3E}">
        <p14:creationId xmlns:p14="http://schemas.microsoft.com/office/powerpoint/2010/main" val="299670798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914400" y="2130430"/>
            <a:ext cx="10363200" cy="1470025"/>
          </a:xfrm>
        </p:spPr>
        <p:txBody>
          <a:bodyPr/>
          <a:lstStyle/>
          <a:p>
            <a:r>
              <a:rPr lang="zh-TW" altLang="en-US"/>
              <a:t>按一下以編輯母片標題樣式</a:t>
            </a:r>
          </a:p>
        </p:txBody>
      </p:sp>
      <p:sp>
        <p:nvSpPr>
          <p:cNvPr id="3" name="副標題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TW" altLang="en-US"/>
              <a:t>按一下以編輯母片副標題樣式</a:t>
            </a:r>
          </a:p>
        </p:txBody>
      </p:sp>
      <p:sp>
        <p:nvSpPr>
          <p:cNvPr id="4" name="Rectangle 4"/>
          <p:cNvSpPr>
            <a:spLocks noGrp="1" noChangeArrowheads="1"/>
          </p:cNvSpPr>
          <p:nvPr>
            <p:ph type="dt" sz="half" idx="10"/>
          </p:nvPr>
        </p:nvSpPr>
        <p:spPr>
          <a:ln/>
        </p:spPr>
        <p:txBody>
          <a:bodyPr/>
          <a:lstStyle>
            <a:lvl1pPr>
              <a:defRPr/>
            </a:lvl1pPr>
          </a:lstStyle>
          <a:p>
            <a:pPr>
              <a:defRPr/>
            </a:pPr>
            <a:endParaRPr lang="de-DE" altLang="zh-TW">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e-DE" altLang="zh-TW">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D0EE4B8-638F-43A5-8FE7-156E03180915}" type="slidenum">
              <a:rPr lang="de-DE" altLang="zh-TW">
                <a:solidFill>
                  <a:srgbClr val="000000"/>
                </a:solidFill>
              </a:rPr>
              <a:pPr>
                <a:defRPr/>
              </a:pPr>
              <a:t>‹#›</a:t>
            </a:fld>
            <a:endParaRPr lang="de-DE" altLang="zh-TW">
              <a:solidFill>
                <a:srgbClr val="000000"/>
              </a:solidFill>
            </a:endParaRPr>
          </a:p>
        </p:txBody>
      </p:sp>
    </p:spTree>
    <p:extLst>
      <p:ext uri="{BB962C8B-B14F-4D97-AF65-F5344CB8AC3E}">
        <p14:creationId xmlns:p14="http://schemas.microsoft.com/office/powerpoint/2010/main" val="339069006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Rectangle 4"/>
          <p:cNvSpPr>
            <a:spLocks noGrp="1" noChangeArrowheads="1"/>
          </p:cNvSpPr>
          <p:nvPr>
            <p:ph type="dt" sz="half" idx="10"/>
          </p:nvPr>
        </p:nvSpPr>
        <p:spPr>
          <a:ln/>
        </p:spPr>
        <p:txBody>
          <a:bodyPr/>
          <a:lstStyle>
            <a:lvl1pPr>
              <a:defRPr/>
            </a:lvl1pPr>
          </a:lstStyle>
          <a:p>
            <a:pPr>
              <a:defRPr/>
            </a:pPr>
            <a:endParaRPr lang="de-DE" altLang="zh-TW">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e-DE" altLang="zh-TW">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7DA73E0-D134-4F02-86D0-5E072295EFDF}" type="slidenum">
              <a:rPr lang="de-DE" altLang="zh-TW">
                <a:solidFill>
                  <a:srgbClr val="000000"/>
                </a:solidFill>
              </a:rPr>
              <a:pPr>
                <a:defRPr/>
              </a:pPr>
              <a:t>‹#›</a:t>
            </a:fld>
            <a:endParaRPr lang="de-DE" altLang="zh-TW">
              <a:solidFill>
                <a:srgbClr val="000000"/>
              </a:solidFill>
            </a:endParaRPr>
          </a:p>
        </p:txBody>
      </p:sp>
    </p:spTree>
    <p:extLst>
      <p:ext uri="{BB962C8B-B14F-4D97-AF65-F5344CB8AC3E}">
        <p14:creationId xmlns:p14="http://schemas.microsoft.com/office/powerpoint/2010/main" val="12562490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963084" y="4406905"/>
            <a:ext cx="10363200" cy="1362075"/>
          </a:xfrm>
        </p:spPr>
        <p:txBody>
          <a:bodyPr anchor="t"/>
          <a:lstStyle>
            <a:lvl1pPr algn="l">
              <a:defRPr sz="4000" b="1" cap="all"/>
            </a:lvl1pPr>
          </a:lstStyle>
          <a:p>
            <a:r>
              <a:rPr lang="zh-TW" altLang="en-US"/>
              <a:t>按一下以編輯母片標題樣式</a:t>
            </a:r>
          </a:p>
        </p:txBody>
      </p:sp>
      <p:sp>
        <p:nvSpPr>
          <p:cNvPr id="3" name="文字版面配置區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TW" altLang="en-US"/>
              <a:t>按一下以編輯母片文字樣式</a:t>
            </a:r>
          </a:p>
        </p:txBody>
      </p:sp>
      <p:sp>
        <p:nvSpPr>
          <p:cNvPr id="4" name="Rectangle 4"/>
          <p:cNvSpPr>
            <a:spLocks noGrp="1" noChangeArrowheads="1"/>
          </p:cNvSpPr>
          <p:nvPr>
            <p:ph type="dt" sz="half" idx="10"/>
          </p:nvPr>
        </p:nvSpPr>
        <p:spPr>
          <a:ln/>
        </p:spPr>
        <p:txBody>
          <a:bodyPr/>
          <a:lstStyle>
            <a:lvl1pPr>
              <a:defRPr/>
            </a:lvl1pPr>
          </a:lstStyle>
          <a:p>
            <a:pPr>
              <a:defRPr/>
            </a:pPr>
            <a:endParaRPr lang="de-DE" altLang="zh-TW">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e-DE" altLang="zh-TW">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7DB3F27-7BCB-4B6C-AB25-4E242D8F7334}" type="slidenum">
              <a:rPr lang="de-DE" altLang="zh-TW">
                <a:solidFill>
                  <a:srgbClr val="000000"/>
                </a:solidFill>
              </a:rPr>
              <a:pPr>
                <a:defRPr/>
              </a:pPr>
              <a:t>‹#›</a:t>
            </a:fld>
            <a:endParaRPr lang="de-DE" altLang="zh-TW">
              <a:solidFill>
                <a:srgbClr val="000000"/>
              </a:solidFill>
            </a:endParaRPr>
          </a:p>
        </p:txBody>
      </p:sp>
    </p:spTree>
    <p:extLst>
      <p:ext uri="{BB962C8B-B14F-4D97-AF65-F5344CB8AC3E}">
        <p14:creationId xmlns:p14="http://schemas.microsoft.com/office/powerpoint/2010/main" val="37108491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內容版面配置區 2"/>
          <p:cNvSpPr>
            <a:spLocks noGrp="1"/>
          </p:cNvSpPr>
          <p:nvPr>
            <p:ph sz="half" idx="1"/>
          </p:nvPr>
        </p:nvSpPr>
        <p:spPr>
          <a:xfrm>
            <a:off x="609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內容版面配置區 3"/>
          <p:cNvSpPr>
            <a:spLocks noGrp="1"/>
          </p:cNvSpPr>
          <p:nvPr>
            <p:ph sz="half" idx="2"/>
          </p:nvPr>
        </p:nvSpPr>
        <p:spPr>
          <a:xfrm>
            <a:off x="6197600" y="1600205"/>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Rectangle 4"/>
          <p:cNvSpPr>
            <a:spLocks noGrp="1" noChangeArrowheads="1"/>
          </p:cNvSpPr>
          <p:nvPr>
            <p:ph type="dt" sz="half" idx="10"/>
          </p:nvPr>
        </p:nvSpPr>
        <p:spPr>
          <a:ln/>
        </p:spPr>
        <p:txBody>
          <a:bodyPr/>
          <a:lstStyle>
            <a:lvl1pPr>
              <a:defRPr/>
            </a:lvl1pPr>
          </a:lstStyle>
          <a:p>
            <a:pPr>
              <a:defRPr/>
            </a:pPr>
            <a:endParaRPr lang="de-DE" altLang="zh-TW">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e-DE" altLang="zh-TW">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3119D2F-444C-4BB6-8271-37AD4538A29B}" type="slidenum">
              <a:rPr lang="de-DE" altLang="zh-TW">
                <a:solidFill>
                  <a:srgbClr val="000000"/>
                </a:solidFill>
              </a:rPr>
              <a:pPr>
                <a:defRPr/>
              </a:pPr>
              <a:t>‹#›</a:t>
            </a:fld>
            <a:endParaRPr lang="de-DE" altLang="zh-TW">
              <a:solidFill>
                <a:srgbClr val="000000"/>
              </a:solidFill>
            </a:endParaRPr>
          </a:p>
        </p:txBody>
      </p:sp>
    </p:spTree>
    <p:extLst>
      <p:ext uri="{BB962C8B-B14F-4D97-AF65-F5344CB8AC3E}">
        <p14:creationId xmlns:p14="http://schemas.microsoft.com/office/powerpoint/2010/main" val="405148173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lvl1pPr>
              <a:defRPr/>
            </a:lvl1pPr>
          </a:lstStyle>
          <a:p>
            <a:r>
              <a:rPr lang="zh-TW" altLang="en-US"/>
              <a:t>按一下以編輯母片標題樣式</a:t>
            </a:r>
          </a:p>
        </p:txBody>
      </p:sp>
      <p:sp>
        <p:nvSpPr>
          <p:cNvPr id="3" name="文字版面配置區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內容版面配置區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5" name="文字版面配置區 4"/>
          <p:cNvSpPr>
            <a:spLocks noGrp="1"/>
          </p:cNvSpPr>
          <p:nvPr>
            <p:ph type="body" sz="quarter" idx="3"/>
          </p:nvPr>
        </p:nvSpPr>
        <p:spPr>
          <a:xfrm>
            <a:off x="6193370"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內容版面配置區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7" name="Rectangle 4"/>
          <p:cNvSpPr>
            <a:spLocks noGrp="1" noChangeArrowheads="1"/>
          </p:cNvSpPr>
          <p:nvPr>
            <p:ph type="dt" sz="half" idx="10"/>
          </p:nvPr>
        </p:nvSpPr>
        <p:spPr>
          <a:ln/>
        </p:spPr>
        <p:txBody>
          <a:bodyPr/>
          <a:lstStyle>
            <a:lvl1pPr>
              <a:defRPr/>
            </a:lvl1pPr>
          </a:lstStyle>
          <a:p>
            <a:pPr>
              <a:defRPr/>
            </a:pPr>
            <a:endParaRPr lang="de-DE" altLang="zh-TW">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de-DE" altLang="zh-TW">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400CFA97-D8FB-4C5E-AD50-D8CBFAB6ECAC}" type="slidenum">
              <a:rPr lang="de-DE" altLang="zh-TW">
                <a:solidFill>
                  <a:srgbClr val="000000"/>
                </a:solidFill>
              </a:rPr>
              <a:pPr>
                <a:defRPr/>
              </a:pPr>
              <a:t>‹#›</a:t>
            </a:fld>
            <a:endParaRPr lang="de-DE" altLang="zh-TW">
              <a:solidFill>
                <a:srgbClr val="000000"/>
              </a:solidFill>
            </a:endParaRPr>
          </a:p>
        </p:txBody>
      </p:sp>
    </p:spTree>
    <p:extLst>
      <p:ext uri="{BB962C8B-B14F-4D97-AF65-F5344CB8AC3E}">
        <p14:creationId xmlns:p14="http://schemas.microsoft.com/office/powerpoint/2010/main" val="232639872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Rectangle 4"/>
          <p:cNvSpPr>
            <a:spLocks noGrp="1" noChangeArrowheads="1"/>
          </p:cNvSpPr>
          <p:nvPr>
            <p:ph type="dt" sz="half" idx="10"/>
          </p:nvPr>
        </p:nvSpPr>
        <p:spPr>
          <a:ln/>
        </p:spPr>
        <p:txBody>
          <a:bodyPr/>
          <a:lstStyle>
            <a:lvl1pPr>
              <a:defRPr/>
            </a:lvl1pPr>
          </a:lstStyle>
          <a:p>
            <a:pPr>
              <a:defRPr/>
            </a:pPr>
            <a:endParaRPr lang="de-DE" altLang="zh-TW">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de-DE" altLang="zh-TW">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5FC85864-7DDC-49BC-962A-EBB73088AFAA}" type="slidenum">
              <a:rPr lang="de-DE" altLang="zh-TW">
                <a:solidFill>
                  <a:srgbClr val="000000"/>
                </a:solidFill>
              </a:rPr>
              <a:pPr>
                <a:defRPr/>
              </a:pPr>
              <a:t>‹#›</a:t>
            </a:fld>
            <a:endParaRPr lang="de-DE" altLang="zh-TW">
              <a:solidFill>
                <a:srgbClr val="000000"/>
              </a:solidFill>
            </a:endParaRPr>
          </a:p>
        </p:txBody>
      </p:sp>
    </p:spTree>
    <p:extLst>
      <p:ext uri="{BB962C8B-B14F-4D97-AF65-F5344CB8AC3E}">
        <p14:creationId xmlns:p14="http://schemas.microsoft.com/office/powerpoint/2010/main" val="199079846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de-DE" altLang="zh-TW">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de-DE" altLang="zh-TW">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9309CABD-14EE-4FF7-856A-D6254A55E389}" type="slidenum">
              <a:rPr lang="de-DE" altLang="zh-TW">
                <a:solidFill>
                  <a:srgbClr val="000000"/>
                </a:solidFill>
              </a:rPr>
              <a:pPr>
                <a:defRPr/>
              </a:pPr>
              <a:t>‹#›</a:t>
            </a:fld>
            <a:endParaRPr lang="de-DE" altLang="zh-TW">
              <a:solidFill>
                <a:srgbClr val="000000"/>
              </a:solidFill>
            </a:endParaRPr>
          </a:p>
        </p:txBody>
      </p:sp>
    </p:spTree>
    <p:extLst>
      <p:ext uri="{BB962C8B-B14F-4D97-AF65-F5344CB8AC3E}">
        <p14:creationId xmlns:p14="http://schemas.microsoft.com/office/powerpoint/2010/main" val="317387256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609603" y="273050"/>
            <a:ext cx="4011084" cy="1162050"/>
          </a:xfrm>
        </p:spPr>
        <p:txBody>
          <a:bodyPr anchor="b"/>
          <a:lstStyle>
            <a:lvl1pPr algn="l">
              <a:defRPr sz="2000" b="1"/>
            </a:lvl1pPr>
          </a:lstStyle>
          <a:p>
            <a:r>
              <a:rPr lang="zh-TW" altLang="en-US"/>
              <a:t>按一下以編輯母片標題樣式</a:t>
            </a:r>
          </a:p>
        </p:txBody>
      </p:sp>
      <p:sp>
        <p:nvSpPr>
          <p:cNvPr id="3" name="內容版面配置區 2"/>
          <p:cNvSpPr>
            <a:spLocks noGrp="1"/>
          </p:cNvSpPr>
          <p:nvPr>
            <p:ph idx="1"/>
          </p:nvPr>
        </p:nvSpPr>
        <p:spPr>
          <a:xfrm>
            <a:off x="4766733"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文字版面配置區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Rectangle 4"/>
          <p:cNvSpPr>
            <a:spLocks noGrp="1" noChangeArrowheads="1"/>
          </p:cNvSpPr>
          <p:nvPr>
            <p:ph type="dt" sz="half" idx="10"/>
          </p:nvPr>
        </p:nvSpPr>
        <p:spPr>
          <a:ln/>
        </p:spPr>
        <p:txBody>
          <a:bodyPr/>
          <a:lstStyle>
            <a:lvl1pPr>
              <a:defRPr/>
            </a:lvl1pPr>
          </a:lstStyle>
          <a:p>
            <a:pPr>
              <a:defRPr/>
            </a:pPr>
            <a:endParaRPr lang="de-DE" altLang="zh-TW">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e-DE" altLang="zh-TW">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9F2C25F-769B-49A6-8FA7-7468A06BC63F}" type="slidenum">
              <a:rPr lang="de-DE" altLang="zh-TW">
                <a:solidFill>
                  <a:srgbClr val="000000"/>
                </a:solidFill>
              </a:rPr>
              <a:pPr>
                <a:defRPr/>
              </a:pPr>
              <a:t>‹#›</a:t>
            </a:fld>
            <a:endParaRPr lang="de-DE" altLang="zh-TW">
              <a:solidFill>
                <a:srgbClr val="000000"/>
              </a:solidFill>
            </a:endParaRPr>
          </a:p>
        </p:txBody>
      </p:sp>
    </p:spTree>
    <p:extLst>
      <p:ext uri="{BB962C8B-B14F-4D97-AF65-F5344CB8AC3E}">
        <p14:creationId xmlns:p14="http://schemas.microsoft.com/office/powerpoint/2010/main" val="32172060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p:spPr>
        <p:txBody>
          <a:bodyPr anchor="b">
            <a:normAutofit/>
          </a:bodyPr>
          <a:lstStyle>
            <a:lvl1pPr>
              <a:defRPr sz="3200" b="0"/>
            </a:lvl1pPr>
          </a:lstStyle>
          <a:p>
            <a:r>
              <a:rPr lang="zh-TW" altLang="en-US"/>
              <a:t>按一下以編輯母片標題樣式</a:t>
            </a:r>
            <a:endParaRPr lang="en-US" dirty="0"/>
          </a:p>
        </p:txBody>
      </p:sp>
      <p:sp>
        <p:nvSpPr>
          <p:cNvPr id="3" name="Picture Placeholder 2"/>
          <p:cNvSpPr>
            <a:spLocks noGrp="1" noChangeAspect="1"/>
          </p:cNvSpPr>
          <p:nvPr>
            <p:ph type="pic" idx="1"/>
          </p:nvPr>
        </p:nvSpPr>
        <p:spPr>
          <a:xfrm>
            <a:off x="3570646" y="767419"/>
            <a:ext cx="8115231" cy="5330952"/>
          </a:xfr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zh-TW" altLang="en-US"/>
              <a:t>按一下圖示以新增圖片</a:t>
            </a:r>
            <a:endParaRPr lang="en-US" dirty="0"/>
          </a:p>
        </p:txBody>
      </p:sp>
      <p:sp>
        <p:nvSpPr>
          <p:cNvPr id="4" name="Text Placeholder 3"/>
          <p:cNvSpPr>
            <a:spLocks noGrp="1"/>
          </p:cNvSpPr>
          <p:nvPr>
            <p:ph type="body" sz="half" idx="2"/>
          </p:nvPr>
        </p:nvSpPr>
        <p:spPr>
          <a:xfrm>
            <a:off x="256032" y="3493008"/>
            <a:ext cx="2834640" cy="2322576"/>
          </a:xfr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8" name="Date Placeholder 7"/>
          <p:cNvSpPr>
            <a:spLocks noGrp="1"/>
          </p:cNvSpPr>
          <p:nvPr>
            <p:ph type="dt" sz="half" idx="10"/>
          </p:nvPr>
        </p:nvSpPr>
        <p:spPr/>
        <p:txBody>
          <a:bodyPr/>
          <a:lstStyle/>
          <a:p>
            <a:fld id="{9BA3A13D-7ACC-4350-B368-5F9372CAD98C}" type="datetimeFigureOut">
              <a:rPr lang="zh-TW" altLang="en-US" smtClean="0"/>
              <a:pPr/>
              <a:t>2021/1/7</a:t>
            </a:fld>
            <a:endParaRPr lang="zh-TW" altLang="en-US"/>
          </a:p>
        </p:txBody>
      </p:sp>
      <p:sp>
        <p:nvSpPr>
          <p:cNvPr id="9" name="Footer Placeholder 8"/>
          <p:cNvSpPr>
            <a:spLocks noGrp="1"/>
          </p:cNvSpPr>
          <p:nvPr>
            <p:ph type="ftr" sz="quarter" idx="11"/>
          </p:nvPr>
        </p:nvSpPr>
        <p:spPr>
          <a:xfrm>
            <a:off x="3499103" y="6356354"/>
            <a:ext cx="5911517" cy="365125"/>
          </a:xfrm>
        </p:spPr>
        <p:txBody>
          <a:bodyPr/>
          <a:lstStyle/>
          <a:p>
            <a:endParaRPr lang="en-US" dirty="0"/>
          </a:p>
        </p:txBody>
      </p:sp>
      <p:sp>
        <p:nvSpPr>
          <p:cNvPr id="10" name="Slide Number Placeholder 9"/>
          <p:cNvSpPr>
            <a:spLocks noGrp="1"/>
          </p:cNvSpPr>
          <p:nvPr>
            <p:ph type="sldNum" sz="quarter" idx="12"/>
          </p:nvPr>
        </p:nvSpPr>
        <p:spPr/>
        <p:txBody>
          <a:body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22764386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2389717" y="4800600"/>
            <a:ext cx="7315200" cy="566738"/>
          </a:xfrm>
        </p:spPr>
        <p:txBody>
          <a:bodyPr anchor="b"/>
          <a:lstStyle>
            <a:lvl1pPr algn="l">
              <a:defRPr sz="2000" b="1"/>
            </a:lvl1pPr>
          </a:lstStyle>
          <a:p>
            <a:r>
              <a:rPr lang="zh-TW" altLang="en-US"/>
              <a:t>按一下以編輯母片標題樣式</a:t>
            </a:r>
          </a:p>
        </p:txBody>
      </p:sp>
      <p:sp>
        <p:nvSpPr>
          <p:cNvPr id="3" name="圖片版面配置區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TW" altLang="en-US" noProof="0"/>
          </a:p>
        </p:txBody>
      </p:sp>
      <p:sp>
        <p:nvSpPr>
          <p:cNvPr id="4" name="文字版面配置區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TW" altLang="en-US"/>
              <a:t>按一下以編輯母片文字樣式</a:t>
            </a:r>
          </a:p>
        </p:txBody>
      </p:sp>
      <p:sp>
        <p:nvSpPr>
          <p:cNvPr id="5" name="Rectangle 4"/>
          <p:cNvSpPr>
            <a:spLocks noGrp="1" noChangeArrowheads="1"/>
          </p:cNvSpPr>
          <p:nvPr>
            <p:ph type="dt" sz="half" idx="10"/>
          </p:nvPr>
        </p:nvSpPr>
        <p:spPr>
          <a:ln/>
        </p:spPr>
        <p:txBody>
          <a:bodyPr/>
          <a:lstStyle>
            <a:lvl1pPr>
              <a:defRPr/>
            </a:lvl1pPr>
          </a:lstStyle>
          <a:p>
            <a:pPr>
              <a:defRPr/>
            </a:pPr>
            <a:endParaRPr lang="de-DE" altLang="zh-TW">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de-DE" altLang="zh-TW">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4641A26-82B1-4BA3-83F7-0AC2E87EA0F0}" type="slidenum">
              <a:rPr lang="de-DE" altLang="zh-TW">
                <a:solidFill>
                  <a:srgbClr val="000000"/>
                </a:solidFill>
              </a:rPr>
              <a:pPr>
                <a:defRPr/>
              </a:pPr>
              <a:t>‹#›</a:t>
            </a:fld>
            <a:endParaRPr lang="de-DE" altLang="zh-TW">
              <a:solidFill>
                <a:srgbClr val="000000"/>
              </a:solidFill>
            </a:endParaRPr>
          </a:p>
        </p:txBody>
      </p:sp>
    </p:spTree>
    <p:extLst>
      <p:ext uri="{BB962C8B-B14F-4D97-AF65-F5344CB8AC3E}">
        <p14:creationId xmlns:p14="http://schemas.microsoft.com/office/powerpoint/2010/main" val="426133375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a:t>按一下以編輯母片標題樣式</a:t>
            </a:r>
          </a:p>
        </p:txBody>
      </p:sp>
      <p:sp>
        <p:nvSpPr>
          <p:cNvPr id="3" name="直排文字版面配置區 2"/>
          <p:cNvSpPr>
            <a:spLocks noGrp="1"/>
          </p:cNvSpPr>
          <p:nvPr>
            <p:ph type="body" orient="vert" idx="1"/>
          </p:nvPr>
        </p:nvSpPr>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Rectangle 4"/>
          <p:cNvSpPr>
            <a:spLocks noGrp="1" noChangeArrowheads="1"/>
          </p:cNvSpPr>
          <p:nvPr>
            <p:ph type="dt" sz="half" idx="10"/>
          </p:nvPr>
        </p:nvSpPr>
        <p:spPr>
          <a:ln/>
        </p:spPr>
        <p:txBody>
          <a:bodyPr/>
          <a:lstStyle>
            <a:lvl1pPr>
              <a:defRPr/>
            </a:lvl1pPr>
          </a:lstStyle>
          <a:p>
            <a:pPr>
              <a:defRPr/>
            </a:pPr>
            <a:endParaRPr lang="de-DE" altLang="zh-TW">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e-DE" altLang="zh-TW">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7DE3320-2192-4F69-9531-9B10CD6D03E5}" type="slidenum">
              <a:rPr lang="de-DE" altLang="zh-TW">
                <a:solidFill>
                  <a:srgbClr val="000000"/>
                </a:solidFill>
              </a:rPr>
              <a:pPr>
                <a:defRPr/>
              </a:pPr>
              <a:t>‹#›</a:t>
            </a:fld>
            <a:endParaRPr lang="de-DE" altLang="zh-TW">
              <a:solidFill>
                <a:srgbClr val="000000"/>
              </a:solidFill>
            </a:endParaRPr>
          </a:p>
        </p:txBody>
      </p:sp>
    </p:spTree>
    <p:extLst>
      <p:ext uri="{BB962C8B-B14F-4D97-AF65-F5344CB8AC3E}">
        <p14:creationId xmlns:p14="http://schemas.microsoft.com/office/powerpoint/2010/main" val="16310235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8839200" y="274643"/>
            <a:ext cx="2743200" cy="5851525"/>
          </a:xfrm>
        </p:spPr>
        <p:txBody>
          <a:bodyPr vert="eaVert"/>
          <a:lstStyle/>
          <a:p>
            <a:r>
              <a:rPr lang="zh-TW" altLang="en-US"/>
              <a:t>按一下以編輯母片標題樣式</a:t>
            </a:r>
          </a:p>
        </p:txBody>
      </p:sp>
      <p:sp>
        <p:nvSpPr>
          <p:cNvPr id="3" name="直排文字版面配置區 2"/>
          <p:cNvSpPr>
            <a:spLocks noGrp="1"/>
          </p:cNvSpPr>
          <p:nvPr>
            <p:ph type="body" orient="vert" idx="1"/>
          </p:nvPr>
        </p:nvSpPr>
        <p:spPr>
          <a:xfrm>
            <a:off x="609600" y="274643"/>
            <a:ext cx="8026400" cy="5851525"/>
          </a:xfrm>
        </p:spPr>
        <p:txBody>
          <a:bodyPr vert="eaVert"/>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p>
        </p:txBody>
      </p:sp>
      <p:sp>
        <p:nvSpPr>
          <p:cNvPr id="4" name="Rectangle 4"/>
          <p:cNvSpPr>
            <a:spLocks noGrp="1" noChangeArrowheads="1"/>
          </p:cNvSpPr>
          <p:nvPr>
            <p:ph type="dt" sz="half" idx="10"/>
          </p:nvPr>
        </p:nvSpPr>
        <p:spPr>
          <a:ln/>
        </p:spPr>
        <p:txBody>
          <a:bodyPr/>
          <a:lstStyle>
            <a:lvl1pPr>
              <a:defRPr/>
            </a:lvl1pPr>
          </a:lstStyle>
          <a:p>
            <a:pPr>
              <a:defRPr/>
            </a:pPr>
            <a:endParaRPr lang="de-DE" altLang="zh-TW">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de-DE" altLang="zh-TW">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81A364C-6AE6-41BD-97EC-EDC24B062234}" type="slidenum">
              <a:rPr lang="de-DE" altLang="zh-TW">
                <a:solidFill>
                  <a:srgbClr val="000000"/>
                </a:solidFill>
              </a:rPr>
              <a:pPr>
                <a:defRPr/>
              </a:pPr>
              <a:t>‹#›</a:t>
            </a:fld>
            <a:endParaRPr lang="de-DE" altLang="zh-TW">
              <a:solidFill>
                <a:srgbClr val="000000"/>
              </a:solidFill>
            </a:endParaRPr>
          </a:p>
        </p:txBody>
      </p:sp>
    </p:spTree>
    <p:extLst>
      <p:ext uri="{BB962C8B-B14F-4D97-AF65-F5344CB8AC3E}">
        <p14:creationId xmlns:p14="http://schemas.microsoft.com/office/powerpoint/2010/main" val="99650279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title" preserve="1">
  <p:cSld name="標題投影片">
    <p:spTree>
      <p:nvGrpSpPr>
        <p:cNvPr id="1" name=""/>
        <p:cNvGrpSpPr/>
        <p:nvPr/>
      </p:nvGrpSpPr>
      <p:grpSpPr>
        <a:xfrm>
          <a:off x="0" y="0"/>
          <a:ext cx="0" cy="0"/>
          <a:chOff x="0" y="0"/>
          <a:chExt cx="0" cy="0"/>
        </a:xfrm>
      </p:grpSpPr>
      <p:grpSp>
        <p:nvGrpSpPr>
          <p:cNvPr id="95" name="Group 94"/>
          <p:cNvGrpSpPr/>
          <p:nvPr/>
        </p:nvGrpSpPr>
        <p:grpSpPr>
          <a:xfrm>
            <a:off x="0" y="-30477"/>
            <a:ext cx="12090400" cy="6889273"/>
            <a:chOff x="0" y="-30477"/>
            <a:chExt cx="9067800" cy="6889273"/>
          </a:xfrm>
        </p:grpSpPr>
        <p:cxnSp>
          <p:nvCxnSpPr>
            <p:cNvPr id="110" name="Straight Connector 109"/>
            <p:cNvCxnSpPr/>
            <p:nvPr/>
          </p:nvCxnSpPr>
          <p:spPr>
            <a:xfrm rot="16200000" flipH="1">
              <a:off x="-1447800" y="3352800"/>
              <a:ext cx="68580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rot="16200000" flipH="1">
              <a:off x="-1638300" y="3238500"/>
              <a:ext cx="6858000"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rot="5400000">
              <a:off x="-1485900" y="3238500"/>
              <a:ext cx="6858000"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rot="5400000">
              <a:off x="-3238500" y="3314700"/>
              <a:ext cx="6858000" cy="2286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rot="16200000" flipH="1">
              <a:off x="-3314700" y="3314700"/>
              <a:ext cx="6858000" cy="228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rot="16200000" flipH="1">
              <a:off x="-1371600" y="2971800"/>
              <a:ext cx="6858000" cy="9144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rot="16200000" flipH="1">
              <a:off x="-2819400" y="3200400"/>
              <a:ext cx="6858000" cy="457200"/>
            </a:xfrm>
            <a:prstGeom prst="line">
              <a:avLst/>
            </a:prstGeom>
            <a:ln>
              <a:solidFill>
                <a:schemeClr val="accent1">
                  <a:alpha val="90000"/>
                </a:schemeClr>
              </a:solidFill>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rot="5400000">
              <a:off x="-2705099" y="3238500"/>
              <a:ext cx="6858000" cy="381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rot="16200000" flipH="1">
              <a:off x="-2133600" y="3200400"/>
              <a:ext cx="6858000" cy="457199"/>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rot="16200000" flipH="1">
              <a:off x="-3124200" y="3276600"/>
              <a:ext cx="6858000"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rot="16200000" flipH="1">
              <a:off x="-1828799" y="3352799"/>
              <a:ext cx="6858000" cy="152401"/>
            </a:xfrm>
            <a:prstGeom prst="line">
              <a:avLst/>
            </a:prstGeom>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rot="16200000" flipH="1">
              <a:off x="-2819400" y="3352800"/>
              <a:ext cx="6858000"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rot="16200000" flipH="1">
              <a:off x="-2438400" y="3124200"/>
              <a:ext cx="6858000" cy="60960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5" name="Straight Connector 164"/>
            <p:cNvCxnSpPr/>
            <p:nvPr/>
          </p:nvCxnSpPr>
          <p:spPr>
            <a:xfrm rot="5400000">
              <a:off x="-1731645" y="2722245"/>
              <a:ext cx="6858000" cy="1413510"/>
            </a:xfrm>
            <a:prstGeom prst="line">
              <a:avLst/>
            </a:prstGeom>
            <a:ln>
              <a:solidFill>
                <a:schemeClr val="accent1">
                  <a:alpha val="39000"/>
                </a:schemeClr>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rot="5400000">
              <a:off x="-1142048" y="3277552"/>
              <a:ext cx="6858000" cy="302895"/>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169" name="Straight Connector 168"/>
            <p:cNvCxnSpPr/>
            <p:nvPr/>
          </p:nvCxnSpPr>
          <p:spPr>
            <a:xfrm rot="5400000">
              <a:off x="-914400" y="3276600"/>
              <a:ext cx="6858000"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rot="5400000">
              <a:off x="-1855470" y="3227070"/>
              <a:ext cx="6858000" cy="40386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rot="16200000" flipH="1">
              <a:off x="-2643187" y="3252788"/>
              <a:ext cx="6858000" cy="352425"/>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45" name="Straight Connector 144"/>
            <p:cNvCxnSpPr/>
            <p:nvPr/>
          </p:nvCxnSpPr>
          <p:spPr>
            <a:xfrm rot="16200000" flipH="1">
              <a:off x="-1954530" y="3326130"/>
              <a:ext cx="6858000" cy="205740"/>
            </a:xfrm>
            <a:prstGeom prst="line">
              <a:avLst/>
            </a:prstGeom>
            <a:ln w="50800">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p:nvCxnSpPr>
          <p:spPr>
            <a:xfrm rot="16200000" flipH="1">
              <a:off x="-2362200" y="3352800"/>
              <a:ext cx="68580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9" name="Straight Connector 208"/>
            <p:cNvCxnSpPr/>
            <p:nvPr/>
          </p:nvCxnSpPr>
          <p:spPr>
            <a:xfrm rot="16200000" flipH="1">
              <a:off x="-2133600" y="3352800"/>
              <a:ext cx="6858000"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rot="16200000" flipH="1">
              <a:off x="1066800" y="3352800"/>
              <a:ext cx="68580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rot="16200000" flipH="1">
              <a:off x="876300" y="3238500"/>
              <a:ext cx="6858000"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rot="5400000">
              <a:off x="1028700" y="3238500"/>
              <a:ext cx="6858000" cy="381000"/>
            </a:xfrm>
            <a:prstGeom prst="line">
              <a:avLst/>
            </a:prstGeom>
            <a:ln w="47625">
              <a:solidFill>
                <a:schemeClr val="accent1">
                  <a:alpha val="63000"/>
                </a:schemeClr>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p:cNvCxnSpPr/>
            <p:nvPr/>
          </p:nvCxnSpPr>
          <p:spPr>
            <a:xfrm rot="5400000">
              <a:off x="-723900" y="3314700"/>
              <a:ext cx="6858000" cy="2286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rot="16200000" flipH="1">
              <a:off x="-800100" y="3314700"/>
              <a:ext cx="6858000" cy="228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5" name="Straight Connector 214"/>
            <p:cNvCxnSpPr/>
            <p:nvPr/>
          </p:nvCxnSpPr>
          <p:spPr>
            <a:xfrm rot="5400000">
              <a:off x="-152400" y="3429000"/>
              <a:ext cx="6858000" cy="1588"/>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216" name="Straight Connector 215"/>
            <p:cNvCxnSpPr/>
            <p:nvPr/>
          </p:nvCxnSpPr>
          <p:spPr>
            <a:xfrm rot="16200000" flipH="1">
              <a:off x="-304800" y="3200400"/>
              <a:ext cx="6858000" cy="457200"/>
            </a:xfrm>
            <a:prstGeom prst="line">
              <a:avLst/>
            </a:prstGeom>
            <a:ln w="47625">
              <a:solidFill>
                <a:schemeClr val="accent1">
                  <a:alpha val="63000"/>
                </a:schemeClr>
              </a:solidFill>
            </a:ln>
          </p:spPr>
          <p:style>
            <a:lnRef idx="1">
              <a:schemeClr val="accent1"/>
            </a:lnRef>
            <a:fillRef idx="0">
              <a:schemeClr val="accent1"/>
            </a:fillRef>
            <a:effectRef idx="0">
              <a:schemeClr val="accent1"/>
            </a:effectRef>
            <a:fontRef idx="minor">
              <a:schemeClr val="tx1"/>
            </a:fontRef>
          </p:style>
        </p:cxnSp>
        <p:cxnSp>
          <p:nvCxnSpPr>
            <p:cNvPr id="217" name="Straight Connector 216"/>
            <p:cNvCxnSpPr/>
            <p:nvPr/>
          </p:nvCxnSpPr>
          <p:spPr>
            <a:xfrm rot="5400000">
              <a:off x="-190499" y="3238500"/>
              <a:ext cx="6858000" cy="381000"/>
            </a:xfrm>
            <a:prstGeom prst="line">
              <a:avLst/>
            </a:prstGeom>
            <a:ln w="50800">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218" name="Straight Connector 217"/>
            <p:cNvCxnSpPr/>
            <p:nvPr/>
          </p:nvCxnSpPr>
          <p:spPr>
            <a:xfrm rot="16200000" flipH="1">
              <a:off x="381000" y="3200400"/>
              <a:ext cx="6858000" cy="457199"/>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p:cNvCxnSpPr/>
            <p:nvPr/>
          </p:nvCxnSpPr>
          <p:spPr>
            <a:xfrm rot="16200000" flipH="1">
              <a:off x="-609600" y="3276600"/>
              <a:ext cx="6858000"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0" name="Straight Connector 219"/>
            <p:cNvCxnSpPr/>
            <p:nvPr/>
          </p:nvCxnSpPr>
          <p:spPr>
            <a:xfrm rot="16200000" flipH="1">
              <a:off x="685801" y="3352799"/>
              <a:ext cx="6858000" cy="152401"/>
            </a:xfrm>
            <a:prstGeom prst="line">
              <a:avLst/>
            </a:prstGeom>
            <a:ln w="50800">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p:nvCxnSpPr>
          <p:spPr>
            <a:xfrm rot="16200000" flipH="1">
              <a:off x="-304800" y="3352800"/>
              <a:ext cx="6858000"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p:nvCxnSpPr>
          <p:spPr>
            <a:xfrm rot="5400000">
              <a:off x="-1028700" y="3314700"/>
              <a:ext cx="6858000" cy="22860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rot="5400000">
              <a:off x="782955" y="2722245"/>
              <a:ext cx="6858000" cy="1413510"/>
            </a:xfrm>
            <a:prstGeom prst="line">
              <a:avLst/>
            </a:prstGeom>
            <a:ln>
              <a:solidFill>
                <a:schemeClr val="accent1">
                  <a:alpha val="39000"/>
                </a:schemeClr>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p:nvPr/>
          </p:nvCxnSpPr>
          <p:spPr>
            <a:xfrm rot="5400000">
              <a:off x="1372552" y="3277552"/>
              <a:ext cx="6858000" cy="302895"/>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rot="5400000">
              <a:off x="1600200" y="3352800"/>
              <a:ext cx="68580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rot="5400000">
              <a:off x="659130" y="3227070"/>
              <a:ext cx="6858000" cy="40386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rot="16200000" flipH="1">
              <a:off x="-128587" y="3252788"/>
              <a:ext cx="6858000" cy="352425"/>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rot="16200000" flipH="1">
              <a:off x="560070" y="3326130"/>
              <a:ext cx="6858000" cy="20574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rot="16200000" flipH="1">
              <a:off x="152400" y="3352800"/>
              <a:ext cx="68580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0" name="Straight Connector 229"/>
            <p:cNvCxnSpPr/>
            <p:nvPr/>
          </p:nvCxnSpPr>
          <p:spPr>
            <a:xfrm rot="16200000" flipH="1">
              <a:off x="381000" y="3352800"/>
              <a:ext cx="6858000"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37" name="Straight Connector 236"/>
            <p:cNvCxnSpPr/>
            <p:nvPr/>
          </p:nvCxnSpPr>
          <p:spPr>
            <a:xfrm rot="16200000" flipH="1">
              <a:off x="2743200" y="3352801"/>
              <a:ext cx="6858000" cy="152400"/>
            </a:xfrm>
            <a:prstGeom prst="line">
              <a:avLst/>
            </a:prstGeom>
            <a:ln w="50800">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238" name="Straight Connector 237"/>
            <p:cNvCxnSpPr/>
            <p:nvPr/>
          </p:nvCxnSpPr>
          <p:spPr>
            <a:xfrm rot="16200000" flipH="1">
              <a:off x="2095501" y="3238501"/>
              <a:ext cx="6858000"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9" name="Straight Connector 238"/>
            <p:cNvCxnSpPr/>
            <p:nvPr/>
          </p:nvCxnSpPr>
          <p:spPr>
            <a:xfrm rot="5400000">
              <a:off x="2705100" y="3238501"/>
              <a:ext cx="6858000"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0" name="Straight Connector 239"/>
            <p:cNvCxnSpPr/>
            <p:nvPr/>
          </p:nvCxnSpPr>
          <p:spPr>
            <a:xfrm rot="5400000">
              <a:off x="1828801" y="3276600"/>
              <a:ext cx="6857999" cy="3048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241" name="Straight Connector 240"/>
            <p:cNvCxnSpPr/>
            <p:nvPr/>
          </p:nvCxnSpPr>
          <p:spPr>
            <a:xfrm rot="16200000" flipH="1">
              <a:off x="1066800" y="3200402"/>
              <a:ext cx="6858000" cy="457199"/>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cxnSp>
          <p:nvCxnSpPr>
            <p:cNvPr id="242" name="Straight Connector 241"/>
            <p:cNvCxnSpPr/>
            <p:nvPr/>
          </p:nvCxnSpPr>
          <p:spPr>
            <a:xfrm rot="16200000" flipH="1">
              <a:off x="2362201" y="3352800"/>
              <a:ext cx="6858000" cy="1524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43" name="Straight Connector 242"/>
            <p:cNvCxnSpPr/>
            <p:nvPr/>
          </p:nvCxnSpPr>
          <p:spPr>
            <a:xfrm rot="5400000">
              <a:off x="2646045" y="2722246"/>
              <a:ext cx="6858000" cy="1413510"/>
            </a:xfrm>
            <a:prstGeom prst="line">
              <a:avLst/>
            </a:prstGeom>
            <a:ln>
              <a:solidFill>
                <a:schemeClr val="accent1">
                  <a:alpha val="56000"/>
                </a:schemeClr>
              </a:solidFill>
            </a:ln>
          </p:spPr>
          <p:style>
            <a:lnRef idx="1">
              <a:schemeClr val="accent1"/>
            </a:lnRef>
            <a:fillRef idx="0">
              <a:schemeClr val="accent1"/>
            </a:fillRef>
            <a:effectRef idx="0">
              <a:schemeClr val="accent1"/>
            </a:effectRef>
            <a:fontRef idx="minor">
              <a:schemeClr val="tx1"/>
            </a:fontRef>
          </p:style>
        </p:cxnSp>
        <p:cxnSp>
          <p:nvCxnSpPr>
            <p:cNvPr id="244" name="Straight Connector 243"/>
            <p:cNvCxnSpPr/>
            <p:nvPr/>
          </p:nvCxnSpPr>
          <p:spPr>
            <a:xfrm rot="5400000">
              <a:off x="3048952" y="3277553"/>
              <a:ext cx="6858000" cy="302895"/>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45" name="Straight Connector 244"/>
            <p:cNvCxnSpPr/>
            <p:nvPr/>
          </p:nvCxnSpPr>
          <p:spPr>
            <a:xfrm rot="5400000">
              <a:off x="2895600" y="3276601"/>
              <a:ext cx="6858000"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6" name="Straight Connector 245"/>
            <p:cNvCxnSpPr/>
            <p:nvPr/>
          </p:nvCxnSpPr>
          <p:spPr>
            <a:xfrm rot="5400000">
              <a:off x="2388870" y="3227071"/>
              <a:ext cx="6858000" cy="40386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47" name="Straight Connector 246"/>
            <p:cNvCxnSpPr/>
            <p:nvPr/>
          </p:nvCxnSpPr>
          <p:spPr>
            <a:xfrm rot="16200000" flipH="1">
              <a:off x="2236470" y="3326131"/>
              <a:ext cx="6858000" cy="20574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8" name="Straight Connector 247"/>
            <p:cNvCxnSpPr/>
            <p:nvPr/>
          </p:nvCxnSpPr>
          <p:spPr>
            <a:xfrm rot="16200000" flipH="1">
              <a:off x="1752600" y="3352801"/>
              <a:ext cx="68580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9" name="Straight Connector 248"/>
            <p:cNvCxnSpPr/>
            <p:nvPr/>
          </p:nvCxnSpPr>
          <p:spPr>
            <a:xfrm rot="16200000" flipH="1">
              <a:off x="1981200" y="3352800"/>
              <a:ext cx="6858000"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50" name="Straight Connector 249"/>
            <p:cNvCxnSpPr/>
            <p:nvPr/>
          </p:nvCxnSpPr>
          <p:spPr>
            <a:xfrm rot="5400000">
              <a:off x="3467100" y="3314701"/>
              <a:ext cx="6858000" cy="2286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251" name="Straight Connector 250"/>
            <p:cNvCxnSpPr/>
            <p:nvPr/>
          </p:nvCxnSpPr>
          <p:spPr>
            <a:xfrm rot="16200000" flipH="1">
              <a:off x="3467099" y="3314701"/>
              <a:ext cx="6858000" cy="228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2" name="Straight Connector 251"/>
            <p:cNvCxnSpPr/>
            <p:nvPr/>
          </p:nvCxnSpPr>
          <p:spPr>
            <a:xfrm rot="5400000">
              <a:off x="4038600" y="3429001"/>
              <a:ext cx="6858000" cy="1588"/>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253" name="Straight Connector 252"/>
            <p:cNvCxnSpPr/>
            <p:nvPr/>
          </p:nvCxnSpPr>
          <p:spPr>
            <a:xfrm rot="16200000" flipH="1">
              <a:off x="3886200" y="3200401"/>
              <a:ext cx="6858000" cy="457200"/>
            </a:xfrm>
            <a:prstGeom prst="line">
              <a:avLst/>
            </a:prstGeom>
            <a:ln>
              <a:solidFill>
                <a:schemeClr val="accent1">
                  <a:alpha val="90000"/>
                </a:schemeClr>
              </a:solidFill>
            </a:ln>
          </p:spPr>
          <p:style>
            <a:lnRef idx="1">
              <a:schemeClr val="accent1"/>
            </a:lnRef>
            <a:fillRef idx="0">
              <a:schemeClr val="accent1"/>
            </a:fillRef>
            <a:effectRef idx="0">
              <a:schemeClr val="accent1"/>
            </a:effectRef>
            <a:fontRef idx="minor">
              <a:schemeClr val="tx1"/>
            </a:fontRef>
          </p:style>
        </p:cxnSp>
        <p:cxnSp>
          <p:nvCxnSpPr>
            <p:cNvPr id="254" name="Straight Connector 253"/>
            <p:cNvCxnSpPr/>
            <p:nvPr/>
          </p:nvCxnSpPr>
          <p:spPr>
            <a:xfrm rot="5400000">
              <a:off x="4000501" y="3238501"/>
              <a:ext cx="6858000" cy="381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55" name="Straight Connector 254"/>
            <p:cNvCxnSpPr/>
            <p:nvPr/>
          </p:nvCxnSpPr>
          <p:spPr>
            <a:xfrm rot="16200000" flipH="1">
              <a:off x="4572000" y="3200401"/>
              <a:ext cx="6858000" cy="457199"/>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cxnSp>
          <p:nvCxnSpPr>
            <p:cNvPr id="257" name="Straight Connector 256"/>
            <p:cNvCxnSpPr/>
            <p:nvPr/>
          </p:nvCxnSpPr>
          <p:spPr>
            <a:xfrm rot="16200000" flipH="1">
              <a:off x="3733800" y="3352800"/>
              <a:ext cx="6858000"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p:nvCxnSpPr>
          <p:spPr>
            <a:xfrm rot="5400000">
              <a:off x="3619500" y="3314700"/>
              <a:ext cx="6858000" cy="22860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p:nvCxnSpPr>
          <p:spPr>
            <a:xfrm rot="16200000" flipH="1">
              <a:off x="4214813" y="3252788"/>
              <a:ext cx="6858000" cy="352425"/>
            </a:xfrm>
            <a:prstGeom prst="line">
              <a:avLst/>
            </a:prstGeom>
            <a:ln w="15875">
              <a:solidFill>
                <a:schemeClr val="accent1">
                  <a:alpha val="72000"/>
                </a:schemeClr>
              </a:solidFill>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p:nvCxnSpPr>
          <p:spPr>
            <a:xfrm rot="16200000" flipH="1">
              <a:off x="4751070" y="3326131"/>
              <a:ext cx="6858000" cy="20574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rot="16200000" flipH="1">
              <a:off x="4343400" y="3352801"/>
              <a:ext cx="68580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2" name="Straight Connector 261"/>
            <p:cNvCxnSpPr/>
            <p:nvPr/>
          </p:nvCxnSpPr>
          <p:spPr>
            <a:xfrm rot="16200000" flipH="1">
              <a:off x="4572000" y="3352801"/>
              <a:ext cx="6858000"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64" name="Straight Connector 263"/>
            <p:cNvCxnSpPr/>
            <p:nvPr/>
          </p:nvCxnSpPr>
          <p:spPr>
            <a:xfrm rot="16200000" flipH="1">
              <a:off x="5257800" y="3352802"/>
              <a:ext cx="6858000"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rot="16200000" flipH="1">
              <a:off x="5067300" y="3238502"/>
              <a:ext cx="6858000"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6" name="Straight Connector 265"/>
            <p:cNvCxnSpPr/>
            <p:nvPr/>
          </p:nvCxnSpPr>
          <p:spPr>
            <a:xfrm rot="5400000">
              <a:off x="5219700" y="3238502"/>
              <a:ext cx="6858000" cy="381000"/>
            </a:xfrm>
            <a:prstGeom prst="line">
              <a:avLst/>
            </a:prstGeom>
            <a:ln w="50800">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267" name="Straight Connector 266"/>
            <p:cNvCxnSpPr/>
            <p:nvPr/>
          </p:nvCxnSpPr>
          <p:spPr>
            <a:xfrm rot="16200000" flipH="1">
              <a:off x="4876801" y="3352801"/>
              <a:ext cx="6858000" cy="1524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68" name="Straight Connector 267"/>
            <p:cNvCxnSpPr/>
            <p:nvPr/>
          </p:nvCxnSpPr>
          <p:spPr>
            <a:xfrm rot="5400000">
              <a:off x="5527994" y="3318196"/>
              <a:ext cx="6888479" cy="191133"/>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70" name="Straight Connector 269"/>
            <p:cNvCxnSpPr/>
            <p:nvPr/>
          </p:nvCxnSpPr>
          <p:spPr>
            <a:xfrm rot="5400000">
              <a:off x="4850130" y="3227072"/>
              <a:ext cx="6858000" cy="403860"/>
            </a:xfrm>
            <a:prstGeom prst="line">
              <a:avLst/>
            </a:prstGeom>
            <a:ln w="47625">
              <a:solidFill>
                <a:schemeClr val="accent1">
                  <a:alpha val="63000"/>
                </a:schemeClr>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rot="16200000" flipH="1">
              <a:off x="4751070" y="3326132"/>
              <a:ext cx="6858000" cy="20574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8" name="Straight Connector 277"/>
            <p:cNvCxnSpPr/>
            <p:nvPr/>
          </p:nvCxnSpPr>
          <p:spPr>
            <a:xfrm rot="5400000">
              <a:off x="5562599" y="3429001"/>
              <a:ext cx="6858002" cy="1588"/>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3" name="Straight Connector 282"/>
            <p:cNvCxnSpPr/>
            <p:nvPr/>
          </p:nvCxnSpPr>
          <p:spPr>
            <a:xfrm rot="5400000">
              <a:off x="2552700" y="3390900"/>
              <a:ext cx="6858000" cy="76200"/>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p:cNvCxnSpPr/>
            <p:nvPr/>
          </p:nvCxnSpPr>
          <p:spPr>
            <a:xfrm rot="16200000" flipH="1">
              <a:off x="3048000" y="3352800"/>
              <a:ext cx="6858000" cy="152400"/>
            </a:xfrm>
            <a:prstGeom prst="line">
              <a:avLst/>
            </a:prstGeom>
            <a:ln w="47625">
              <a:solidFill>
                <a:schemeClr val="accent1">
                  <a:alpha val="63000"/>
                </a:schemeClr>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p:cNvCxnSpPr/>
            <p:nvPr/>
          </p:nvCxnSpPr>
          <p:spPr>
            <a:xfrm rot="16200000" flipH="1">
              <a:off x="3238500" y="3238500"/>
              <a:ext cx="6858000" cy="381000"/>
            </a:xfrm>
            <a:prstGeom prst="line">
              <a:avLst/>
            </a:prstGeom>
            <a:ln w="19050">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p:cNvCxnSpPr/>
            <p:nvPr/>
          </p:nvCxnSpPr>
          <p:spPr>
            <a:xfrm rot="5400000">
              <a:off x="2133600" y="3276600"/>
              <a:ext cx="6858000" cy="304800"/>
            </a:xfrm>
            <a:prstGeom prst="line">
              <a:avLst/>
            </a:prstGeom>
            <a:ln w="47625">
              <a:solidFill>
                <a:schemeClr val="accent1">
                  <a:alpha val="63000"/>
                </a:schemeClr>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p:cNvCxnSpPr/>
            <p:nvPr/>
          </p:nvCxnSpPr>
          <p:spPr>
            <a:xfrm rot="16200000" flipH="1">
              <a:off x="3148013" y="3252789"/>
              <a:ext cx="6858000" cy="352425"/>
            </a:xfrm>
            <a:prstGeom prst="line">
              <a:avLst/>
            </a:prstGeom>
            <a:ln w="15875">
              <a:solidFill>
                <a:schemeClr val="accent1">
                  <a:alpha val="72000"/>
                </a:schemeClr>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p:cNvCxnSpPr/>
            <p:nvPr/>
          </p:nvCxnSpPr>
          <p:spPr>
            <a:xfrm rot="5400000">
              <a:off x="3771900" y="3238500"/>
              <a:ext cx="6858000"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2" name="Straight Connector 301"/>
            <p:cNvCxnSpPr/>
            <p:nvPr/>
          </p:nvCxnSpPr>
          <p:spPr>
            <a:xfrm rot="5400000">
              <a:off x="4229100" y="2933700"/>
              <a:ext cx="6858000" cy="9906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307" name="Straight Connector 306"/>
            <p:cNvCxnSpPr/>
            <p:nvPr/>
          </p:nvCxnSpPr>
          <p:spPr>
            <a:xfrm rot="16200000" flipH="1">
              <a:off x="1371600" y="3200403"/>
              <a:ext cx="6858000" cy="457199"/>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grpSp>
      <p:sp>
        <p:nvSpPr>
          <p:cNvPr id="4" name="Date Placeholder 3"/>
          <p:cNvSpPr>
            <a:spLocks noGrp="1"/>
          </p:cNvSpPr>
          <p:nvPr>
            <p:ph type="dt" sz="half" idx="10"/>
          </p:nvPr>
        </p:nvSpPr>
        <p:spPr/>
        <p:txBody>
          <a:bodyPr/>
          <a:lstStyle/>
          <a:p>
            <a:pPr>
              <a:defRPr/>
            </a:pPr>
            <a:endParaRPr lang="en-US" altLang="zh-TW">
              <a:solidFill>
                <a:srgbClr val="333333"/>
              </a:solidFill>
            </a:endParaRPr>
          </a:p>
        </p:txBody>
      </p:sp>
      <p:sp>
        <p:nvSpPr>
          <p:cNvPr id="5" name="Footer Placeholder 4"/>
          <p:cNvSpPr>
            <a:spLocks noGrp="1"/>
          </p:cNvSpPr>
          <p:nvPr>
            <p:ph type="ftr" sz="quarter" idx="11"/>
          </p:nvPr>
        </p:nvSpPr>
        <p:spPr/>
        <p:txBody>
          <a:bodyPr/>
          <a:lstStyle/>
          <a:p>
            <a:pPr>
              <a:defRPr/>
            </a:pPr>
            <a:endParaRPr lang="en-US" altLang="zh-TW">
              <a:solidFill>
                <a:srgbClr val="333333"/>
              </a:solidFill>
            </a:endParaRPr>
          </a:p>
        </p:txBody>
      </p:sp>
      <p:sp>
        <p:nvSpPr>
          <p:cNvPr id="6" name="Slide Number Placeholder 5"/>
          <p:cNvSpPr>
            <a:spLocks noGrp="1"/>
          </p:cNvSpPr>
          <p:nvPr>
            <p:ph type="sldNum" sz="quarter" idx="12"/>
          </p:nvPr>
        </p:nvSpPr>
        <p:spPr/>
        <p:txBody>
          <a:bodyPr/>
          <a:lstStyle/>
          <a:p>
            <a:fld id="{717ABB3E-09E1-4A74-BD88-80DAEF208D5C}" type="slidenum">
              <a:rPr lang="en-US" altLang="zh-TW" smtClean="0">
                <a:solidFill>
                  <a:srgbClr val="333333"/>
                </a:solidFill>
              </a:rPr>
              <a:pPr/>
              <a:t>‹#›</a:t>
            </a:fld>
            <a:endParaRPr lang="en-US" altLang="zh-TW">
              <a:solidFill>
                <a:srgbClr val="333333"/>
              </a:solidFill>
            </a:endParaRPr>
          </a:p>
        </p:txBody>
      </p:sp>
      <p:sp>
        <p:nvSpPr>
          <p:cNvPr id="113" name="Rectangle 112"/>
          <p:cNvSpPr/>
          <p:nvPr/>
        </p:nvSpPr>
        <p:spPr>
          <a:xfrm>
            <a:off x="0" y="1905000"/>
            <a:ext cx="6604000" cy="3124200"/>
          </a:xfrm>
          <a:prstGeom prst="rect">
            <a:avLst/>
          </a:prstGeom>
          <a:solidFill>
            <a:schemeClr val="accent1"/>
          </a:solidFill>
          <a:ln>
            <a:noFill/>
          </a:ln>
          <a:effectLst>
            <a:outerShdw blurRad="50800" dist="38100" dir="2700000" algn="ctr"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Tw Cen MT"/>
              <a:ea typeface="+mn-ea"/>
              <a:cs typeface="+mn-cs"/>
            </a:endParaRPr>
          </a:p>
        </p:txBody>
      </p:sp>
      <p:grpSp>
        <p:nvGrpSpPr>
          <p:cNvPr id="94" name="Group 93"/>
          <p:cNvGrpSpPr/>
          <p:nvPr/>
        </p:nvGrpSpPr>
        <p:grpSpPr>
          <a:xfrm>
            <a:off x="0" y="2057400"/>
            <a:ext cx="6401859" cy="2820988"/>
            <a:chOff x="0" y="2057400"/>
            <a:chExt cx="4801394" cy="2820988"/>
          </a:xfrm>
        </p:grpSpPr>
        <p:cxnSp>
          <p:nvCxnSpPr>
            <p:cNvPr id="117" name="Straight Connector 116"/>
            <p:cNvCxnSpPr/>
            <p:nvPr/>
          </p:nvCxnSpPr>
          <p:spPr>
            <a:xfrm>
              <a:off x="0" y="2057400"/>
              <a:ext cx="4800600" cy="158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0" y="4876800"/>
              <a:ext cx="4800600" cy="158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p:cNvCxnSpPr/>
            <p:nvPr/>
          </p:nvCxnSpPr>
          <p:spPr>
            <a:xfrm rot="5400000">
              <a:off x="3391694" y="3467100"/>
              <a:ext cx="2818606" cy="794"/>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ctrTitle"/>
          </p:nvPr>
        </p:nvSpPr>
        <p:spPr>
          <a:xfrm>
            <a:off x="304800" y="2130426"/>
            <a:ext cx="5892800" cy="1600327"/>
          </a:xfrm>
        </p:spPr>
        <p:txBody>
          <a:bodyPr anchor="b">
            <a:normAutofit/>
          </a:bodyPr>
          <a:lstStyle>
            <a:lvl1pPr algn="l">
              <a:defRPr sz="3600" b="1" cap="none" spc="40" baseline="0">
                <a:ln w="13335" cmpd="sng">
                  <a:solidFill>
                    <a:schemeClr val="accent1">
                      <a:lumMod val="50000"/>
                    </a:schemeClr>
                  </a:solidFill>
                  <a:prstDash val="solid"/>
                </a:ln>
                <a:solidFill>
                  <a:schemeClr val="accent6">
                    <a:tint val="1000"/>
                  </a:schemeClr>
                </a:solidFill>
                <a:effectLst/>
              </a:defRPr>
            </a:lvl1pPr>
          </a:lstStyle>
          <a:p>
            <a:r>
              <a:rPr lang="zh-TW" altLang="en-US"/>
              <a:t>按一下以編輯母片標題樣式</a:t>
            </a:r>
            <a:endParaRPr lang="en-US" dirty="0"/>
          </a:p>
        </p:txBody>
      </p:sp>
      <p:sp>
        <p:nvSpPr>
          <p:cNvPr id="3" name="Subtitle 2"/>
          <p:cNvSpPr>
            <a:spLocks noGrp="1"/>
          </p:cNvSpPr>
          <p:nvPr>
            <p:ph type="subTitle" idx="1"/>
          </p:nvPr>
        </p:nvSpPr>
        <p:spPr>
          <a:xfrm>
            <a:off x="304800" y="3733800"/>
            <a:ext cx="5892800" cy="1066800"/>
          </a:xfrm>
        </p:spPr>
        <p:txBody>
          <a:bodyPr>
            <a:normAutofit/>
          </a:bodyPr>
          <a:lstStyle>
            <a:lvl1pPr marL="0" indent="0" algn="l">
              <a:buNone/>
              <a:defRPr sz="22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TW" altLang="en-US"/>
              <a:t>按一下以編輯母片副標題樣式</a:t>
            </a:r>
            <a:endParaRPr lang="en-US" dirty="0"/>
          </a:p>
        </p:txBody>
      </p:sp>
      <p:sp>
        <p:nvSpPr>
          <p:cNvPr id="96" name="Text Box 18"/>
          <p:cNvSpPr txBox="1">
            <a:spLocks noChangeArrowheads="1"/>
          </p:cNvSpPr>
          <p:nvPr userDrawn="1"/>
        </p:nvSpPr>
        <p:spPr bwMode="auto">
          <a:xfrm rot="19237452">
            <a:off x="6194135" y="517803"/>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endParaRPr lang="en-GB" altLang="zh-TW" sz="1800">
              <a:solidFill>
                <a:srgbClr val="333333"/>
              </a:solidFill>
              <a:ea typeface="新細明體" panose="02020500000000000000" pitchFamily="18" charset="-120"/>
            </a:endParaRP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dirty="0"/>
          </a:p>
        </p:txBody>
      </p:sp>
      <p:sp>
        <p:nvSpPr>
          <p:cNvPr id="3" name="Content Placeholder 2"/>
          <p:cNvSpPr>
            <a:spLocks noGrp="1"/>
          </p:cNvSpPr>
          <p:nvPr>
            <p:ph idx="1"/>
          </p:nvPr>
        </p:nvSpPr>
        <p:spPr/>
        <p:txBody>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Date Placeholder 3"/>
          <p:cNvSpPr>
            <a:spLocks noGrp="1"/>
          </p:cNvSpPr>
          <p:nvPr>
            <p:ph type="dt" sz="half" idx="10"/>
          </p:nvPr>
        </p:nvSpPr>
        <p:spPr/>
        <p:txBody>
          <a:bodyPr/>
          <a:lstStyle/>
          <a:p>
            <a:pPr>
              <a:defRPr/>
            </a:pPr>
            <a:endParaRPr lang="en-US" altLang="zh-TW">
              <a:solidFill>
                <a:srgbClr val="333333"/>
              </a:solidFill>
            </a:endParaRPr>
          </a:p>
        </p:txBody>
      </p:sp>
      <p:sp>
        <p:nvSpPr>
          <p:cNvPr id="5" name="Footer Placeholder 4"/>
          <p:cNvSpPr>
            <a:spLocks noGrp="1"/>
          </p:cNvSpPr>
          <p:nvPr>
            <p:ph type="ftr" sz="quarter" idx="11"/>
          </p:nvPr>
        </p:nvSpPr>
        <p:spPr/>
        <p:txBody>
          <a:bodyPr/>
          <a:lstStyle/>
          <a:p>
            <a:pPr>
              <a:defRPr/>
            </a:pPr>
            <a:endParaRPr lang="en-US" altLang="zh-TW">
              <a:solidFill>
                <a:srgbClr val="333333"/>
              </a:solidFill>
            </a:endParaRPr>
          </a:p>
        </p:txBody>
      </p:sp>
      <p:sp>
        <p:nvSpPr>
          <p:cNvPr id="6" name="Slide Number Placeholder 5"/>
          <p:cNvSpPr>
            <a:spLocks noGrp="1"/>
          </p:cNvSpPr>
          <p:nvPr>
            <p:ph type="sldNum" sz="quarter" idx="12"/>
          </p:nvPr>
        </p:nvSpPr>
        <p:spPr/>
        <p:txBody>
          <a:bodyPr/>
          <a:lstStyle/>
          <a:p>
            <a:fld id="{493BE2CA-3580-4496-997A-E3743F9953F8}" type="slidenum">
              <a:rPr lang="en-US" altLang="zh-TW" smtClean="0">
                <a:solidFill>
                  <a:srgbClr val="333333"/>
                </a:solidFill>
              </a:rPr>
              <a:pPr/>
              <a:t>‹#›</a:t>
            </a:fld>
            <a:endParaRPr lang="en-US" altLang="zh-TW">
              <a:solidFill>
                <a:srgbClr val="333333"/>
              </a:solidFill>
            </a:endParaRP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secHead" preserve="1">
  <p:cSld name="章節標題">
    <p:bg>
      <p:bgRef idx="1003">
        <a:schemeClr val="bg1"/>
      </p:bgRef>
    </p:bg>
    <p:spTree>
      <p:nvGrpSpPr>
        <p:cNvPr id="1" name=""/>
        <p:cNvGrpSpPr/>
        <p:nvPr/>
      </p:nvGrpSpPr>
      <p:grpSpPr>
        <a:xfrm>
          <a:off x="0" y="0"/>
          <a:ext cx="0" cy="0"/>
          <a:chOff x="0" y="0"/>
          <a:chExt cx="0" cy="0"/>
        </a:xfrm>
      </p:grpSpPr>
      <p:grpSp>
        <p:nvGrpSpPr>
          <p:cNvPr id="7" name="Group 92"/>
          <p:cNvGrpSpPr/>
          <p:nvPr/>
        </p:nvGrpSpPr>
        <p:grpSpPr>
          <a:xfrm>
            <a:off x="2" y="-30478"/>
            <a:ext cx="12090399" cy="4846320"/>
            <a:chOff x="1" y="-30477"/>
            <a:chExt cx="9067799" cy="4526277"/>
          </a:xfrm>
        </p:grpSpPr>
        <p:cxnSp>
          <p:nvCxnSpPr>
            <p:cNvPr id="8" name="Straight Connector 7"/>
            <p:cNvCxnSpPr/>
            <p:nvPr/>
          </p:nvCxnSpPr>
          <p:spPr>
            <a:xfrm rot="16200000" flipH="1">
              <a:off x="-271665" y="2166212"/>
              <a:ext cx="4505731"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16200000" flipH="1">
              <a:off x="-462165" y="2051912"/>
              <a:ext cx="4505731"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rot="5400000">
              <a:off x="-309765" y="2051912"/>
              <a:ext cx="4505731"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rot="5400000">
              <a:off x="-2062365" y="2128112"/>
              <a:ext cx="4505731" cy="2286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rot="16200000" flipH="1">
              <a:off x="-2138565" y="2128112"/>
              <a:ext cx="4505731" cy="228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rot="16200000" flipH="1">
              <a:off x="-195465" y="1785212"/>
              <a:ext cx="4505731" cy="9144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16200000" flipH="1">
              <a:off x="-1643265" y="2013812"/>
              <a:ext cx="4505731" cy="457200"/>
            </a:xfrm>
            <a:prstGeom prst="line">
              <a:avLst/>
            </a:prstGeom>
            <a:ln>
              <a:solidFill>
                <a:schemeClr val="accent1">
                  <a:alpha val="9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rot="5400000">
              <a:off x="-1528964" y="2051912"/>
              <a:ext cx="4505731" cy="381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rot="16200000" flipH="1">
              <a:off x="-957465" y="2013812"/>
              <a:ext cx="4505731" cy="457199"/>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rot="16200000" flipH="1">
              <a:off x="-1948065" y="2090012"/>
              <a:ext cx="4505731"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rot="16200000" flipH="1">
              <a:off x="-652664" y="2166211"/>
              <a:ext cx="4505731" cy="152401"/>
            </a:xfrm>
            <a:prstGeom prst="line">
              <a:avLst/>
            </a:prstGeom>
            <a:ln w="57150">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rot="16200000" flipH="1">
              <a:off x="-1643265" y="2166212"/>
              <a:ext cx="4505731"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rot="16200000" flipH="1">
              <a:off x="-1790700" y="2019300"/>
              <a:ext cx="4495800" cy="45720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rot="5400000">
              <a:off x="-555510" y="1535657"/>
              <a:ext cx="4505731" cy="1413510"/>
            </a:xfrm>
            <a:prstGeom prst="line">
              <a:avLst/>
            </a:prstGeom>
            <a:ln>
              <a:solidFill>
                <a:schemeClr val="accent1">
                  <a:alpha val="39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5400000">
              <a:off x="34087" y="2090964"/>
              <a:ext cx="4505731" cy="302895"/>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rot="5400000">
              <a:off x="261735" y="2090012"/>
              <a:ext cx="4505731"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5400000">
              <a:off x="-679335" y="2040482"/>
              <a:ext cx="4505731" cy="40386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16200000" flipH="1">
              <a:off x="-1467052" y="2066200"/>
              <a:ext cx="4505731" cy="352425"/>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16200000" flipH="1">
              <a:off x="-778395" y="2139542"/>
              <a:ext cx="4505731" cy="205740"/>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16200000" flipH="1">
              <a:off x="-1186065" y="2166212"/>
              <a:ext cx="4505731"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rot="16200000" flipH="1">
              <a:off x="-957465" y="2166212"/>
              <a:ext cx="4505731"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16200000" flipH="1">
              <a:off x="2242935" y="2166212"/>
              <a:ext cx="4505731"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16200000" flipH="1">
              <a:off x="2052435" y="2051912"/>
              <a:ext cx="4505731"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rot="5400000">
              <a:off x="2204835" y="2051912"/>
              <a:ext cx="4505731" cy="381000"/>
            </a:xfrm>
            <a:prstGeom prst="line">
              <a:avLst/>
            </a:prstGeom>
            <a:ln w="47625">
              <a:solidFill>
                <a:schemeClr val="accent1">
                  <a:alpha val="63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5400000">
              <a:off x="452235" y="2128112"/>
              <a:ext cx="4505731" cy="2286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16200000" flipH="1">
              <a:off x="376035" y="2128112"/>
              <a:ext cx="4505731" cy="228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5400000">
              <a:off x="1023735" y="2242139"/>
              <a:ext cx="4505731" cy="1588"/>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6200000" flipH="1">
              <a:off x="871335" y="2013812"/>
              <a:ext cx="4505731" cy="457200"/>
            </a:xfrm>
            <a:prstGeom prst="line">
              <a:avLst/>
            </a:prstGeom>
            <a:ln w="47625">
              <a:solidFill>
                <a:schemeClr val="accent1">
                  <a:alpha val="63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5400000">
              <a:off x="985636" y="2051912"/>
              <a:ext cx="4505731" cy="381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flipH="1">
              <a:off x="1557135" y="2013812"/>
              <a:ext cx="4505731" cy="457199"/>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flipH="1">
              <a:off x="566535" y="2090012"/>
              <a:ext cx="4505731"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flipH="1">
              <a:off x="1861936" y="2166211"/>
              <a:ext cx="4505731" cy="152401"/>
            </a:xfrm>
            <a:prstGeom prst="line">
              <a:avLst/>
            </a:prstGeom>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6200000" flipH="1">
              <a:off x="871335" y="2166212"/>
              <a:ext cx="4505731"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5400000">
              <a:off x="147435" y="2128112"/>
              <a:ext cx="4505731" cy="22860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rot="5400000">
              <a:off x="1959090" y="1535657"/>
              <a:ext cx="4505731" cy="1413510"/>
            </a:xfrm>
            <a:prstGeom prst="line">
              <a:avLst/>
            </a:prstGeom>
            <a:ln>
              <a:solidFill>
                <a:schemeClr val="accent1">
                  <a:alpha val="39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5400000">
              <a:off x="2548687" y="2090964"/>
              <a:ext cx="4505731" cy="302895"/>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5400000">
              <a:off x="2776335" y="2166212"/>
              <a:ext cx="4505731"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5400000">
              <a:off x="1835265" y="2040482"/>
              <a:ext cx="4505731" cy="40386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6200000" flipH="1">
              <a:off x="1047548" y="2066200"/>
              <a:ext cx="4505731" cy="352425"/>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rot="16200000" flipH="1">
              <a:off x="1736205" y="2139542"/>
              <a:ext cx="4505731" cy="205740"/>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rot="16200000" flipH="1">
              <a:off x="1328535" y="2166212"/>
              <a:ext cx="4505731"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rot="16200000" flipH="1">
              <a:off x="1557135" y="2166212"/>
              <a:ext cx="4505731"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rot="16200000" flipH="1">
              <a:off x="3919335" y="2166212"/>
              <a:ext cx="4505731" cy="152400"/>
            </a:xfrm>
            <a:prstGeom prst="line">
              <a:avLst/>
            </a:prstGeom>
            <a:ln w="57150">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16200000" flipH="1">
              <a:off x="3271636" y="2051912"/>
              <a:ext cx="4505731"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rot="5400000">
              <a:off x="3881235" y="2051912"/>
              <a:ext cx="4505731"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rot="5400000">
              <a:off x="3004936" y="2090012"/>
              <a:ext cx="4505730" cy="3048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rot="16200000" flipH="1">
              <a:off x="2242935" y="2013813"/>
              <a:ext cx="4505731" cy="457199"/>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rot="16200000" flipH="1">
              <a:off x="3538336" y="2166212"/>
              <a:ext cx="4505731" cy="152401"/>
            </a:xfrm>
            <a:prstGeom prst="line">
              <a:avLst/>
            </a:prstGeom>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rot="5400000">
              <a:off x="3822180" y="1535657"/>
              <a:ext cx="4505731" cy="1413510"/>
            </a:xfrm>
            <a:prstGeom prst="line">
              <a:avLst/>
            </a:prstGeom>
            <a:ln>
              <a:solidFill>
                <a:schemeClr val="accent1">
                  <a:alpha val="56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rot="5400000">
              <a:off x="4225087" y="2090965"/>
              <a:ext cx="4505731" cy="302895"/>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rot="5400000">
              <a:off x="4071735" y="2090012"/>
              <a:ext cx="4505731" cy="304800"/>
            </a:xfrm>
            <a:prstGeom prst="line">
              <a:avLst/>
            </a:prstGeom>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rot="5400000">
              <a:off x="3565005" y="2040482"/>
              <a:ext cx="4505731" cy="40386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nvCxnSpPr>
          <p:spPr>
            <a:xfrm rot="16200000" flipH="1">
              <a:off x="3412605" y="2139542"/>
              <a:ext cx="4505731" cy="205740"/>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rot="16200000" flipH="1">
              <a:off x="2928735" y="2166212"/>
              <a:ext cx="4505731" cy="152400"/>
            </a:xfrm>
            <a:prstGeom prst="line">
              <a:avLst/>
            </a:prstGeom>
            <a:ln w="57150">
              <a:solidFill>
                <a:schemeClr val="accent1">
                  <a:alpha val="30000"/>
                </a:schemeClr>
              </a:solidFil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rot="16200000" flipH="1">
              <a:off x="3081135" y="2166212"/>
              <a:ext cx="4505731"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p:nvCxnSpPr>
          <p:spPr>
            <a:xfrm rot="5400000">
              <a:off x="4643235" y="2128112"/>
              <a:ext cx="4505731" cy="2286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rot="16200000" flipH="1">
              <a:off x="4643234" y="2128112"/>
              <a:ext cx="4505731" cy="22860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5400000">
              <a:off x="5214735" y="2242140"/>
              <a:ext cx="4505731" cy="1588"/>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16200000" flipH="1">
              <a:off x="5062335" y="2013812"/>
              <a:ext cx="4505731" cy="457200"/>
            </a:xfrm>
            <a:prstGeom prst="line">
              <a:avLst/>
            </a:prstGeom>
            <a:ln>
              <a:solidFill>
                <a:schemeClr val="accent1">
                  <a:alpha val="90000"/>
                </a:schemeClr>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rot="5400000">
              <a:off x="5176636" y="2051912"/>
              <a:ext cx="4505731" cy="381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rot="16200000" flipH="1">
              <a:off x="5748135" y="2013813"/>
              <a:ext cx="4505731" cy="457199"/>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flipH="1">
              <a:off x="4909935" y="2166212"/>
              <a:ext cx="4505731"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rot="5400000">
              <a:off x="4795635" y="2128112"/>
              <a:ext cx="4505731" cy="22860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rot="16200000" flipH="1">
              <a:off x="5390948" y="2066200"/>
              <a:ext cx="4505731" cy="352425"/>
            </a:xfrm>
            <a:prstGeom prst="line">
              <a:avLst/>
            </a:prstGeom>
            <a:ln w="15875">
              <a:solidFill>
                <a:schemeClr val="accent1">
                  <a:alpha val="72000"/>
                </a:schemeClr>
              </a:solidFil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rot="16200000" flipH="1">
              <a:off x="5927205" y="2139542"/>
              <a:ext cx="4505731" cy="205740"/>
            </a:xfrm>
            <a:prstGeom prst="line">
              <a:avLst/>
            </a:prstGeom>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rot="16200000" flipH="1">
              <a:off x="5519535" y="2166212"/>
              <a:ext cx="4505731"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p:nvCxnSpPr>
          <p:spPr>
            <a:xfrm rot="16200000" flipH="1">
              <a:off x="5748135" y="2166212"/>
              <a:ext cx="4505731" cy="152400"/>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rot="16200000" flipH="1">
              <a:off x="6433935" y="2166213"/>
              <a:ext cx="4505731" cy="1524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Straight Connector 75"/>
            <p:cNvCxnSpPr/>
            <p:nvPr/>
          </p:nvCxnSpPr>
          <p:spPr>
            <a:xfrm rot="16200000" flipH="1">
              <a:off x="6243435" y="2051913"/>
              <a:ext cx="4505731"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rot="5400000">
              <a:off x="6395835" y="2051913"/>
              <a:ext cx="4505731"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rot="16200000" flipH="1">
              <a:off x="6052936" y="2166212"/>
              <a:ext cx="4505731" cy="152401"/>
            </a:xfrm>
            <a:prstGeom prst="line">
              <a:avLst/>
            </a:prstGeom>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rot="5400000">
              <a:off x="6709356" y="2136834"/>
              <a:ext cx="4525755" cy="191133"/>
            </a:xfrm>
            <a:prstGeom prst="line">
              <a:avLst/>
            </a:prstGeom>
            <a:effectLst/>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rot="5400000">
              <a:off x="6026265" y="2040483"/>
              <a:ext cx="4505731" cy="403860"/>
            </a:xfrm>
            <a:prstGeom prst="line">
              <a:avLst/>
            </a:prstGeom>
            <a:ln w="47625">
              <a:solidFill>
                <a:schemeClr val="accent1">
                  <a:alpha val="63000"/>
                </a:schemeClr>
              </a:solidFill>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rot="16200000" flipH="1">
              <a:off x="5927205" y="2139543"/>
              <a:ext cx="4505731" cy="205740"/>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rot="5400000">
              <a:off x="6738734" y="2242140"/>
              <a:ext cx="4505732" cy="1588"/>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rot="5400000">
              <a:off x="3728835" y="2204312"/>
              <a:ext cx="4505731" cy="76200"/>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rot="16200000" flipH="1">
              <a:off x="4224135" y="2166212"/>
              <a:ext cx="4505731" cy="152400"/>
            </a:xfrm>
            <a:prstGeom prst="line">
              <a:avLst/>
            </a:prstGeom>
            <a:ln w="47625">
              <a:solidFill>
                <a:schemeClr val="accent1">
                  <a:alpha val="63000"/>
                </a:schemeClr>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rot="16200000" flipH="1">
              <a:off x="4414635" y="2051912"/>
              <a:ext cx="4505731" cy="381000"/>
            </a:xfrm>
            <a:prstGeom prst="line">
              <a:avLst/>
            </a:prstGeom>
            <a:ln w="19050">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rot="5400000">
              <a:off x="3309735" y="2090012"/>
              <a:ext cx="4505731" cy="304800"/>
            </a:xfrm>
            <a:prstGeom prst="line">
              <a:avLst/>
            </a:prstGeom>
            <a:ln w="47625">
              <a:solidFill>
                <a:schemeClr val="accent1">
                  <a:alpha val="63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rot="16200000" flipH="1">
              <a:off x="4324148" y="2066200"/>
              <a:ext cx="4505731" cy="352425"/>
            </a:xfrm>
            <a:prstGeom prst="line">
              <a:avLst/>
            </a:prstGeom>
            <a:ln w="15875">
              <a:solidFill>
                <a:schemeClr val="accent1">
                  <a:alpha val="72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rot="5400000">
              <a:off x="4948035" y="2051912"/>
              <a:ext cx="4505731" cy="381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rot="5400000">
              <a:off x="5405235" y="1747112"/>
              <a:ext cx="4505731" cy="990600"/>
            </a:xfrm>
            <a:prstGeom prst="line">
              <a:avLst/>
            </a:prstGeom>
            <a:ln w="28575">
              <a:solidFill>
                <a:schemeClr val="accent1">
                  <a:alpha val="58000"/>
                </a:schemeClr>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rot="16200000" flipH="1">
              <a:off x="2547735" y="2013814"/>
              <a:ext cx="4505731" cy="457199"/>
            </a:xfrm>
            <a:prstGeom prst="line">
              <a:avLst/>
            </a:prstGeom>
            <a:ln w="38100">
              <a:solidFill>
                <a:schemeClr val="accent1">
                  <a:alpha val="47000"/>
                </a:schemeClr>
              </a:solidFill>
            </a:ln>
          </p:spPr>
          <p:style>
            <a:lnRef idx="1">
              <a:schemeClr val="accent1"/>
            </a:lnRef>
            <a:fillRef idx="0">
              <a:schemeClr val="accent1"/>
            </a:fillRef>
            <a:effectRef idx="0">
              <a:schemeClr val="accent1"/>
            </a:effectRef>
            <a:fontRef idx="minor">
              <a:schemeClr val="tx1"/>
            </a:fontRef>
          </p:style>
        </p:cxnSp>
      </p:grpSp>
      <p:sp>
        <p:nvSpPr>
          <p:cNvPr id="94" name="Rectangle 93"/>
          <p:cNvSpPr/>
          <p:nvPr/>
        </p:nvSpPr>
        <p:spPr>
          <a:xfrm>
            <a:off x="0" y="4311168"/>
            <a:ext cx="12192000" cy="1905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Tw Cen MT"/>
              <a:ea typeface="+mn-ea"/>
              <a:cs typeface="+mn-cs"/>
            </a:endParaRPr>
          </a:p>
        </p:txBody>
      </p:sp>
      <p:cxnSp>
        <p:nvCxnSpPr>
          <p:cNvPr id="96" name="Straight Connector 95"/>
          <p:cNvCxnSpPr/>
          <p:nvPr/>
        </p:nvCxnSpPr>
        <p:spPr>
          <a:xfrm>
            <a:off x="0" y="4387368"/>
            <a:ext cx="12192000" cy="158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0" y="6138380"/>
            <a:ext cx="12192000" cy="1588"/>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609600" y="5621365"/>
            <a:ext cx="11074400" cy="414649"/>
          </a:xfrm>
        </p:spPr>
        <p:txBody>
          <a:bodyPr anchor="t"/>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TW" altLang="en-US"/>
              <a:t>按一下以編輯母片文字樣式</a:t>
            </a:r>
          </a:p>
        </p:txBody>
      </p:sp>
      <p:sp>
        <p:nvSpPr>
          <p:cNvPr id="95" name="Title 94"/>
          <p:cNvSpPr>
            <a:spLocks noGrp="1"/>
          </p:cNvSpPr>
          <p:nvPr>
            <p:ph type="title"/>
          </p:nvPr>
        </p:nvSpPr>
        <p:spPr>
          <a:xfrm>
            <a:off x="609600" y="4463568"/>
            <a:ext cx="11074400" cy="1143000"/>
          </a:xfrm>
        </p:spPr>
        <p:txBody>
          <a:bodyPr/>
          <a:lstStyle/>
          <a:p>
            <a:r>
              <a:rPr lang="zh-TW" altLang="en-US"/>
              <a:t>按一下以編輯母片標題樣式</a:t>
            </a:r>
            <a:endParaRPr lang="en-US"/>
          </a:p>
        </p:txBody>
      </p:sp>
      <p:sp>
        <p:nvSpPr>
          <p:cNvPr id="2" name="Date Placeholder 1"/>
          <p:cNvSpPr>
            <a:spLocks noGrp="1"/>
          </p:cNvSpPr>
          <p:nvPr>
            <p:ph type="dt" sz="half" idx="10"/>
          </p:nvPr>
        </p:nvSpPr>
        <p:spPr/>
        <p:txBody>
          <a:bodyPr/>
          <a:lstStyle/>
          <a:p>
            <a:pPr>
              <a:defRPr/>
            </a:pPr>
            <a:endParaRPr lang="en-US" altLang="zh-TW">
              <a:solidFill>
                <a:srgbClr val="333333"/>
              </a:solidFill>
            </a:endParaRPr>
          </a:p>
        </p:txBody>
      </p:sp>
      <p:sp>
        <p:nvSpPr>
          <p:cNvPr id="91" name="Footer Placeholder 90"/>
          <p:cNvSpPr>
            <a:spLocks noGrp="1"/>
          </p:cNvSpPr>
          <p:nvPr>
            <p:ph type="ftr" sz="quarter" idx="11"/>
          </p:nvPr>
        </p:nvSpPr>
        <p:spPr/>
        <p:txBody>
          <a:bodyPr/>
          <a:lstStyle/>
          <a:p>
            <a:pPr>
              <a:defRPr/>
            </a:pPr>
            <a:endParaRPr lang="en-US" altLang="zh-TW">
              <a:solidFill>
                <a:srgbClr val="333333"/>
              </a:solidFill>
            </a:endParaRPr>
          </a:p>
        </p:txBody>
      </p:sp>
      <p:sp>
        <p:nvSpPr>
          <p:cNvPr id="92" name="Slide Number Placeholder 91"/>
          <p:cNvSpPr>
            <a:spLocks noGrp="1"/>
          </p:cNvSpPr>
          <p:nvPr>
            <p:ph type="sldNum" sz="quarter" idx="12"/>
          </p:nvPr>
        </p:nvSpPr>
        <p:spPr/>
        <p:txBody>
          <a:bodyPr/>
          <a:lstStyle/>
          <a:p>
            <a:fld id="{3D5516DD-B0B3-44B0-A2BC-E2D7C46B1A4B}" type="slidenum">
              <a:rPr lang="en-US" altLang="zh-TW" smtClean="0">
                <a:solidFill>
                  <a:srgbClr val="333333"/>
                </a:solidFill>
              </a:rPr>
              <a:pPr/>
              <a:t>‹#›</a:t>
            </a:fld>
            <a:endParaRPr lang="en-US" altLang="zh-TW">
              <a:solidFill>
                <a:srgbClr val="333333"/>
              </a:solidFill>
            </a:endParaRPr>
          </a:p>
        </p:txBody>
      </p:sp>
    </p:spTree>
  </p:cSld>
  <p:clrMapOvr>
    <a:overrideClrMapping bg1="lt1" tx1="dk1" bg2="lt2" tx2="dk2" accent1="accent1" accent2="accent2" accent3="accent3" accent4="accent4" accent5="accent5" accent6="accent6" hlink="hlink" folHlink="folHlink"/>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Date Placeholder 4"/>
          <p:cNvSpPr>
            <a:spLocks noGrp="1"/>
          </p:cNvSpPr>
          <p:nvPr>
            <p:ph type="dt" sz="half" idx="10"/>
          </p:nvPr>
        </p:nvSpPr>
        <p:spPr/>
        <p:txBody>
          <a:bodyPr/>
          <a:lstStyle/>
          <a:p>
            <a:pPr>
              <a:defRPr/>
            </a:pPr>
            <a:endParaRPr lang="en-US" altLang="zh-TW">
              <a:solidFill>
                <a:srgbClr val="333333"/>
              </a:solidFill>
            </a:endParaRPr>
          </a:p>
        </p:txBody>
      </p:sp>
      <p:sp>
        <p:nvSpPr>
          <p:cNvPr id="6" name="Footer Placeholder 5"/>
          <p:cNvSpPr>
            <a:spLocks noGrp="1"/>
          </p:cNvSpPr>
          <p:nvPr>
            <p:ph type="ftr" sz="quarter" idx="11"/>
          </p:nvPr>
        </p:nvSpPr>
        <p:spPr/>
        <p:txBody>
          <a:bodyPr/>
          <a:lstStyle/>
          <a:p>
            <a:pPr>
              <a:defRPr/>
            </a:pPr>
            <a:endParaRPr lang="en-US" altLang="zh-TW">
              <a:solidFill>
                <a:srgbClr val="333333"/>
              </a:solidFill>
            </a:endParaRPr>
          </a:p>
        </p:txBody>
      </p:sp>
      <p:sp>
        <p:nvSpPr>
          <p:cNvPr id="7" name="Slide Number Placeholder 6"/>
          <p:cNvSpPr>
            <a:spLocks noGrp="1"/>
          </p:cNvSpPr>
          <p:nvPr>
            <p:ph type="sldNum" sz="quarter" idx="12"/>
          </p:nvPr>
        </p:nvSpPr>
        <p:spPr/>
        <p:txBody>
          <a:bodyPr/>
          <a:lstStyle/>
          <a:p>
            <a:fld id="{B656970B-52BA-42ED-B0E1-A3248C8FB4FB}" type="slidenum">
              <a:rPr lang="en-US" altLang="zh-TW" smtClean="0">
                <a:solidFill>
                  <a:srgbClr val="333333"/>
                </a:solidFill>
              </a:rPr>
              <a:pPr/>
              <a:t>‹#›</a:t>
            </a:fld>
            <a:endParaRPr lang="en-US" altLang="zh-TW">
              <a:solidFill>
                <a:srgbClr val="333333"/>
              </a:solidFill>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zh-TW" altLang="en-US"/>
              <a:t>按一下以編輯母片標題樣式</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5" name="Text Placeholder 4"/>
          <p:cNvSpPr>
            <a:spLocks noGrp="1"/>
          </p:cNvSpPr>
          <p:nvPr>
            <p:ph type="body" sz="quarter" idx="3"/>
          </p:nvPr>
        </p:nvSpPr>
        <p:spPr>
          <a:xfrm>
            <a:off x="6193368" y="1535113"/>
            <a:ext cx="5389033" cy="639762"/>
          </a:xfrm>
        </p:spPr>
        <p:txBody>
          <a:bodyPr anchor="b"/>
          <a:lstStyle>
            <a:lvl1pPr marL="0" indent="0" algn="ctr">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a:t>按一下以編輯母片文字樣式</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a:p>
        </p:txBody>
      </p:sp>
      <p:sp>
        <p:nvSpPr>
          <p:cNvPr id="7" name="Date Placeholder 6"/>
          <p:cNvSpPr>
            <a:spLocks noGrp="1"/>
          </p:cNvSpPr>
          <p:nvPr>
            <p:ph type="dt" sz="half" idx="10"/>
          </p:nvPr>
        </p:nvSpPr>
        <p:spPr/>
        <p:txBody>
          <a:bodyPr/>
          <a:lstStyle/>
          <a:p>
            <a:pPr>
              <a:defRPr/>
            </a:pPr>
            <a:endParaRPr lang="en-US" altLang="zh-TW">
              <a:solidFill>
                <a:srgbClr val="333333"/>
              </a:solidFill>
            </a:endParaRPr>
          </a:p>
        </p:txBody>
      </p:sp>
      <p:sp>
        <p:nvSpPr>
          <p:cNvPr id="8" name="Footer Placeholder 7"/>
          <p:cNvSpPr>
            <a:spLocks noGrp="1"/>
          </p:cNvSpPr>
          <p:nvPr>
            <p:ph type="ftr" sz="quarter" idx="11"/>
          </p:nvPr>
        </p:nvSpPr>
        <p:spPr/>
        <p:txBody>
          <a:bodyPr/>
          <a:lstStyle/>
          <a:p>
            <a:pPr>
              <a:defRPr/>
            </a:pPr>
            <a:endParaRPr lang="en-US" altLang="zh-TW">
              <a:solidFill>
                <a:srgbClr val="333333"/>
              </a:solidFill>
            </a:endParaRPr>
          </a:p>
        </p:txBody>
      </p:sp>
      <p:sp>
        <p:nvSpPr>
          <p:cNvPr id="9" name="Slide Number Placeholder 8"/>
          <p:cNvSpPr>
            <a:spLocks noGrp="1"/>
          </p:cNvSpPr>
          <p:nvPr>
            <p:ph type="sldNum" sz="quarter" idx="12"/>
          </p:nvPr>
        </p:nvSpPr>
        <p:spPr/>
        <p:txBody>
          <a:bodyPr/>
          <a:lstStyle/>
          <a:p>
            <a:fld id="{71C6897A-892D-49A2-8B3A-DF91BE74CD4B}" type="slidenum">
              <a:rPr lang="en-US" altLang="zh-TW" smtClean="0">
                <a:solidFill>
                  <a:srgbClr val="333333"/>
                </a:solidFill>
              </a:rPr>
              <a:pPr/>
              <a:t>‹#›</a:t>
            </a:fld>
            <a:endParaRPr lang="en-US" altLang="zh-TW">
              <a:solidFill>
                <a:srgbClr val="333333"/>
              </a:solidFill>
            </a:endParaRP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TW" altLang="en-US"/>
              <a:t>按一下以編輯母片標題樣式</a:t>
            </a:r>
            <a:endParaRPr lang="en-US"/>
          </a:p>
        </p:txBody>
      </p:sp>
      <p:sp>
        <p:nvSpPr>
          <p:cNvPr id="3" name="Date Placeholder 2"/>
          <p:cNvSpPr>
            <a:spLocks noGrp="1"/>
          </p:cNvSpPr>
          <p:nvPr>
            <p:ph type="dt" sz="half" idx="10"/>
          </p:nvPr>
        </p:nvSpPr>
        <p:spPr/>
        <p:txBody>
          <a:bodyPr/>
          <a:lstStyle/>
          <a:p>
            <a:pPr>
              <a:defRPr/>
            </a:pPr>
            <a:endParaRPr lang="en-US" altLang="zh-TW">
              <a:solidFill>
                <a:srgbClr val="333333"/>
              </a:solidFill>
            </a:endParaRPr>
          </a:p>
        </p:txBody>
      </p:sp>
      <p:sp>
        <p:nvSpPr>
          <p:cNvPr id="4" name="Footer Placeholder 3"/>
          <p:cNvSpPr>
            <a:spLocks noGrp="1"/>
          </p:cNvSpPr>
          <p:nvPr>
            <p:ph type="ftr" sz="quarter" idx="11"/>
          </p:nvPr>
        </p:nvSpPr>
        <p:spPr/>
        <p:txBody>
          <a:bodyPr/>
          <a:lstStyle/>
          <a:p>
            <a:pPr>
              <a:defRPr/>
            </a:pPr>
            <a:endParaRPr lang="en-US" altLang="zh-TW">
              <a:solidFill>
                <a:srgbClr val="333333"/>
              </a:solidFill>
            </a:endParaRPr>
          </a:p>
        </p:txBody>
      </p:sp>
      <p:sp>
        <p:nvSpPr>
          <p:cNvPr id="5" name="Slide Number Placeholder 4"/>
          <p:cNvSpPr>
            <a:spLocks noGrp="1"/>
          </p:cNvSpPr>
          <p:nvPr>
            <p:ph type="sldNum" sz="quarter" idx="12"/>
          </p:nvPr>
        </p:nvSpPr>
        <p:spPr/>
        <p:txBody>
          <a:bodyPr/>
          <a:lstStyle/>
          <a:p>
            <a:fld id="{86ED046B-A032-4AA1-B749-173B1DC3C7DD}" type="slidenum">
              <a:rPr lang="en-US" altLang="zh-TW" smtClean="0">
                <a:solidFill>
                  <a:srgbClr val="333333"/>
                </a:solidFill>
              </a:rPr>
              <a:pPr/>
              <a:t>‹#›</a:t>
            </a:fld>
            <a:endParaRPr lang="en-US" altLang="zh-TW">
              <a:solidFill>
                <a:srgbClr val="333333"/>
              </a:solidFill>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a:defRPr/>
            </a:pPr>
            <a:endParaRPr lang="en-US" altLang="zh-TW">
              <a:solidFill>
                <a:srgbClr val="333333"/>
              </a:solidFill>
            </a:endParaRPr>
          </a:p>
        </p:txBody>
      </p:sp>
      <p:sp>
        <p:nvSpPr>
          <p:cNvPr id="3" name="Footer Placeholder 2"/>
          <p:cNvSpPr>
            <a:spLocks noGrp="1"/>
          </p:cNvSpPr>
          <p:nvPr>
            <p:ph type="ftr" sz="quarter" idx="11"/>
          </p:nvPr>
        </p:nvSpPr>
        <p:spPr/>
        <p:txBody>
          <a:bodyPr/>
          <a:lstStyle/>
          <a:p>
            <a:pPr>
              <a:defRPr/>
            </a:pPr>
            <a:endParaRPr lang="en-US" altLang="zh-TW">
              <a:solidFill>
                <a:srgbClr val="333333"/>
              </a:solidFill>
            </a:endParaRPr>
          </a:p>
        </p:txBody>
      </p:sp>
      <p:sp>
        <p:nvSpPr>
          <p:cNvPr id="4" name="Slide Number Placeholder 3"/>
          <p:cNvSpPr>
            <a:spLocks noGrp="1"/>
          </p:cNvSpPr>
          <p:nvPr>
            <p:ph type="sldNum" sz="quarter" idx="12"/>
          </p:nvPr>
        </p:nvSpPr>
        <p:spPr/>
        <p:txBody>
          <a:bodyPr/>
          <a:lstStyle/>
          <a:p>
            <a:fld id="{FB8F0D56-9119-4881-A440-FBBDC90AF81E}" type="slidenum">
              <a:rPr lang="en-US" altLang="zh-TW" smtClean="0">
                <a:solidFill>
                  <a:srgbClr val="333333"/>
                </a:solidFill>
              </a:rPr>
              <a:pPr/>
              <a:t>‹#›</a:t>
            </a:fld>
            <a:endParaRPr lang="en-US" altLang="zh-TW">
              <a:solidFill>
                <a:srgbClr val="333333"/>
              </a:solidFill>
            </a:endParaRPr>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9" Type="http://schemas.openxmlformats.org/officeDocument/2006/relationships/slideLayout" Target="../slideLayouts/slideLayout79.xml"/><Relationship Id="rId21" Type="http://schemas.openxmlformats.org/officeDocument/2006/relationships/slideLayout" Target="../slideLayouts/slideLayout61.xml"/><Relationship Id="rId34" Type="http://schemas.openxmlformats.org/officeDocument/2006/relationships/slideLayout" Target="../slideLayouts/slideLayout74.xml"/><Relationship Id="rId42" Type="http://schemas.openxmlformats.org/officeDocument/2006/relationships/theme" Target="../theme/theme2.xml"/><Relationship Id="rId7" Type="http://schemas.openxmlformats.org/officeDocument/2006/relationships/slideLayout" Target="../slideLayouts/slideLayout4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slideLayout" Target="../slideLayouts/slideLayout69.xml"/><Relationship Id="rId41" Type="http://schemas.openxmlformats.org/officeDocument/2006/relationships/slideLayout" Target="../slideLayouts/slideLayout81.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32" Type="http://schemas.openxmlformats.org/officeDocument/2006/relationships/slideLayout" Target="../slideLayouts/slideLayout72.xml"/><Relationship Id="rId37" Type="http://schemas.openxmlformats.org/officeDocument/2006/relationships/slideLayout" Target="../slideLayouts/slideLayout77.xml"/><Relationship Id="rId40" Type="http://schemas.openxmlformats.org/officeDocument/2006/relationships/slideLayout" Target="../slideLayouts/slideLayout80.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slideLayout" Target="../slideLayouts/slideLayout68.xml"/><Relationship Id="rId36" Type="http://schemas.openxmlformats.org/officeDocument/2006/relationships/slideLayout" Target="../slideLayouts/slideLayout76.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31" Type="http://schemas.openxmlformats.org/officeDocument/2006/relationships/slideLayout" Target="../slideLayouts/slideLayout71.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openxmlformats.org/officeDocument/2006/relationships/slideLayout" Target="../slideLayouts/slideLayout70.xml"/><Relationship Id="rId35" Type="http://schemas.openxmlformats.org/officeDocument/2006/relationships/slideLayout" Target="../slideLayouts/slideLayout75.xml"/><Relationship Id="rId8" Type="http://schemas.openxmlformats.org/officeDocument/2006/relationships/slideLayout" Target="../slideLayouts/slideLayout48.xml"/><Relationship Id="rId3" Type="http://schemas.openxmlformats.org/officeDocument/2006/relationships/slideLayout" Target="../slideLayouts/slideLayout43.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33" Type="http://schemas.openxmlformats.org/officeDocument/2006/relationships/slideLayout" Target="../slideLayouts/slideLayout73.xml"/><Relationship Id="rId38" Type="http://schemas.openxmlformats.org/officeDocument/2006/relationships/slideLayout" Target="../slideLayouts/slideLayout7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89.xml"/><Relationship Id="rId3" Type="http://schemas.openxmlformats.org/officeDocument/2006/relationships/slideLayout" Target="../slideLayouts/slideLayout84.xml"/><Relationship Id="rId7" Type="http://schemas.openxmlformats.org/officeDocument/2006/relationships/slideLayout" Target="../slideLayouts/slideLayout88.xml"/><Relationship Id="rId12" Type="http://schemas.openxmlformats.org/officeDocument/2006/relationships/theme" Target="../theme/theme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5" Type="http://schemas.openxmlformats.org/officeDocument/2006/relationships/slideLayout" Target="../slideLayouts/slideLayout86.xml"/><Relationship Id="rId10" Type="http://schemas.openxmlformats.org/officeDocument/2006/relationships/slideLayout" Target="../slideLayouts/slideLayout91.xml"/><Relationship Id="rId4" Type="http://schemas.openxmlformats.org/officeDocument/2006/relationships/slideLayout" Target="../slideLayouts/slideLayout85.xml"/><Relationship Id="rId9" Type="http://schemas.openxmlformats.org/officeDocument/2006/relationships/slideLayout" Target="../slideLayouts/slideLayout9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8.xml"/><Relationship Id="rId18" Type="http://schemas.openxmlformats.org/officeDocument/2006/relationships/slideLayout" Target="../slideLayouts/slideLayout123.xml"/><Relationship Id="rId26" Type="http://schemas.openxmlformats.org/officeDocument/2006/relationships/slideLayout" Target="../slideLayouts/slideLayout131.xml"/><Relationship Id="rId39" Type="http://schemas.openxmlformats.org/officeDocument/2006/relationships/slideLayout" Target="../slideLayouts/slideLayout144.xml"/><Relationship Id="rId21" Type="http://schemas.openxmlformats.org/officeDocument/2006/relationships/slideLayout" Target="../slideLayouts/slideLayout126.xml"/><Relationship Id="rId34" Type="http://schemas.openxmlformats.org/officeDocument/2006/relationships/slideLayout" Target="../slideLayouts/slideLayout139.xml"/><Relationship Id="rId7" Type="http://schemas.openxmlformats.org/officeDocument/2006/relationships/slideLayout" Target="../slideLayouts/slideLayout112.xml"/><Relationship Id="rId2" Type="http://schemas.openxmlformats.org/officeDocument/2006/relationships/slideLayout" Target="../slideLayouts/slideLayout107.xml"/><Relationship Id="rId16" Type="http://schemas.openxmlformats.org/officeDocument/2006/relationships/slideLayout" Target="../slideLayouts/slideLayout121.xml"/><Relationship Id="rId20" Type="http://schemas.openxmlformats.org/officeDocument/2006/relationships/slideLayout" Target="../slideLayouts/slideLayout125.xml"/><Relationship Id="rId29" Type="http://schemas.openxmlformats.org/officeDocument/2006/relationships/slideLayout" Target="../slideLayouts/slideLayout134.xml"/><Relationship Id="rId41" Type="http://schemas.openxmlformats.org/officeDocument/2006/relationships/theme" Target="../theme/theme5.xml"/><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24" Type="http://schemas.openxmlformats.org/officeDocument/2006/relationships/slideLayout" Target="../slideLayouts/slideLayout129.xml"/><Relationship Id="rId32" Type="http://schemas.openxmlformats.org/officeDocument/2006/relationships/slideLayout" Target="../slideLayouts/slideLayout137.xml"/><Relationship Id="rId37" Type="http://schemas.openxmlformats.org/officeDocument/2006/relationships/slideLayout" Target="../slideLayouts/slideLayout142.xml"/><Relationship Id="rId40" Type="http://schemas.openxmlformats.org/officeDocument/2006/relationships/slideLayout" Target="../slideLayouts/slideLayout145.xml"/><Relationship Id="rId5" Type="http://schemas.openxmlformats.org/officeDocument/2006/relationships/slideLayout" Target="../slideLayouts/slideLayout110.xml"/><Relationship Id="rId15" Type="http://schemas.openxmlformats.org/officeDocument/2006/relationships/slideLayout" Target="../slideLayouts/slideLayout120.xml"/><Relationship Id="rId23" Type="http://schemas.openxmlformats.org/officeDocument/2006/relationships/slideLayout" Target="../slideLayouts/slideLayout128.xml"/><Relationship Id="rId28" Type="http://schemas.openxmlformats.org/officeDocument/2006/relationships/slideLayout" Target="../slideLayouts/slideLayout133.xml"/><Relationship Id="rId36" Type="http://schemas.openxmlformats.org/officeDocument/2006/relationships/slideLayout" Target="../slideLayouts/slideLayout141.xml"/><Relationship Id="rId10" Type="http://schemas.openxmlformats.org/officeDocument/2006/relationships/slideLayout" Target="../slideLayouts/slideLayout115.xml"/><Relationship Id="rId19" Type="http://schemas.openxmlformats.org/officeDocument/2006/relationships/slideLayout" Target="../slideLayouts/slideLayout124.xml"/><Relationship Id="rId31" Type="http://schemas.openxmlformats.org/officeDocument/2006/relationships/slideLayout" Target="../slideLayouts/slideLayout136.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slideLayout" Target="../slideLayouts/slideLayout119.xml"/><Relationship Id="rId22" Type="http://schemas.openxmlformats.org/officeDocument/2006/relationships/slideLayout" Target="../slideLayouts/slideLayout127.xml"/><Relationship Id="rId27" Type="http://schemas.openxmlformats.org/officeDocument/2006/relationships/slideLayout" Target="../slideLayouts/slideLayout132.xml"/><Relationship Id="rId30" Type="http://schemas.openxmlformats.org/officeDocument/2006/relationships/slideLayout" Target="../slideLayouts/slideLayout135.xml"/><Relationship Id="rId35" Type="http://schemas.openxmlformats.org/officeDocument/2006/relationships/slideLayout" Target="../slideLayouts/slideLayout140.xml"/><Relationship Id="rId8" Type="http://schemas.openxmlformats.org/officeDocument/2006/relationships/slideLayout" Target="../slideLayouts/slideLayout113.xml"/><Relationship Id="rId3" Type="http://schemas.openxmlformats.org/officeDocument/2006/relationships/slideLayout" Target="../slideLayouts/slideLayout108.xml"/><Relationship Id="rId12" Type="http://schemas.openxmlformats.org/officeDocument/2006/relationships/slideLayout" Target="../slideLayouts/slideLayout117.xml"/><Relationship Id="rId17" Type="http://schemas.openxmlformats.org/officeDocument/2006/relationships/slideLayout" Target="../slideLayouts/slideLayout122.xml"/><Relationship Id="rId25" Type="http://schemas.openxmlformats.org/officeDocument/2006/relationships/slideLayout" Target="../slideLayouts/slideLayout130.xml"/><Relationship Id="rId33" Type="http://schemas.openxmlformats.org/officeDocument/2006/relationships/slideLayout" Target="../slideLayouts/slideLayout138.xml"/><Relationship Id="rId38" Type="http://schemas.openxmlformats.org/officeDocument/2006/relationships/slideLayout" Target="../slideLayouts/slideLayout14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58.xml"/><Relationship Id="rId18" Type="http://schemas.openxmlformats.org/officeDocument/2006/relationships/slideLayout" Target="../slideLayouts/slideLayout163.xml"/><Relationship Id="rId26" Type="http://schemas.openxmlformats.org/officeDocument/2006/relationships/slideLayout" Target="../slideLayouts/slideLayout171.xml"/><Relationship Id="rId39" Type="http://schemas.openxmlformats.org/officeDocument/2006/relationships/slideLayout" Target="../slideLayouts/slideLayout184.xml"/><Relationship Id="rId21" Type="http://schemas.openxmlformats.org/officeDocument/2006/relationships/slideLayout" Target="../slideLayouts/slideLayout166.xml"/><Relationship Id="rId34" Type="http://schemas.openxmlformats.org/officeDocument/2006/relationships/slideLayout" Target="../slideLayouts/slideLayout179.xml"/><Relationship Id="rId42" Type="http://schemas.openxmlformats.org/officeDocument/2006/relationships/theme" Target="../theme/theme6.xml"/><Relationship Id="rId7" Type="http://schemas.openxmlformats.org/officeDocument/2006/relationships/slideLayout" Target="../slideLayouts/slideLayout152.xml"/><Relationship Id="rId2" Type="http://schemas.openxmlformats.org/officeDocument/2006/relationships/slideLayout" Target="../slideLayouts/slideLayout147.xml"/><Relationship Id="rId16" Type="http://schemas.openxmlformats.org/officeDocument/2006/relationships/slideLayout" Target="../slideLayouts/slideLayout161.xml"/><Relationship Id="rId20" Type="http://schemas.openxmlformats.org/officeDocument/2006/relationships/slideLayout" Target="../slideLayouts/slideLayout165.xml"/><Relationship Id="rId29" Type="http://schemas.openxmlformats.org/officeDocument/2006/relationships/slideLayout" Target="../slideLayouts/slideLayout174.xml"/><Relationship Id="rId41" Type="http://schemas.openxmlformats.org/officeDocument/2006/relationships/slideLayout" Target="../slideLayouts/slideLayout186.xml"/><Relationship Id="rId1" Type="http://schemas.openxmlformats.org/officeDocument/2006/relationships/slideLayout" Target="../slideLayouts/slideLayout146.xml"/><Relationship Id="rId6" Type="http://schemas.openxmlformats.org/officeDocument/2006/relationships/slideLayout" Target="../slideLayouts/slideLayout151.xml"/><Relationship Id="rId11" Type="http://schemas.openxmlformats.org/officeDocument/2006/relationships/slideLayout" Target="../slideLayouts/slideLayout156.xml"/><Relationship Id="rId24" Type="http://schemas.openxmlformats.org/officeDocument/2006/relationships/slideLayout" Target="../slideLayouts/slideLayout169.xml"/><Relationship Id="rId32" Type="http://schemas.openxmlformats.org/officeDocument/2006/relationships/slideLayout" Target="../slideLayouts/slideLayout177.xml"/><Relationship Id="rId37" Type="http://schemas.openxmlformats.org/officeDocument/2006/relationships/slideLayout" Target="../slideLayouts/slideLayout182.xml"/><Relationship Id="rId40" Type="http://schemas.openxmlformats.org/officeDocument/2006/relationships/slideLayout" Target="../slideLayouts/slideLayout185.xml"/><Relationship Id="rId5" Type="http://schemas.openxmlformats.org/officeDocument/2006/relationships/slideLayout" Target="../slideLayouts/slideLayout150.xml"/><Relationship Id="rId15" Type="http://schemas.openxmlformats.org/officeDocument/2006/relationships/slideLayout" Target="../slideLayouts/slideLayout160.xml"/><Relationship Id="rId23" Type="http://schemas.openxmlformats.org/officeDocument/2006/relationships/slideLayout" Target="../slideLayouts/slideLayout168.xml"/><Relationship Id="rId28" Type="http://schemas.openxmlformats.org/officeDocument/2006/relationships/slideLayout" Target="../slideLayouts/slideLayout173.xml"/><Relationship Id="rId36" Type="http://schemas.openxmlformats.org/officeDocument/2006/relationships/slideLayout" Target="../slideLayouts/slideLayout181.xml"/><Relationship Id="rId10" Type="http://schemas.openxmlformats.org/officeDocument/2006/relationships/slideLayout" Target="../slideLayouts/slideLayout155.xml"/><Relationship Id="rId19" Type="http://schemas.openxmlformats.org/officeDocument/2006/relationships/slideLayout" Target="../slideLayouts/slideLayout164.xml"/><Relationship Id="rId31" Type="http://schemas.openxmlformats.org/officeDocument/2006/relationships/slideLayout" Target="../slideLayouts/slideLayout176.xml"/><Relationship Id="rId4" Type="http://schemas.openxmlformats.org/officeDocument/2006/relationships/slideLayout" Target="../slideLayouts/slideLayout149.xml"/><Relationship Id="rId9" Type="http://schemas.openxmlformats.org/officeDocument/2006/relationships/slideLayout" Target="../slideLayouts/slideLayout154.xml"/><Relationship Id="rId14" Type="http://schemas.openxmlformats.org/officeDocument/2006/relationships/slideLayout" Target="../slideLayouts/slideLayout159.xml"/><Relationship Id="rId22" Type="http://schemas.openxmlformats.org/officeDocument/2006/relationships/slideLayout" Target="../slideLayouts/slideLayout167.xml"/><Relationship Id="rId27" Type="http://schemas.openxmlformats.org/officeDocument/2006/relationships/slideLayout" Target="../slideLayouts/slideLayout172.xml"/><Relationship Id="rId30" Type="http://schemas.openxmlformats.org/officeDocument/2006/relationships/slideLayout" Target="../slideLayouts/slideLayout175.xml"/><Relationship Id="rId35" Type="http://schemas.openxmlformats.org/officeDocument/2006/relationships/slideLayout" Target="../slideLayouts/slideLayout180.xml"/><Relationship Id="rId8" Type="http://schemas.openxmlformats.org/officeDocument/2006/relationships/slideLayout" Target="../slideLayouts/slideLayout153.xml"/><Relationship Id="rId3" Type="http://schemas.openxmlformats.org/officeDocument/2006/relationships/slideLayout" Target="../slideLayouts/slideLayout148.xml"/><Relationship Id="rId12" Type="http://schemas.openxmlformats.org/officeDocument/2006/relationships/slideLayout" Target="../slideLayouts/slideLayout157.xml"/><Relationship Id="rId17" Type="http://schemas.openxmlformats.org/officeDocument/2006/relationships/slideLayout" Target="../slideLayouts/slideLayout162.xml"/><Relationship Id="rId25" Type="http://schemas.openxmlformats.org/officeDocument/2006/relationships/slideLayout" Target="../slideLayouts/slideLayout170.xml"/><Relationship Id="rId33" Type="http://schemas.openxmlformats.org/officeDocument/2006/relationships/slideLayout" Target="../slideLayouts/slideLayout178.xml"/><Relationship Id="rId38" Type="http://schemas.openxmlformats.org/officeDocument/2006/relationships/slideLayout" Target="../slideLayouts/slideLayout18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 y="758952"/>
            <a:ext cx="3443591"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252920" y="1123841"/>
            <a:ext cx="2947483" cy="4601183"/>
          </a:xfrm>
          <a:prstGeom prst="rect">
            <a:avLst/>
          </a:prstGeom>
        </p:spPr>
        <p:txBody>
          <a:bodyPr vert="horz" lIns="91440" tIns="45720" rIns="91440" bIns="45720" rtlCol="0" anchor="ctr">
            <a:normAutofit/>
          </a:bodyPr>
          <a:lstStyle/>
          <a:p>
            <a:r>
              <a:rPr lang="zh-TW" altLang="en-US"/>
              <a:t>按一下以編輯母片標題樣式</a:t>
            </a:r>
            <a:endParaRPr lang="en-US" dirty="0"/>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2"/>
          </p:nvPr>
        </p:nvSpPr>
        <p:spPr>
          <a:xfrm>
            <a:off x="262465" y="6356354"/>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9BA3A13D-7ACC-4350-B368-5F9372CAD98C}" type="datetimeFigureOut">
              <a:rPr lang="zh-TW" altLang="en-US" smtClean="0"/>
              <a:pPr/>
              <a:t>2021/1/7</a:t>
            </a:fld>
            <a:endParaRPr lang="zh-TW" altLang="en-US"/>
          </a:p>
        </p:txBody>
      </p:sp>
      <p:sp>
        <p:nvSpPr>
          <p:cNvPr id="5" name="Footer Placeholder 4"/>
          <p:cNvSpPr>
            <a:spLocks noGrp="1"/>
          </p:cNvSpPr>
          <p:nvPr>
            <p:ph type="ftr" sz="quarter" idx="3"/>
          </p:nvPr>
        </p:nvSpPr>
        <p:spPr>
          <a:xfrm>
            <a:off x="3869268" y="6356354"/>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zh-TW" altLang="en-US"/>
          </a:p>
        </p:txBody>
      </p:sp>
      <p:sp>
        <p:nvSpPr>
          <p:cNvPr id="6" name="Slide Number Placeholder 5"/>
          <p:cNvSpPr>
            <a:spLocks noGrp="1"/>
          </p:cNvSpPr>
          <p:nvPr>
            <p:ph type="sldNum" sz="quarter" idx="4"/>
          </p:nvPr>
        </p:nvSpPr>
        <p:spPr>
          <a:xfrm>
            <a:off x="10634138" y="6356354"/>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C5FB5DBE-E833-4178-8808-7A854EF00A8D}" type="slidenum">
              <a:rPr lang="zh-TW" altLang="en-US" smtClean="0"/>
              <a:pPr/>
              <a:t>‹#›</a:t>
            </a:fld>
            <a:endParaRPr lang="zh-TW" altLang="en-US"/>
          </a:p>
        </p:txBody>
      </p:sp>
    </p:spTree>
    <p:extLst>
      <p:ext uri="{BB962C8B-B14F-4D97-AF65-F5344CB8AC3E}">
        <p14:creationId xmlns:p14="http://schemas.microsoft.com/office/powerpoint/2010/main" val="1429629398"/>
      </p:ext>
    </p:extLst>
  </p:cSld>
  <p:clrMap bg1="lt1" tx1="dk1" bg2="lt2" tx2="dk2" accent1="accent1" accent2="accent2" accent3="accent3" accent4="accent4" accent5="accent5" accent6="accent6" hlink="hlink" folHlink="folHlink"/>
  <p:sldLayoutIdLst>
    <p:sldLayoutId id="2147483968" r:id="rId1"/>
    <p:sldLayoutId id="2147483969" r:id="rId2"/>
    <p:sldLayoutId id="2147483970" r:id="rId3"/>
    <p:sldLayoutId id="2147483971" r:id="rId4"/>
    <p:sldLayoutId id="2147483972" r:id="rId5"/>
    <p:sldLayoutId id="2147483973" r:id="rId6"/>
    <p:sldLayoutId id="2147483974" r:id="rId7"/>
    <p:sldLayoutId id="2147483975" r:id="rId8"/>
    <p:sldLayoutId id="2147483976" r:id="rId9"/>
    <p:sldLayoutId id="2147483977" r:id="rId10"/>
    <p:sldLayoutId id="2147483978" r:id="rId11"/>
    <p:sldLayoutId id="2147483792" r:id="rId12"/>
    <p:sldLayoutId id="2147483793" r:id="rId13"/>
    <p:sldLayoutId id="2147483794" r:id="rId14"/>
    <p:sldLayoutId id="2147483795" r:id="rId15"/>
    <p:sldLayoutId id="2147483797" r:id="rId16"/>
    <p:sldLayoutId id="2147483798" r:id="rId17"/>
    <p:sldLayoutId id="2147483799" r:id="rId18"/>
    <p:sldLayoutId id="2147483800" r:id="rId19"/>
    <p:sldLayoutId id="2147483801" r:id="rId20"/>
    <p:sldLayoutId id="2147483802" r:id="rId21"/>
    <p:sldLayoutId id="2147483803" r:id="rId22"/>
    <p:sldLayoutId id="2147483804" r:id="rId23"/>
    <p:sldLayoutId id="2147483805" r:id="rId24"/>
    <p:sldLayoutId id="2147483806" r:id="rId25"/>
    <p:sldLayoutId id="2147483807" r:id="rId26"/>
    <p:sldLayoutId id="2147483808" r:id="rId27"/>
    <p:sldLayoutId id="2147483809" r:id="rId28"/>
    <p:sldLayoutId id="2147483810" r:id="rId29"/>
    <p:sldLayoutId id="2147483811" r:id="rId30"/>
    <p:sldLayoutId id="2147483812" r:id="rId31"/>
    <p:sldLayoutId id="2147483814" r:id="rId32"/>
    <p:sldLayoutId id="2147483815" r:id="rId33"/>
    <p:sldLayoutId id="2147483816" r:id="rId34"/>
    <p:sldLayoutId id="2147483817" r:id="rId35"/>
    <p:sldLayoutId id="2147483818" r:id="rId36"/>
    <p:sldLayoutId id="2147483819" r:id="rId37"/>
    <p:sldLayoutId id="2147483820" r:id="rId38"/>
    <p:sldLayoutId id="2147483821" r:id="rId39"/>
    <p:sldLayoutId id="2147483822" r:id="rId40"/>
  </p:sldLayoutIdLst>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252919" y="1123837"/>
            <a:ext cx="2947482" cy="4601183"/>
          </a:xfrm>
          <a:prstGeom prst="rect">
            <a:avLst/>
          </a:prstGeom>
        </p:spPr>
        <p:txBody>
          <a:bodyPr vert="horz" lIns="91440" tIns="45720" rIns="91440" bIns="45720" rtlCol="0" anchor="ctr">
            <a:normAutofit/>
          </a:bodyPr>
          <a:lstStyle/>
          <a:p>
            <a:r>
              <a:rPr lang="zh-TW" altLang="en-US"/>
              <a:t>按一下以編輯母片標題樣式</a:t>
            </a:r>
            <a:endParaRPr lang="en-US" dirty="0"/>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2"/>
          </p:nvPr>
        </p:nvSpPr>
        <p:spPr>
          <a:xfrm>
            <a:off x="262465" y="6356350"/>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3404746279"/>
      </p:ext>
    </p:extLst>
  </p:cSld>
  <p:clrMap bg1="lt1" tx1="dk1" bg2="lt2" tx2="dk2" accent1="accent1" accent2="accent2" accent3="accent3" accent4="accent4" accent5="accent5" accent6="accent6" hlink="hlink" folHlink="folHlink"/>
  <p:sldLayoutIdLst>
    <p:sldLayoutId id="2147484007" r:id="rId1"/>
    <p:sldLayoutId id="2147484008" r:id="rId2"/>
    <p:sldLayoutId id="2147484009" r:id="rId3"/>
    <p:sldLayoutId id="2147484010" r:id="rId4"/>
    <p:sldLayoutId id="2147484011" r:id="rId5"/>
    <p:sldLayoutId id="2147484012" r:id="rId6"/>
    <p:sldLayoutId id="2147484013" r:id="rId7"/>
    <p:sldLayoutId id="2147484014" r:id="rId8"/>
    <p:sldLayoutId id="2147484015" r:id="rId9"/>
    <p:sldLayoutId id="2147484016" r:id="rId10"/>
    <p:sldLayoutId id="2147484017" r:id="rId11"/>
    <p:sldLayoutId id="2147484018" r:id="rId12"/>
    <p:sldLayoutId id="2147484019" r:id="rId13"/>
    <p:sldLayoutId id="2147484020" r:id="rId14"/>
    <p:sldLayoutId id="2147484021" r:id="rId15"/>
    <p:sldLayoutId id="2147484022" r:id="rId16"/>
    <p:sldLayoutId id="2147484023" r:id="rId17"/>
    <p:sldLayoutId id="2147484024" r:id="rId18"/>
    <p:sldLayoutId id="2147484025" r:id="rId19"/>
    <p:sldLayoutId id="2147484026" r:id="rId20"/>
    <p:sldLayoutId id="2147484027" r:id="rId21"/>
    <p:sldLayoutId id="2147484028" r:id="rId22"/>
    <p:sldLayoutId id="2147484029" r:id="rId23"/>
    <p:sldLayoutId id="2147484030" r:id="rId24"/>
    <p:sldLayoutId id="2147484031" r:id="rId25"/>
    <p:sldLayoutId id="2147484032" r:id="rId26"/>
    <p:sldLayoutId id="2147484033" r:id="rId27"/>
    <p:sldLayoutId id="2147484034" r:id="rId28"/>
    <p:sldLayoutId id="2147484035" r:id="rId29"/>
    <p:sldLayoutId id="2147484036" r:id="rId30"/>
    <p:sldLayoutId id="2147484037" r:id="rId31"/>
    <p:sldLayoutId id="2147484038" r:id="rId32"/>
    <p:sldLayoutId id="2147484039" r:id="rId33"/>
    <p:sldLayoutId id="2147484040" r:id="rId34"/>
    <p:sldLayoutId id="2147484041" r:id="rId35"/>
    <p:sldLayoutId id="2147484042" r:id="rId36"/>
    <p:sldLayoutId id="2147484043" r:id="rId37"/>
    <p:sldLayoutId id="2147484044" r:id="rId38"/>
    <p:sldLayoutId id="2147484045" r:id="rId39"/>
    <p:sldLayoutId id="2147484046" r:id="rId40"/>
    <p:sldLayoutId id="2147484047" r:id="rId41"/>
  </p:sldLayoutIdLst>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de-DE" altLang="zh-TW"/>
              <a:t>Titelmasterformat durch Klicken bearbeiten</a:t>
            </a:r>
          </a:p>
        </p:txBody>
      </p:sp>
      <p:sp>
        <p:nvSpPr>
          <p:cNvPr id="1027" name="Rectangle 3"/>
          <p:cNvSpPr>
            <a:spLocks noGrp="1" noChangeArrowheads="1"/>
          </p:cNvSpPr>
          <p:nvPr>
            <p:ph type="body" idx="1"/>
          </p:nvPr>
        </p:nvSpPr>
        <p:spPr bwMode="auto">
          <a:xfrm>
            <a:off x="609600" y="1600205"/>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de-DE" altLang="zh-TW"/>
              <a:t>Textmasterformate durch Klicken bearbeiten</a:t>
            </a:r>
          </a:p>
          <a:p>
            <a:pPr lvl="1"/>
            <a:r>
              <a:rPr lang="de-DE" altLang="zh-TW"/>
              <a:t>Zweite Ebene</a:t>
            </a:r>
          </a:p>
          <a:p>
            <a:pPr lvl="2"/>
            <a:r>
              <a:rPr lang="de-DE" altLang="zh-TW"/>
              <a:t>Dritte Ebene</a:t>
            </a:r>
          </a:p>
          <a:p>
            <a:pPr lvl="3"/>
            <a:r>
              <a:rPr lang="de-DE" altLang="zh-TW"/>
              <a:t>Vierte Ebene</a:t>
            </a:r>
          </a:p>
          <a:p>
            <a:pPr lvl="4"/>
            <a:r>
              <a:rPr lang="de-DE" altLang="zh-TW"/>
              <a:t>Fünfte Ebene</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新細明體" charset="-120"/>
              </a:defRPr>
            </a:lvl1pPr>
          </a:lstStyle>
          <a:p>
            <a:pPr fontAlgn="base">
              <a:spcBef>
                <a:spcPct val="0"/>
              </a:spcBef>
              <a:spcAft>
                <a:spcPct val="0"/>
              </a:spcAft>
              <a:defRPr/>
            </a:pPr>
            <a:endParaRPr lang="de-DE" altLang="zh-TW">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新細明體" charset="-120"/>
              </a:defRPr>
            </a:lvl1pPr>
          </a:lstStyle>
          <a:p>
            <a:pPr fontAlgn="base">
              <a:spcBef>
                <a:spcPct val="0"/>
              </a:spcBef>
              <a:spcAft>
                <a:spcPct val="0"/>
              </a:spcAft>
              <a:defRPr/>
            </a:pPr>
            <a:endParaRPr lang="de-DE" altLang="zh-TW">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eaLnBrk="1" hangingPunct="1">
              <a:defRPr sz="1400">
                <a:latin typeface="Arial" charset="0"/>
                <a:ea typeface="新細明體" charset="-120"/>
              </a:defRPr>
            </a:lvl1pPr>
          </a:lstStyle>
          <a:p>
            <a:pPr fontAlgn="base">
              <a:spcBef>
                <a:spcPct val="0"/>
              </a:spcBef>
              <a:spcAft>
                <a:spcPct val="0"/>
              </a:spcAft>
              <a:defRPr/>
            </a:pPr>
            <a:fld id="{0AEEB627-25B7-4B85-8A47-DF3BFCCFEFAB}" type="slidenum">
              <a:rPr lang="de-DE" altLang="zh-TW">
                <a:solidFill>
                  <a:srgbClr val="000000"/>
                </a:solidFill>
              </a:rPr>
              <a:pPr fontAlgn="base">
                <a:spcBef>
                  <a:spcPct val="0"/>
                </a:spcBef>
                <a:spcAft>
                  <a:spcPct val="0"/>
                </a:spcAft>
                <a:defRPr/>
              </a:pPr>
              <a:t>‹#›</a:t>
            </a:fld>
            <a:endParaRPr lang="de-DE" altLang="zh-TW">
              <a:solidFill>
                <a:srgbClr val="000000"/>
              </a:solidFill>
            </a:endParaRPr>
          </a:p>
        </p:txBody>
      </p:sp>
    </p:spTree>
    <p:extLst>
      <p:ext uri="{BB962C8B-B14F-4D97-AF65-F5344CB8AC3E}">
        <p14:creationId xmlns:p14="http://schemas.microsoft.com/office/powerpoint/2010/main" val="3811331177"/>
      </p:ext>
    </p:extLst>
  </p:cSld>
  <p:clrMap bg1="lt1" tx1="dk1" bg2="lt2" tx2="dk2" accent1="accent1" accent2="accent2" accent3="accent3" accent4="accent4" accent5="accent5" accent6="accent6" hlink="hlink" folHlink="folHlink"/>
  <p:sldLayoutIdLst>
    <p:sldLayoutId id="2147484091" r:id="rId1"/>
    <p:sldLayoutId id="2147484092" r:id="rId2"/>
    <p:sldLayoutId id="2147484093" r:id="rId3"/>
    <p:sldLayoutId id="2147484094" r:id="rId4"/>
    <p:sldLayoutId id="2147484095" r:id="rId5"/>
    <p:sldLayoutId id="2147484096" r:id="rId6"/>
    <p:sldLayoutId id="2147484097" r:id="rId7"/>
    <p:sldLayoutId id="2147484098" r:id="rId8"/>
    <p:sldLayoutId id="2147484099" r:id="rId9"/>
    <p:sldLayoutId id="2147484100" r:id="rId10"/>
    <p:sldLayoutId id="2147484101"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sp>
        <p:nvSpPr>
          <p:cNvPr id="190" name="Rectangle 189"/>
          <p:cNvSpPr/>
          <p:nvPr/>
        </p:nvSpPr>
        <p:spPr>
          <a:xfrm>
            <a:off x="199136" y="137160"/>
            <a:ext cx="11826240" cy="6583680"/>
          </a:xfrm>
          <a:prstGeom prst="rect">
            <a:avLst/>
          </a:prstGeom>
          <a:noFill/>
          <a:ln w="19050" cmpd="sng">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a:solidFill>
                <a:prstClr val="white"/>
              </a:solidFill>
              <a:latin typeface="Tw Cen MT"/>
              <a:ea typeface="+mn-ea"/>
              <a:cs typeface="+mn-cs"/>
            </a:endParaRPr>
          </a:p>
        </p:txBody>
      </p:sp>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b">
            <a:normAutofit/>
          </a:bodyPr>
          <a:lstStyle/>
          <a:p>
            <a:r>
              <a:rPr lang="zh-TW" altLang="en-US"/>
              <a:t>按一下以編輯母片標題樣式</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2"/>
          </p:nvPr>
        </p:nvSpPr>
        <p:spPr>
          <a:xfrm>
            <a:off x="609600" y="6312409"/>
            <a:ext cx="2844800" cy="365125"/>
          </a:xfrm>
          <a:prstGeom prst="rect">
            <a:avLst/>
          </a:prstGeom>
        </p:spPr>
        <p:txBody>
          <a:bodyPr vert="horz" lIns="91440" tIns="45720" rIns="91440" bIns="45720" rtlCol="0" anchor="ctr"/>
          <a:lstStyle>
            <a:lvl1pPr algn="l">
              <a:defRPr sz="1200">
                <a:solidFill>
                  <a:schemeClr val="tx2"/>
                </a:solidFill>
              </a:defRPr>
            </a:lvl1pPr>
          </a:lstStyle>
          <a:p>
            <a:fld id="{9BA3A13D-7ACC-4350-B368-5F9372CAD98C}" type="datetimeFigureOut">
              <a:rPr lang="zh-TW" altLang="en-US" smtClean="0"/>
              <a:pPr/>
              <a:t>2021/1/7</a:t>
            </a:fld>
            <a:endParaRPr lang="zh-TW" altLang="en-US"/>
          </a:p>
        </p:txBody>
      </p:sp>
      <p:sp>
        <p:nvSpPr>
          <p:cNvPr id="5" name="Footer Placeholder 4"/>
          <p:cNvSpPr>
            <a:spLocks noGrp="1"/>
          </p:cNvSpPr>
          <p:nvPr>
            <p:ph type="ftr" sz="quarter" idx="3"/>
          </p:nvPr>
        </p:nvSpPr>
        <p:spPr>
          <a:xfrm>
            <a:off x="3774831" y="6312409"/>
            <a:ext cx="4642339" cy="365125"/>
          </a:xfrm>
          <a:prstGeom prst="rect">
            <a:avLst/>
          </a:prstGeom>
        </p:spPr>
        <p:txBody>
          <a:bodyPr vert="horz" lIns="91440" tIns="45720" rIns="91440" bIns="45720" rtlCol="0" anchor="ctr"/>
          <a:lstStyle>
            <a:lvl1pPr algn="ctr">
              <a:defRPr sz="1200">
                <a:solidFill>
                  <a:schemeClr val="tx2"/>
                </a:solidFill>
              </a:defRPr>
            </a:lvl1pPr>
          </a:lstStyle>
          <a:p>
            <a:endParaRPr lang="zh-TW" altLang="en-US"/>
          </a:p>
        </p:txBody>
      </p:sp>
      <p:sp>
        <p:nvSpPr>
          <p:cNvPr id="6" name="Slide Number Placeholder 5"/>
          <p:cNvSpPr>
            <a:spLocks noGrp="1"/>
          </p:cNvSpPr>
          <p:nvPr>
            <p:ph type="sldNum" sz="quarter" idx="4"/>
          </p:nvPr>
        </p:nvSpPr>
        <p:spPr>
          <a:xfrm>
            <a:off x="8737600" y="6312409"/>
            <a:ext cx="2844800" cy="365125"/>
          </a:xfrm>
          <a:prstGeom prst="rect">
            <a:avLst/>
          </a:prstGeom>
        </p:spPr>
        <p:txBody>
          <a:bodyPr vert="horz" lIns="91440" tIns="45720" rIns="91440" bIns="45720" rtlCol="0" anchor="ctr"/>
          <a:lstStyle>
            <a:lvl1pPr algn="r">
              <a:defRPr sz="1200">
                <a:solidFill>
                  <a:schemeClr val="tx2"/>
                </a:solidFill>
              </a:defRPr>
            </a:lvl1pPr>
          </a:lstStyle>
          <a:p>
            <a:fld id="{C5FB5DBE-E833-4178-8808-7A854EF00A8D}" type="slidenum">
              <a:rPr lang="zh-TW" altLang="en-US" smtClean="0"/>
              <a:pPr/>
              <a:t>‹#›</a:t>
            </a:fld>
            <a:endParaRPr lang="zh-TW" altLang="en-US"/>
          </a:p>
        </p:txBody>
      </p:sp>
    </p:spTree>
  </p:cSld>
  <p:clrMap bg1="dk1" tx1="lt1" bg2="dk2" tx2="lt2" accent1="accent1" accent2="accent2" accent3="accent3" accent4="accent4" accent5="accent5" accent6="accent6" hlink="hlink" folHlink="folHlink"/>
  <p:sldLayoutIdLst>
    <p:sldLayoutId id="2147484117" r:id="rId1"/>
    <p:sldLayoutId id="2147484118" r:id="rId2"/>
    <p:sldLayoutId id="2147484119" r:id="rId3"/>
    <p:sldLayoutId id="2147484120" r:id="rId4"/>
    <p:sldLayoutId id="2147484121" r:id="rId5"/>
    <p:sldLayoutId id="2147484122" r:id="rId6"/>
    <p:sldLayoutId id="2147484123" r:id="rId7"/>
    <p:sldLayoutId id="2147484124" r:id="rId8"/>
    <p:sldLayoutId id="2147484125" r:id="rId9"/>
    <p:sldLayoutId id="2147484126" r:id="rId10"/>
    <p:sldLayoutId id="2147484127" r:id="rId11"/>
    <p:sldLayoutId id="2147484128" r:id="rId12"/>
    <p:sldLayoutId id="2147484129" r:id="rId13"/>
  </p:sldLayoutIdLst>
  <p:txStyles>
    <p:titleStyle>
      <a:lvl1pPr algn="l" defTabSz="914400" rtl="0" eaLnBrk="1" latinLnBrk="0" hangingPunct="1">
        <a:spcBef>
          <a:spcPct val="0"/>
        </a:spcBef>
        <a:buNone/>
        <a:tabLst>
          <a:tab pos="3830638" algn="l"/>
        </a:tabLst>
        <a:defRPr sz="3600" b="1" kern="1200" cap="none" spc="50">
          <a:ln w="13335" cmpd="sng">
            <a:solidFill>
              <a:schemeClr val="accent1">
                <a:lumMod val="50000"/>
              </a:schemeClr>
            </a:solidFill>
            <a:prstDash val="solid"/>
          </a:ln>
          <a:solidFill>
            <a:schemeClr val="accent6">
              <a:tint val="1000"/>
            </a:schemeClr>
          </a:solidFill>
          <a:effectLst/>
          <a:latin typeface="+mj-lt"/>
          <a:ea typeface="+mj-ea"/>
          <a:cs typeface="+mj-cs"/>
        </a:defRPr>
      </a:lvl1pPr>
    </p:titleStyle>
    <p:bodyStyle>
      <a:lvl1pPr marL="274320" indent="-274320" algn="l" defTabSz="914400" rtl="0" eaLnBrk="1" latinLnBrk="0" hangingPunct="1">
        <a:spcBef>
          <a:spcPct val="20000"/>
        </a:spcBef>
        <a:buClr>
          <a:schemeClr val="accent1">
            <a:lumMod val="60000"/>
            <a:lumOff val="40000"/>
          </a:schemeClr>
        </a:buClr>
        <a:buFont typeface="Arial" pitchFamily="34" charset="0"/>
        <a:buChar char="•"/>
        <a:defRPr sz="2400" kern="1200">
          <a:solidFill>
            <a:schemeClr val="tx2"/>
          </a:solidFill>
          <a:latin typeface="+mn-lt"/>
          <a:ea typeface="+mn-ea"/>
          <a:cs typeface="+mn-cs"/>
        </a:defRPr>
      </a:lvl1pPr>
      <a:lvl2pPr marL="548640" indent="-182880" algn="l" defTabSz="914400" rtl="0" eaLnBrk="1" latinLnBrk="0" hangingPunct="1">
        <a:spcBef>
          <a:spcPct val="20000"/>
        </a:spcBef>
        <a:buClr>
          <a:schemeClr val="accent1">
            <a:lumMod val="60000"/>
            <a:lumOff val="40000"/>
          </a:schemeClr>
        </a:buClr>
        <a:buFont typeface="Arial" pitchFamily="34" charset="0"/>
        <a:buChar char="•"/>
        <a:defRPr sz="2000" kern="1200">
          <a:solidFill>
            <a:schemeClr val="tx1"/>
          </a:solidFill>
          <a:latin typeface="+mn-lt"/>
          <a:ea typeface="+mn-ea"/>
          <a:cs typeface="+mn-cs"/>
        </a:defRPr>
      </a:lvl2pPr>
      <a:lvl3pPr marL="914400" indent="-228600" algn="l" defTabSz="914400" rtl="0" eaLnBrk="1" latinLnBrk="0" hangingPunct="1">
        <a:spcBef>
          <a:spcPct val="20000"/>
        </a:spcBef>
        <a:buClr>
          <a:schemeClr val="accent2"/>
        </a:buClr>
        <a:buFont typeface="Arial" pitchFamily="34" charset="0"/>
        <a:buChar char="•"/>
        <a:defRPr sz="2000" kern="1200">
          <a:solidFill>
            <a:schemeClr val="tx2"/>
          </a:solidFill>
          <a:latin typeface="+mn-lt"/>
          <a:ea typeface="+mn-ea"/>
          <a:cs typeface="+mn-cs"/>
        </a:defRPr>
      </a:lvl3pPr>
      <a:lvl4pPr marL="118872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4pPr>
      <a:lvl5pPr marL="1463040" indent="-228600" algn="l" defTabSz="914400" rtl="0" eaLnBrk="1" latinLnBrk="0" hangingPunct="1">
        <a:spcBef>
          <a:spcPct val="20000"/>
        </a:spcBef>
        <a:buClr>
          <a:schemeClr val="accent4"/>
        </a:buClr>
        <a:buFont typeface="Arial" pitchFamily="34" charset="0"/>
        <a:buChar char="•"/>
        <a:defRPr sz="1600" kern="1200" baseline="0">
          <a:solidFill>
            <a:schemeClr val="tx2"/>
          </a:solidFill>
          <a:latin typeface="+mn-lt"/>
          <a:ea typeface="+mn-ea"/>
          <a:cs typeface="+mn-cs"/>
        </a:defRPr>
      </a:lvl5pPr>
      <a:lvl6pPr marL="1691640" indent="-182880" algn="l" defTabSz="914400" rtl="0" eaLnBrk="1" latinLnBrk="0" hangingPunct="1">
        <a:spcBef>
          <a:spcPct val="20000"/>
        </a:spcBef>
        <a:buClr>
          <a:schemeClr val="accent5"/>
        </a:buClr>
        <a:buFont typeface="Arial" pitchFamily="34" charset="0"/>
        <a:buChar char="•"/>
        <a:defRPr sz="1600" kern="1200">
          <a:solidFill>
            <a:schemeClr val="tx1"/>
          </a:solidFill>
          <a:latin typeface="+mn-lt"/>
          <a:ea typeface="+mn-ea"/>
          <a:cs typeface="+mn-cs"/>
        </a:defRPr>
      </a:lvl6pPr>
      <a:lvl7pPr marL="1920240" indent="-182880" algn="l" defTabSz="914400" rtl="0" eaLnBrk="1" latinLnBrk="0" hangingPunct="1">
        <a:spcBef>
          <a:spcPct val="20000"/>
        </a:spcBef>
        <a:buClr>
          <a:schemeClr val="accent6"/>
        </a:buClr>
        <a:buFont typeface="Arial" pitchFamily="34" charset="0"/>
        <a:buChar char="•"/>
        <a:defRPr sz="1600" kern="1200">
          <a:solidFill>
            <a:schemeClr val="tx1"/>
          </a:solidFill>
          <a:latin typeface="+mn-lt"/>
          <a:ea typeface="+mn-ea"/>
          <a:cs typeface="+mn-cs"/>
        </a:defRPr>
      </a:lvl7pPr>
      <a:lvl8pPr marL="2148840" indent="-182880" algn="l" defTabSz="914400" rtl="0" eaLnBrk="1" latinLnBrk="0" hangingPunct="1">
        <a:spcBef>
          <a:spcPct val="20000"/>
        </a:spcBef>
        <a:buClr>
          <a:schemeClr val="accent3"/>
        </a:buClr>
        <a:buFont typeface="Arial" pitchFamily="34" charset="0"/>
        <a:buChar char="•"/>
        <a:defRPr sz="1600" kern="1200">
          <a:solidFill>
            <a:schemeClr val="tx1"/>
          </a:solidFill>
          <a:latin typeface="+mn-lt"/>
          <a:ea typeface="+mn-ea"/>
          <a:cs typeface="+mn-cs"/>
        </a:defRPr>
      </a:lvl8pPr>
      <a:lvl9pPr marL="2377440" indent="-182880" algn="l" defTabSz="914400" rtl="0" eaLnBrk="1" latinLnBrk="0" hangingPunct="1">
        <a:spcBef>
          <a:spcPct val="20000"/>
        </a:spcBef>
        <a:buClr>
          <a:schemeClr val="accent6"/>
        </a:buClr>
        <a:buFont typeface="Arial"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252919" y="1123837"/>
            <a:ext cx="2947482" cy="4601183"/>
          </a:xfrm>
          <a:prstGeom prst="rect">
            <a:avLst/>
          </a:prstGeom>
        </p:spPr>
        <p:txBody>
          <a:bodyPr vert="horz" lIns="91440" tIns="45720" rIns="91440" bIns="45720" rtlCol="0" anchor="ctr">
            <a:normAutofit/>
          </a:bodyPr>
          <a:lstStyle/>
          <a:p>
            <a:r>
              <a:rPr lang="zh-TW" altLang="en-US"/>
              <a:t>按一下以編輯母片標題樣式</a:t>
            </a:r>
            <a:endParaRPr lang="en-US" dirty="0"/>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2"/>
          </p:nvPr>
        </p:nvSpPr>
        <p:spPr>
          <a:xfrm>
            <a:off x="262465" y="6356350"/>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931873835"/>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 id="2147484135" r:id="rId5"/>
    <p:sldLayoutId id="2147484136" r:id="rId6"/>
    <p:sldLayoutId id="2147484137" r:id="rId7"/>
    <p:sldLayoutId id="2147484138" r:id="rId8"/>
    <p:sldLayoutId id="2147484139" r:id="rId9"/>
    <p:sldLayoutId id="2147484140" r:id="rId10"/>
    <p:sldLayoutId id="2147484141" r:id="rId11"/>
    <p:sldLayoutId id="2147484142" r:id="rId12"/>
    <p:sldLayoutId id="2147484143" r:id="rId13"/>
    <p:sldLayoutId id="2147484144" r:id="rId14"/>
    <p:sldLayoutId id="2147484145" r:id="rId15"/>
    <p:sldLayoutId id="2147484146" r:id="rId16"/>
    <p:sldLayoutId id="2147484147" r:id="rId17"/>
    <p:sldLayoutId id="2147484148" r:id="rId18"/>
    <p:sldLayoutId id="2147484149" r:id="rId19"/>
    <p:sldLayoutId id="2147484150" r:id="rId20"/>
    <p:sldLayoutId id="2147484151" r:id="rId21"/>
    <p:sldLayoutId id="2147484152" r:id="rId22"/>
    <p:sldLayoutId id="2147484153" r:id="rId23"/>
    <p:sldLayoutId id="2147484154" r:id="rId24"/>
    <p:sldLayoutId id="2147484155" r:id="rId25"/>
    <p:sldLayoutId id="2147484156" r:id="rId26"/>
    <p:sldLayoutId id="2147484157" r:id="rId27"/>
    <p:sldLayoutId id="2147484158" r:id="rId28"/>
    <p:sldLayoutId id="2147484159" r:id="rId29"/>
    <p:sldLayoutId id="2147484160" r:id="rId30"/>
    <p:sldLayoutId id="2147484161" r:id="rId31"/>
    <p:sldLayoutId id="2147484162" r:id="rId32"/>
    <p:sldLayoutId id="2147484163" r:id="rId33"/>
    <p:sldLayoutId id="2147484164" r:id="rId34"/>
    <p:sldLayoutId id="2147484165" r:id="rId35"/>
    <p:sldLayoutId id="2147484166" r:id="rId36"/>
    <p:sldLayoutId id="2147484167" r:id="rId37"/>
    <p:sldLayoutId id="2147484168" r:id="rId38"/>
    <p:sldLayoutId id="2147484169" r:id="rId39"/>
    <p:sldLayoutId id="2147484170" r:id="rId40"/>
  </p:sldLayoutIdLst>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758952"/>
            <a:ext cx="3443590" cy="533095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252919" y="1123837"/>
            <a:ext cx="2947482" cy="4601183"/>
          </a:xfrm>
          <a:prstGeom prst="rect">
            <a:avLst/>
          </a:prstGeom>
        </p:spPr>
        <p:txBody>
          <a:bodyPr vert="horz" lIns="91440" tIns="45720" rIns="91440" bIns="45720" rtlCol="0" anchor="ctr">
            <a:normAutofit/>
          </a:bodyPr>
          <a:lstStyle/>
          <a:p>
            <a:r>
              <a:rPr lang="zh-TW" altLang="en-US"/>
              <a:t>按一下以編輯母片標題樣式</a:t>
            </a:r>
            <a:endParaRPr lang="en-US" dirty="0"/>
          </a:p>
        </p:txBody>
      </p:sp>
      <p:sp>
        <p:nvSpPr>
          <p:cNvPr id="38" name="Rectangle 37"/>
          <p:cNvSpPr/>
          <p:nvPr/>
        </p:nvSpPr>
        <p:spPr>
          <a:xfrm>
            <a:off x="11815864" y="758952"/>
            <a:ext cx="384048" cy="5330952"/>
          </a:xfrm>
          <a:prstGeom prst="rect">
            <a:avLst/>
          </a:prstGeom>
          <a:solidFill>
            <a:srgbClr val="C8C8C8">
              <a:alpha val="49804"/>
            </a:srgbClr>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3" name="Text Placeholder 2"/>
          <p:cNvSpPr>
            <a:spLocks noGrp="1"/>
          </p:cNvSpPr>
          <p:nvPr>
            <p:ph type="body" idx="1"/>
          </p:nvPr>
        </p:nvSpPr>
        <p:spPr>
          <a:xfrm>
            <a:off x="3869268" y="864108"/>
            <a:ext cx="7315200" cy="5120640"/>
          </a:xfrm>
          <a:prstGeom prst="rect">
            <a:avLst/>
          </a:prstGeom>
        </p:spPr>
        <p:txBody>
          <a:bodyPr vert="horz" lIns="91440" tIns="45720" rIns="91440" bIns="45720" rtlCol="0" anchor="ctr">
            <a:normAutofit/>
          </a:bodyPr>
          <a:lstStyle/>
          <a:p>
            <a:pPr lvl="0"/>
            <a:r>
              <a:rPr lang="zh-TW" altLang="en-US"/>
              <a:t>按一下以編輯母片文字樣式</a:t>
            </a:r>
          </a:p>
          <a:p>
            <a:pPr lvl="1"/>
            <a:r>
              <a:rPr lang="zh-TW" altLang="en-US"/>
              <a:t>第二層</a:t>
            </a:r>
          </a:p>
          <a:p>
            <a:pPr lvl="2"/>
            <a:r>
              <a:rPr lang="zh-TW" altLang="en-US"/>
              <a:t>第三層</a:t>
            </a:r>
          </a:p>
          <a:p>
            <a:pPr lvl="3"/>
            <a:r>
              <a:rPr lang="zh-TW" altLang="en-US"/>
              <a:t>第四層</a:t>
            </a:r>
          </a:p>
          <a:p>
            <a:pPr lvl="4"/>
            <a:r>
              <a:rPr lang="zh-TW" altLang="en-US"/>
              <a:t>第五層</a:t>
            </a:r>
            <a:endParaRPr lang="en-US" dirty="0"/>
          </a:p>
        </p:txBody>
      </p:sp>
      <p:sp>
        <p:nvSpPr>
          <p:cNvPr id="4" name="Date Placeholder 3"/>
          <p:cNvSpPr>
            <a:spLocks noGrp="1"/>
          </p:cNvSpPr>
          <p:nvPr>
            <p:ph type="dt" sz="half" idx="2"/>
          </p:nvPr>
        </p:nvSpPr>
        <p:spPr>
          <a:xfrm>
            <a:off x="262465" y="6356350"/>
            <a:ext cx="2743200"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fld id="{9BA3A13D-7ACC-4350-B368-5F9372CAD98C}" type="datetimeFigureOut">
              <a:rPr lang="zh-TW" altLang="en-US" smtClean="0">
                <a:solidFill>
                  <a:srgbClr val="000000">
                    <a:lumMod val="50000"/>
                    <a:lumOff val="50000"/>
                  </a:srgbClr>
                </a:solidFill>
              </a:rPr>
              <a:pPr/>
              <a:t>2021/1/7</a:t>
            </a:fld>
            <a:endParaRPr lang="zh-TW" altLang="en-US">
              <a:solidFill>
                <a:srgbClr val="000000">
                  <a:lumMod val="50000"/>
                  <a:lumOff val="50000"/>
                </a:srgbClr>
              </a:solidFill>
            </a:endParaRPr>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zh-TW" altLang="en-US">
              <a:solidFill>
                <a:srgbClr val="000000">
                  <a:lumMod val="50000"/>
                  <a:lumOff val="50000"/>
                </a:srgbClr>
              </a:solidFill>
            </a:endParaRPr>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a:solidFill>
                  <a:schemeClr val="accent1"/>
                </a:solidFill>
              </a:defRPr>
            </a:lvl1pPr>
          </a:lstStyle>
          <a:p>
            <a:fld id="{C5FB5DBE-E833-4178-8808-7A854EF00A8D}" type="slidenum">
              <a:rPr lang="zh-TW" altLang="en-US" smtClean="0">
                <a:solidFill>
                  <a:srgbClr val="40BAD2"/>
                </a:solidFill>
              </a:rPr>
              <a:pPr/>
              <a:t>‹#›</a:t>
            </a:fld>
            <a:endParaRPr lang="zh-TW" altLang="en-US">
              <a:solidFill>
                <a:srgbClr val="40BAD2"/>
              </a:solidFill>
            </a:endParaRPr>
          </a:p>
        </p:txBody>
      </p:sp>
    </p:spTree>
    <p:extLst>
      <p:ext uri="{BB962C8B-B14F-4D97-AF65-F5344CB8AC3E}">
        <p14:creationId xmlns:p14="http://schemas.microsoft.com/office/powerpoint/2010/main" val="665350717"/>
      </p:ext>
    </p:extLst>
  </p:cSld>
  <p:clrMap bg1="lt1" tx1="dk1" bg2="lt2" tx2="dk2" accent1="accent1" accent2="accent2" accent3="accent3" accent4="accent4" accent5="accent5" accent6="accent6" hlink="hlink" folHlink="folHlink"/>
  <p:sldLayoutIdLst>
    <p:sldLayoutId id="2147484172" r:id="rId1"/>
    <p:sldLayoutId id="2147484173" r:id="rId2"/>
    <p:sldLayoutId id="2147484174" r:id="rId3"/>
    <p:sldLayoutId id="2147484175" r:id="rId4"/>
    <p:sldLayoutId id="2147484176" r:id="rId5"/>
    <p:sldLayoutId id="2147484177" r:id="rId6"/>
    <p:sldLayoutId id="2147484178" r:id="rId7"/>
    <p:sldLayoutId id="2147484179" r:id="rId8"/>
    <p:sldLayoutId id="2147484180" r:id="rId9"/>
    <p:sldLayoutId id="2147484181" r:id="rId10"/>
    <p:sldLayoutId id="2147484182" r:id="rId11"/>
    <p:sldLayoutId id="2147484183" r:id="rId12"/>
    <p:sldLayoutId id="2147484184" r:id="rId13"/>
    <p:sldLayoutId id="2147484185" r:id="rId14"/>
    <p:sldLayoutId id="2147484186" r:id="rId15"/>
    <p:sldLayoutId id="2147484187" r:id="rId16"/>
    <p:sldLayoutId id="2147484188" r:id="rId17"/>
    <p:sldLayoutId id="2147484189" r:id="rId18"/>
    <p:sldLayoutId id="2147484190" r:id="rId19"/>
    <p:sldLayoutId id="2147484191" r:id="rId20"/>
    <p:sldLayoutId id="2147484192" r:id="rId21"/>
    <p:sldLayoutId id="2147484193" r:id="rId22"/>
    <p:sldLayoutId id="2147484194" r:id="rId23"/>
    <p:sldLayoutId id="2147484195" r:id="rId24"/>
    <p:sldLayoutId id="2147484196" r:id="rId25"/>
    <p:sldLayoutId id="2147484197" r:id="rId26"/>
    <p:sldLayoutId id="2147484198" r:id="rId27"/>
    <p:sldLayoutId id="2147484199" r:id="rId28"/>
    <p:sldLayoutId id="2147484200" r:id="rId29"/>
    <p:sldLayoutId id="2147484201" r:id="rId30"/>
    <p:sldLayoutId id="2147484202" r:id="rId31"/>
    <p:sldLayoutId id="2147484203" r:id="rId32"/>
    <p:sldLayoutId id="2147484204" r:id="rId33"/>
    <p:sldLayoutId id="2147484205" r:id="rId34"/>
    <p:sldLayoutId id="2147484206" r:id="rId35"/>
    <p:sldLayoutId id="2147484207" r:id="rId36"/>
    <p:sldLayoutId id="2147484208" r:id="rId37"/>
    <p:sldLayoutId id="2147484209" r:id="rId38"/>
    <p:sldLayoutId id="2147484210" r:id="rId39"/>
    <p:sldLayoutId id="2147484211" r:id="rId40"/>
    <p:sldLayoutId id="2147484212" r:id="rId41"/>
  </p:sldLayoutIdLst>
  <p:txStyles>
    <p:titleStyle>
      <a:lvl1pPr algn="l" defTabSz="914400" rtl="0" eaLnBrk="1" latinLnBrk="0" hangingPunct="1">
        <a:lnSpc>
          <a:spcPct val="90000"/>
        </a:lnSpc>
        <a:spcBef>
          <a:spcPct val="0"/>
        </a:spcBef>
        <a:buNone/>
        <a:defRPr sz="3600" kern="1200" spc="-60" baseline="0">
          <a:solidFill>
            <a:srgbClr val="FFFFFF"/>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3.xml"/><Relationship Id="rId1" Type="http://schemas.openxmlformats.org/officeDocument/2006/relationships/slideLayout" Target="../slideLayouts/slideLayout93.xml"/><Relationship Id="rId5" Type="http://schemas.openxmlformats.org/officeDocument/2006/relationships/image" Target="../media/image48.png"/><Relationship Id="rId4" Type="http://schemas.openxmlformats.org/officeDocument/2006/relationships/image" Target="../media/image47.png"/></Relationships>
</file>

<file path=ppt/slides/_rels/slide11.xml.rels><?xml version="1.0" encoding="UTF-8" standalone="yes"?>
<Relationships xmlns="http://schemas.openxmlformats.org/package/2006/relationships"><Relationship Id="rId8" Type="http://schemas.openxmlformats.org/officeDocument/2006/relationships/diagramQuickStyle" Target="../diagrams/quickStyle2.xml"/><Relationship Id="rId3" Type="http://schemas.openxmlformats.org/officeDocument/2006/relationships/image" Target="../media/image46.jpg"/><Relationship Id="rId7" Type="http://schemas.openxmlformats.org/officeDocument/2006/relationships/diagramLayout" Target="../diagrams/layout2.xml"/><Relationship Id="rId2" Type="http://schemas.openxmlformats.org/officeDocument/2006/relationships/notesSlide" Target="../notesSlides/notesSlide4.xml"/><Relationship Id="rId1" Type="http://schemas.openxmlformats.org/officeDocument/2006/relationships/slideLayout" Target="../slideLayouts/slideLayout104.xml"/><Relationship Id="rId6" Type="http://schemas.openxmlformats.org/officeDocument/2006/relationships/diagramData" Target="../diagrams/data2.xml"/><Relationship Id="rId5" Type="http://schemas.openxmlformats.org/officeDocument/2006/relationships/image" Target="../media/image50.jpeg"/><Relationship Id="rId10" Type="http://schemas.microsoft.com/office/2007/relationships/diagramDrawing" Target="../diagrams/drawing2.xml"/><Relationship Id="rId4" Type="http://schemas.openxmlformats.org/officeDocument/2006/relationships/image" Target="../media/image49.jpeg"/><Relationship Id="rId9" Type="http://schemas.openxmlformats.org/officeDocument/2006/relationships/diagramColors" Target="../diagrams/colors2.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104.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13.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notesSlide" Target="../notesSlides/notesSlide6.xml"/><Relationship Id="rId1" Type="http://schemas.openxmlformats.org/officeDocument/2006/relationships/slideLayout" Target="../slideLayouts/slideLayout93.xml"/><Relationship Id="rId5" Type="http://schemas.openxmlformats.org/officeDocument/2006/relationships/image" Target="../media/image58.jpeg"/><Relationship Id="rId4" Type="http://schemas.openxmlformats.org/officeDocument/2006/relationships/image" Target="../media/image57.jpeg"/></Relationships>
</file>

<file path=ppt/slides/_rels/slide14.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image" Target="../media/image56.jpg"/><Relationship Id="rId7" Type="http://schemas.openxmlformats.org/officeDocument/2006/relationships/diagramColors" Target="../diagrams/colors5.xml"/><Relationship Id="rId2" Type="http://schemas.openxmlformats.org/officeDocument/2006/relationships/notesSlide" Target="../notesSlides/notesSlide7.xml"/><Relationship Id="rId1" Type="http://schemas.openxmlformats.org/officeDocument/2006/relationships/slideLayout" Target="../slideLayouts/slideLayout104.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 Id="rId9" Type="http://schemas.openxmlformats.org/officeDocument/2006/relationships/image" Target="../media/image57.jpeg"/></Relationships>
</file>

<file path=ppt/slides/_rels/slide15.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8.xml"/><Relationship Id="rId1" Type="http://schemas.openxmlformats.org/officeDocument/2006/relationships/slideLayout" Target="../slideLayouts/slideLayout93.xml"/><Relationship Id="rId6" Type="http://schemas.openxmlformats.org/officeDocument/2006/relationships/image" Target="../media/image62.png"/><Relationship Id="rId5" Type="http://schemas.openxmlformats.org/officeDocument/2006/relationships/image" Target="../media/image61.png"/><Relationship Id="rId4" Type="http://schemas.openxmlformats.org/officeDocument/2006/relationships/image" Target="../media/image60.jpeg"/></Relationships>
</file>

<file path=ppt/slides/_rels/slide16.xml.rels><?xml version="1.0" encoding="UTF-8" standalone="yes"?>
<Relationships xmlns="http://schemas.openxmlformats.org/package/2006/relationships"><Relationship Id="rId8" Type="http://schemas.openxmlformats.org/officeDocument/2006/relationships/image" Target="../media/image67.jpeg"/><Relationship Id="rId3" Type="http://schemas.openxmlformats.org/officeDocument/2006/relationships/image" Target="../media/image59.jpg"/><Relationship Id="rId7" Type="http://schemas.openxmlformats.org/officeDocument/2006/relationships/image" Target="../media/image66.jpeg"/><Relationship Id="rId2" Type="http://schemas.openxmlformats.org/officeDocument/2006/relationships/notesSlide" Target="../notesSlides/notesSlide9.xml"/><Relationship Id="rId1" Type="http://schemas.openxmlformats.org/officeDocument/2006/relationships/slideLayout" Target="../slideLayouts/slideLayout104.xml"/><Relationship Id="rId6" Type="http://schemas.openxmlformats.org/officeDocument/2006/relationships/image" Target="../media/image65.png"/><Relationship Id="rId5" Type="http://schemas.openxmlformats.org/officeDocument/2006/relationships/image" Target="../media/image64.png"/><Relationship Id="rId4" Type="http://schemas.openxmlformats.org/officeDocument/2006/relationships/image" Target="../media/image63.png"/><Relationship Id="rId9" Type="http://schemas.openxmlformats.org/officeDocument/2006/relationships/image" Target="../media/image68.jpeg"/></Relationships>
</file>

<file path=ppt/slides/_rels/slide17.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notesSlide" Target="../notesSlides/notesSlide10.xml"/><Relationship Id="rId1" Type="http://schemas.openxmlformats.org/officeDocument/2006/relationships/slideLayout" Target="../slideLayouts/slideLayout93.xml"/><Relationship Id="rId6" Type="http://schemas.openxmlformats.org/officeDocument/2006/relationships/image" Target="../media/image72.JPG"/><Relationship Id="rId5" Type="http://schemas.openxmlformats.org/officeDocument/2006/relationships/image" Target="../media/image71.jpg"/><Relationship Id="rId4" Type="http://schemas.openxmlformats.org/officeDocument/2006/relationships/image" Target="../media/image70.jpeg"/></Relationships>
</file>

<file path=ppt/slides/_rels/slide18.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69.jpg"/><Relationship Id="rId7" Type="http://schemas.openxmlformats.org/officeDocument/2006/relationships/diagramColors" Target="../diagrams/colors6.xml"/><Relationship Id="rId2" Type="http://schemas.openxmlformats.org/officeDocument/2006/relationships/notesSlide" Target="../notesSlides/notesSlide11.xml"/><Relationship Id="rId1" Type="http://schemas.openxmlformats.org/officeDocument/2006/relationships/slideLayout" Target="../slideLayouts/slideLayout104.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19.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image" Target="../media/image81.jpg"/><Relationship Id="rId7" Type="http://schemas.openxmlformats.org/officeDocument/2006/relationships/image" Target="../media/image85.png"/><Relationship Id="rId2" Type="http://schemas.openxmlformats.org/officeDocument/2006/relationships/notesSlide" Target="../notesSlides/notesSlide12.xml"/><Relationship Id="rId1" Type="http://schemas.openxmlformats.org/officeDocument/2006/relationships/slideLayout" Target="../slideLayouts/slideLayout105.xml"/><Relationship Id="rId6" Type="http://schemas.openxmlformats.org/officeDocument/2006/relationships/image" Target="../media/image84.png"/><Relationship Id="rId5" Type="http://schemas.openxmlformats.org/officeDocument/2006/relationships/image" Target="../media/image83.png"/><Relationship Id="rId10" Type="http://schemas.openxmlformats.org/officeDocument/2006/relationships/image" Target="../media/image88.jpg"/><Relationship Id="rId4" Type="http://schemas.openxmlformats.org/officeDocument/2006/relationships/image" Target="../media/image82.png"/><Relationship Id="rId9" Type="http://schemas.openxmlformats.org/officeDocument/2006/relationships/image" Target="../media/image87.jpe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66.xml"/><Relationship Id="rId7" Type="http://schemas.openxmlformats.org/officeDocument/2006/relationships/image" Target="../media/image9.jpg"/><Relationship Id="rId2" Type="http://schemas.openxmlformats.org/officeDocument/2006/relationships/audio" Target="../media/media1.wma"/><Relationship Id="rId1" Type="http://schemas.microsoft.com/office/2007/relationships/media" Target="../media/media1.wma"/><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s/_rels/slide20.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1.jpg"/><Relationship Id="rId7" Type="http://schemas.openxmlformats.org/officeDocument/2006/relationships/image" Target="../media/image86.png"/><Relationship Id="rId2" Type="http://schemas.openxmlformats.org/officeDocument/2006/relationships/notesSlide" Target="../notesSlides/notesSlide13.xml"/><Relationship Id="rId1" Type="http://schemas.openxmlformats.org/officeDocument/2006/relationships/slideLayout" Target="../slideLayouts/slideLayout105.xml"/><Relationship Id="rId6" Type="http://schemas.openxmlformats.org/officeDocument/2006/relationships/image" Target="../media/image84.png"/><Relationship Id="rId11" Type="http://schemas.openxmlformats.org/officeDocument/2006/relationships/image" Target="../media/image91.jpeg"/><Relationship Id="rId5" Type="http://schemas.openxmlformats.org/officeDocument/2006/relationships/image" Target="../media/image83.png"/><Relationship Id="rId10" Type="http://schemas.openxmlformats.org/officeDocument/2006/relationships/image" Target="../media/image90.jpeg"/><Relationship Id="rId4" Type="http://schemas.openxmlformats.org/officeDocument/2006/relationships/image" Target="../media/image82.png"/><Relationship Id="rId9" Type="http://schemas.openxmlformats.org/officeDocument/2006/relationships/image" Target="../media/image89.jpeg"/></Relationships>
</file>

<file path=ppt/slides/_rels/slide21.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notesSlide" Target="../notesSlides/notesSlide14.xml"/><Relationship Id="rId1" Type="http://schemas.openxmlformats.org/officeDocument/2006/relationships/slideLayout" Target="../slideLayouts/slideLayout94.xml"/><Relationship Id="rId6" Type="http://schemas.openxmlformats.org/officeDocument/2006/relationships/image" Target="../media/image95.jpeg"/><Relationship Id="rId5" Type="http://schemas.openxmlformats.org/officeDocument/2006/relationships/image" Target="../media/image94.jpeg"/><Relationship Id="rId4" Type="http://schemas.openxmlformats.org/officeDocument/2006/relationships/image" Target="../media/image93.jpeg"/></Relationships>
</file>

<file path=ppt/slides/_rels/slide22.xml.rels><?xml version="1.0" encoding="UTF-8" standalone="yes"?>
<Relationships xmlns="http://schemas.openxmlformats.org/package/2006/relationships"><Relationship Id="rId117" Type="http://schemas.openxmlformats.org/officeDocument/2006/relationships/tags" Target="../tags/tag118.xml"/><Relationship Id="rId299" Type="http://schemas.openxmlformats.org/officeDocument/2006/relationships/tags" Target="../tags/tag300.xml"/><Relationship Id="rId21" Type="http://schemas.openxmlformats.org/officeDocument/2006/relationships/tags" Target="../tags/tag22.xml"/><Relationship Id="rId63" Type="http://schemas.openxmlformats.org/officeDocument/2006/relationships/tags" Target="../tags/tag64.xml"/><Relationship Id="rId159" Type="http://schemas.openxmlformats.org/officeDocument/2006/relationships/tags" Target="../tags/tag160.xml"/><Relationship Id="rId324" Type="http://schemas.openxmlformats.org/officeDocument/2006/relationships/tags" Target="../tags/tag325.xml"/><Relationship Id="rId366" Type="http://schemas.openxmlformats.org/officeDocument/2006/relationships/tags" Target="../tags/tag367.xml"/><Relationship Id="rId170" Type="http://schemas.openxmlformats.org/officeDocument/2006/relationships/tags" Target="../tags/tag171.xml"/><Relationship Id="rId226" Type="http://schemas.openxmlformats.org/officeDocument/2006/relationships/tags" Target="../tags/tag227.xml"/><Relationship Id="rId268" Type="http://schemas.openxmlformats.org/officeDocument/2006/relationships/tags" Target="../tags/tag269.xml"/><Relationship Id="rId32" Type="http://schemas.openxmlformats.org/officeDocument/2006/relationships/tags" Target="../tags/tag33.xml"/><Relationship Id="rId74" Type="http://schemas.openxmlformats.org/officeDocument/2006/relationships/tags" Target="../tags/tag75.xml"/><Relationship Id="rId128" Type="http://schemas.openxmlformats.org/officeDocument/2006/relationships/tags" Target="../tags/tag129.xml"/><Relationship Id="rId335" Type="http://schemas.openxmlformats.org/officeDocument/2006/relationships/tags" Target="../tags/tag336.xml"/><Relationship Id="rId377" Type="http://schemas.openxmlformats.org/officeDocument/2006/relationships/tags" Target="../tags/tag378.xml"/><Relationship Id="rId5" Type="http://schemas.openxmlformats.org/officeDocument/2006/relationships/tags" Target="../tags/tag6.xml"/><Relationship Id="rId181" Type="http://schemas.openxmlformats.org/officeDocument/2006/relationships/tags" Target="../tags/tag182.xml"/><Relationship Id="rId237" Type="http://schemas.openxmlformats.org/officeDocument/2006/relationships/tags" Target="../tags/tag238.xml"/><Relationship Id="rId279" Type="http://schemas.openxmlformats.org/officeDocument/2006/relationships/tags" Target="../tags/tag280.xml"/><Relationship Id="rId43" Type="http://schemas.openxmlformats.org/officeDocument/2006/relationships/tags" Target="../tags/tag44.xml"/><Relationship Id="rId139" Type="http://schemas.openxmlformats.org/officeDocument/2006/relationships/tags" Target="../tags/tag140.xml"/><Relationship Id="rId290" Type="http://schemas.openxmlformats.org/officeDocument/2006/relationships/tags" Target="../tags/tag291.xml"/><Relationship Id="rId304" Type="http://schemas.openxmlformats.org/officeDocument/2006/relationships/tags" Target="../tags/tag305.xml"/><Relationship Id="rId346" Type="http://schemas.openxmlformats.org/officeDocument/2006/relationships/tags" Target="../tags/tag347.xml"/><Relationship Id="rId85" Type="http://schemas.openxmlformats.org/officeDocument/2006/relationships/tags" Target="../tags/tag86.xml"/><Relationship Id="rId150" Type="http://schemas.openxmlformats.org/officeDocument/2006/relationships/tags" Target="../tags/tag151.xml"/><Relationship Id="rId192" Type="http://schemas.openxmlformats.org/officeDocument/2006/relationships/tags" Target="../tags/tag193.xml"/><Relationship Id="rId206" Type="http://schemas.openxmlformats.org/officeDocument/2006/relationships/tags" Target="../tags/tag207.xml"/><Relationship Id="rId248" Type="http://schemas.openxmlformats.org/officeDocument/2006/relationships/tags" Target="../tags/tag249.xml"/><Relationship Id="rId12" Type="http://schemas.openxmlformats.org/officeDocument/2006/relationships/tags" Target="../tags/tag13.xml"/><Relationship Id="rId108" Type="http://schemas.openxmlformats.org/officeDocument/2006/relationships/tags" Target="../tags/tag109.xml"/><Relationship Id="rId315" Type="http://schemas.openxmlformats.org/officeDocument/2006/relationships/tags" Target="../tags/tag316.xml"/><Relationship Id="rId357" Type="http://schemas.openxmlformats.org/officeDocument/2006/relationships/tags" Target="../tags/tag358.xml"/><Relationship Id="rId54" Type="http://schemas.openxmlformats.org/officeDocument/2006/relationships/tags" Target="../tags/tag55.xml"/><Relationship Id="rId96" Type="http://schemas.openxmlformats.org/officeDocument/2006/relationships/tags" Target="../tags/tag97.xml"/><Relationship Id="rId161" Type="http://schemas.openxmlformats.org/officeDocument/2006/relationships/tags" Target="../tags/tag162.xml"/><Relationship Id="rId217" Type="http://schemas.openxmlformats.org/officeDocument/2006/relationships/tags" Target="../tags/tag218.xml"/><Relationship Id="rId259" Type="http://schemas.openxmlformats.org/officeDocument/2006/relationships/tags" Target="../tags/tag260.xml"/><Relationship Id="rId23" Type="http://schemas.openxmlformats.org/officeDocument/2006/relationships/tags" Target="../tags/tag24.xml"/><Relationship Id="rId119" Type="http://schemas.openxmlformats.org/officeDocument/2006/relationships/tags" Target="../tags/tag120.xml"/><Relationship Id="rId270" Type="http://schemas.openxmlformats.org/officeDocument/2006/relationships/tags" Target="../tags/tag271.xml"/><Relationship Id="rId326" Type="http://schemas.openxmlformats.org/officeDocument/2006/relationships/tags" Target="../tags/tag327.xml"/><Relationship Id="rId65" Type="http://schemas.openxmlformats.org/officeDocument/2006/relationships/tags" Target="../tags/tag66.xml"/><Relationship Id="rId130" Type="http://schemas.openxmlformats.org/officeDocument/2006/relationships/tags" Target="../tags/tag131.xml"/><Relationship Id="rId368" Type="http://schemas.openxmlformats.org/officeDocument/2006/relationships/tags" Target="../tags/tag369.xml"/><Relationship Id="rId172" Type="http://schemas.openxmlformats.org/officeDocument/2006/relationships/tags" Target="../tags/tag173.xml"/><Relationship Id="rId228" Type="http://schemas.openxmlformats.org/officeDocument/2006/relationships/tags" Target="../tags/tag229.xml"/><Relationship Id="rId281" Type="http://schemas.openxmlformats.org/officeDocument/2006/relationships/tags" Target="../tags/tag282.xml"/><Relationship Id="rId337" Type="http://schemas.openxmlformats.org/officeDocument/2006/relationships/tags" Target="../tags/tag338.xml"/><Relationship Id="rId34" Type="http://schemas.openxmlformats.org/officeDocument/2006/relationships/tags" Target="../tags/tag35.xml"/><Relationship Id="rId76" Type="http://schemas.openxmlformats.org/officeDocument/2006/relationships/tags" Target="../tags/tag77.xml"/><Relationship Id="rId141" Type="http://schemas.openxmlformats.org/officeDocument/2006/relationships/tags" Target="../tags/tag142.xml"/><Relationship Id="rId379" Type="http://schemas.openxmlformats.org/officeDocument/2006/relationships/tags" Target="../tags/tag380.xml"/><Relationship Id="rId7" Type="http://schemas.openxmlformats.org/officeDocument/2006/relationships/tags" Target="../tags/tag8.xml"/><Relationship Id="rId183" Type="http://schemas.openxmlformats.org/officeDocument/2006/relationships/tags" Target="../tags/tag184.xml"/><Relationship Id="rId239" Type="http://schemas.openxmlformats.org/officeDocument/2006/relationships/tags" Target="../tags/tag240.xml"/><Relationship Id="rId250" Type="http://schemas.openxmlformats.org/officeDocument/2006/relationships/tags" Target="../tags/tag251.xml"/><Relationship Id="rId292" Type="http://schemas.openxmlformats.org/officeDocument/2006/relationships/tags" Target="../tags/tag293.xml"/><Relationship Id="rId306" Type="http://schemas.openxmlformats.org/officeDocument/2006/relationships/tags" Target="../tags/tag307.xml"/><Relationship Id="rId45" Type="http://schemas.openxmlformats.org/officeDocument/2006/relationships/tags" Target="../tags/tag46.xml"/><Relationship Id="rId87" Type="http://schemas.openxmlformats.org/officeDocument/2006/relationships/tags" Target="../tags/tag88.xml"/><Relationship Id="rId110" Type="http://schemas.openxmlformats.org/officeDocument/2006/relationships/tags" Target="../tags/tag111.xml"/><Relationship Id="rId348" Type="http://schemas.openxmlformats.org/officeDocument/2006/relationships/tags" Target="../tags/tag349.xml"/><Relationship Id="rId152" Type="http://schemas.openxmlformats.org/officeDocument/2006/relationships/tags" Target="../tags/tag153.xml"/><Relationship Id="rId194" Type="http://schemas.openxmlformats.org/officeDocument/2006/relationships/tags" Target="../tags/tag195.xml"/><Relationship Id="rId208" Type="http://schemas.openxmlformats.org/officeDocument/2006/relationships/tags" Target="../tags/tag209.xml"/><Relationship Id="rId261" Type="http://schemas.openxmlformats.org/officeDocument/2006/relationships/tags" Target="../tags/tag262.xml"/><Relationship Id="rId14" Type="http://schemas.openxmlformats.org/officeDocument/2006/relationships/tags" Target="../tags/tag15.xml"/><Relationship Id="rId56" Type="http://schemas.openxmlformats.org/officeDocument/2006/relationships/tags" Target="../tags/tag57.xml"/><Relationship Id="rId317" Type="http://schemas.openxmlformats.org/officeDocument/2006/relationships/tags" Target="../tags/tag318.xml"/><Relationship Id="rId359" Type="http://schemas.openxmlformats.org/officeDocument/2006/relationships/tags" Target="../tags/tag360.xml"/><Relationship Id="rId98" Type="http://schemas.openxmlformats.org/officeDocument/2006/relationships/tags" Target="../tags/tag99.xml"/><Relationship Id="rId121" Type="http://schemas.openxmlformats.org/officeDocument/2006/relationships/tags" Target="../tags/tag122.xml"/><Relationship Id="rId163" Type="http://schemas.openxmlformats.org/officeDocument/2006/relationships/tags" Target="../tags/tag164.xml"/><Relationship Id="rId219" Type="http://schemas.openxmlformats.org/officeDocument/2006/relationships/tags" Target="../tags/tag220.xml"/><Relationship Id="rId370" Type="http://schemas.openxmlformats.org/officeDocument/2006/relationships/tags" Target="../tags/tag371.xml"/><Relationship Id="rId230" Type="http://schemas.openxmlformats.org/officeDocument/2006/relationships/tags" Target="../tags/tag231.xml"/><Relationship Id="rId25" Type="http://schemas.openxmlformats.org/officeDocument/2006/relationships/tags" Target="../tags/tag26.xml"/><Relationship Id="rId67" Type="http://schemas.openxmlformats.org/officeDocument/2006/relationships/tags" Target="../tags/tag68.xml"/><Relationship Id="rId272" Type="http://schemas.openxmlformats.org/officeDocument/2006/relationships/tags" Target="../tags/tag273.xml"/><Relationship Id="rId328" Type="http://schemas.openxmlformats.org/officeDocument/2006/relationships/tags" Target="../tags/tag329.xml"/><Relationship Id="rId132" Type="http://schemas.openxmlformats.org/officeDocument/2006/relationships/tags" Target="../tags/tag133.xml"/><Relationship Id="rId174" Type="http://schemas.openxmlformats.org/officeDocument/2006/relationships/tags" Target="../tags/tag175.xml"/><Relationship Id="rId381" Type="http://schemas.openxmlformats.org/officeDocument/2006/relationships/tags" Target="../tags/tag382.xml"/><Relationship Id="rId241" Type="http://schemas.openxmlformats.org/officeDocument/2006/relationships/tags" Target="../tags/tag242.xml"/><Relationship Id="rId36" Type="http://schemas.openxmlformats.org/officeDocument/2006/relationships/tags" Target="../tags/tag37.xml"/><Relationship Id="rId283" Type="http://schemas.openxmlformats.org/officeDocument/2006/relationships/tags" Target="../tags/tag284.xml"/><Relationship Id="rId339" Type="http://schemas.openxmlformats.org/officeDocument/2006/relationships/tags" Target="../tags/tag340.xml"/><Relationship Id="rId78" Type="http://schemas.openxmlformats.org/officeDocument/2006/relationships/tags" Target="../tags/tag79.xml"/><Relationship Id="rId101" Type="http://schemas.openxmlformats.org/officeDocument/2006/relationships/tags" Target="../tags/tag102.xml"/><Relationship Id="rId143" Type="http://schemas.openxmlformats.org/officeDocument/2006/relationships/tags" Target="../tags/tag144.xml"/><Relationship Id="rId185" Type="http://schemas.openxmlformats.org/officeDocument/2006/relationships/tags" Target="../tags/tag186.xml"/><Relationship Id="rId350" Type="http://schemas.openxmlformats.org/officeDocument/2006/relationships/tags" Target="../tags/tag351.xml"/><Relationship Id="rId9" Type="http://schemas.openxmlformats.org/officeDocument/2006/relationships/tags" Target="../tags/tag10.xml"/><Relationship Id="rId210" Type="http://schemas.openxmlformats.org/officeDocument/2006/relationships/tags" Target="../tags/tag211.xml"/><Relationship Id="rId26" Type="http://schemas.openxmlformats.org/officeDocument/2006/relationships/tags" Target="../tags/tag27.xml"/><Relationship Id="rId231" Type="http://schemas.openxmlformats.org/officeDocument/2006/relationships/tags" Target="../tags/tag232.xml"/><Relationship Id="rId252" Type="http://schemas.openxmlformats.org/officeDocument/2006/relationships/tags" Target="../tags/tag253.xml"/><Relationship Id="rId273" Type="http://schemas.openxmlformats.org/officeDocument/2006/relationships/tags" Target="../tags/tag274.xml"/><Relationship Id="rId294" Type="http://schemas.openxmlformats.org/officeDocument/2006/relationships/tags" Target="../tags/tag295.xml"/><Relationship Id="rId308" Type="http://schemas.openxmlformats.org/officeDocument/2006/relationships/tags" Target="../tags/tag309.xml"/><Relationship Id="rId329" Type="http://schemas.openxmlformats.org/officeDocument/2006/relationships/tags" Target="../tags/tag330.xml"/><Relationship Id="rId47" Type="http://schemas.openxmlformats.org/officeDocument/2006/relationships/tags" Target="../tags/tag48.xml"/><Relationship Id="rId68" Type="http://schemas.openxmlformats.org/officeDocument/2006/relationships/tags" Target="../tags/tag69.xml"/><Relationship Id="rId89" Type="http://schemas.openxmlformats.org/officeDocument/2006/relationships/tags" Target="../tags/tag90.xml"/><Relationship Id="rId112" Type="http://schemas.openxmlformats.org/officeDocument/2006/relationships/tags" Target="../tags/tag113.xml"/><Relationship Id="rId133" Type="http://schemas.openxmlformats.org/officeDocument/2006/relationships/tags" Target="../tags/tag134.xml"/><Relationship Id="rId154" Type="http://schemas.openxmlformats.org/officeDocument/2006/relationships/tags" Target="../tags/tag155.xml"/><Relationship Id="rId175" Type="http://schemas.openxmlformats.org/officeDocument/2006/relationships/tags" Target="../tags/tag176.xml"/><Relationship Id="rId340" Type="http://schemas.openxmlformats.org/officeDocument/2006/relationships/tags" Target="../tags/tag341.xml"/><Relationship Id="rId361" Type="http://schemas.openxmlformats.org/officeDocument/2006/relationships/tags" Target="../tags/tag362.xml"/><Relationship Id="rId196" Type="http://schemas.openxmlformats.org/officeDocument/2006/relationships/tags" Target="../tags/tag197.xml"/><Relationship Id="rId200" Type="http://schemas.openxmlformats.org/officeDocument/2006/relationships/tags" Target="../tags/tag201.xml"/><Relationship Id="rId382" Type="http://schemas.openxmlformats.org/officeDocument/2006/relationships/slideLayout" Target="../slideLayouts/slideLayout88.xml"/><Relationship Id="rId16" Type="http://schemas.openxmlformats.org/officeDocument/2006/relationships/tags" Target="../tags/tag17.xml"/><Relationship Id="rId221" Type="http://schemas.openxmlformats.org/officeDocument/2006/relationships/tags" Target="../tags/tag222.xml"/><Relationship Id="rId242" Type="http://schemas.openxmlformats.org/officeDocument/2006/relationships/tags" Target="../tags/tag243.xml"/><Relationship Id="rId263" Type="http://schemas.openxmlformats.org/officeDocument/2006/relationships/tags" Target="../tags/tag264.xml"/><Relationship Id="rId284" Type="http://schemas.openxmlformats.org/officeDocument/2006/relationships/tags" Target="../tags/tag285.xml"/><Relationship Id="rId319" Type="http://schemas.openxmlformats.org/officeDocument/2006/relationships/tags" Target="../tags/tag320.xml"/><Relationship Id="rId37" Type="http://schemas.openxmlformats.org/officeDocument/2006/relationships/tags" Target="../tags/tag38.xml"/><Relationship Id="rId58" Type="http://schemas.openxmlformats.org/officeDocument/2006/relationships/tags" Target="../tags/tag59.xml"/><Relationship Id="rId79" Type="http://schemas.openxmlformats.org/officeDocument/2006/relationships/tags" Target="../tags/tag80.xml"/><Relationship Id="rId102" Type="http://schemas.openxmlformats.org/officeDocument/2006/relationships/tags" Target="../tags/tag103.xml"/><Relationship Id="rId123" Type="http://schemas.openxmlformats.org/officeDocument/2006/relationships/tags" Target="../tags/tag124.xml"/><Relationship Id="rId144" Type="http://schemas.openxmlformats.org/officeDocument/2006/relationships/tags" Target="../tags/tag145.xml"/><Relationship Id="rId330" Type="http://schemas.openxmlformats.org/officeDocument/2006/relationships/tags" Target="../tags/tag331.xml"/><Relationship Id="rId90" Type="http://schemas.openxmlformats.org/officeDocument/2006/relationships/tags" Target="../tags/tag91.xml"/><Relationship Id="rId165" Type="http://schemas.openxmlformats.org/officeDocument/2006/relationships/tags" Target="../tags/tag166.xml"/><Relationship Id="rId186" Type="http://schemas.openxmlformats.org/officeDocument/2006/relationships/tags" Target="../tags/tag187.xml"/><Relationship Id="rId351" Type="http://schemas.openxmlformats.org/officeDocument/2006/relationships/tags" Target="../tags/tag352.xml"/><Relationship Id="rId372" Type="http://schemas.openxmlformats.org/officeDocument/2006/relationships/tags" Target="../tags/tag373.xml"/><Relationship Id="rId211" Type="http://schemas.openxmlformats.org/officeDocument/2006/relationships/tags" Target="../tags/tag212.xml"/><Relationship Id="rId232" Type="http://schemas.openxmlformats.org/officeDocument/2006/relationships/tags" Target="../tags/tag233.xml"/><Relationship Id="rId253" Type="http://schemas.openxmlformats.org/officeDocument/2006/relationships/tags" Target="../tags/tag254.xml"/><Relationship Id="rId274" Type="http://schemas.openxmlformats.org/officeDocument/2006/relationships/tags" Target="../tags/tag275.xml"/><Relationship Id="rId295" Type="http://schemas.openxmlformats.org/officeDocument/2006/relationships/tags" Target="../tags/tag296.xml"/><Relationship Id="rId309" Type="http://schemas.openxmlformats.org/officeDocument/2006/relationships/tags" Target="../tags/tag310.xml"/><Relationship Id="rId27" Type="http://schemas.openxmlformats.org/officeDocument/2006/relationships/tags" Target="../tags/tag28.xml"/><Relationship Id="rId48" Type="http://schemas.openxmlformats.org/officeDocument/2006/relationships/tags" Target="../tags/tag49.xml"/><Relationship Id="rId69" Type="http://schemas.openxmlformats.org/officeDocument/2006/relationships/tags" Target="../tags/tag70.xml"/><Relationship Id="rId113" Type="http://schemas.openxmlformats.org/officeDocument/2006/relationships/tags" Target="../tags/tag114.xml"/><Relationship Id="rId134" Type="http://schemas.openxmlformats.org/officeDocument/2006/relationships/tags" Target="../tags/tag135.xml"/><Relationship Id="rId320" Type="http://schemas.openxmlformats.org/officeDocument/2006/relationships/tags" Target="../tags/tag321.xml"/><Relationship Id="rId80" Type="http://schemas.openxmlformats.org/officeDocument/2006/relationships/tags" Target="../tags/tag81.xml"/><Relationship Id="rId155" Type="http://schemas.openxmlformats.org/officeDocument/2006/relationships/tags" Target="../tags/tag156.xml"/><Relationship Id="rId176" Type="http://schemas.openxmlformats.org/officeDocument/2006/relationships/tags" Target="../tags/tag177.xml"/><Relationship Id="rId197" Type="http://schemas.openxmlformats.org/officeDocument/2006/relationships/tags" Target="../tags/tag198.xml"/><Relationship Id="rId341" Type="http://schemas.openxmlformats.org/officeDocument/2006/relationships/tags" Target="../tags/tag342.xml"/><Relationship Id="rId362" Type="http://schemas.openxmlformats.org/officeDocument/2006/relationships/tags" Target="../tags/tag363.xml"/><Relationship Id="rId383" Type="http://schemas.openxmlformats.org/officeDocument/2006/relationships/notesSlide" Target="../notesSlides/notesSlide15.xml"/><Relationship Id="rId201" Type="http://schemas.openxmlformats.org/officeDocument/2006/relationships/tags" Target="../tags/tag202.xml"/><Relationship Id="rId222" Type="http://schemas.openxmlformats.org/officeDocument/2006/relationships/tags" Target="../tags/tag223.xml"/><Relationship Id="rId243" Type="http://schemas.openxmlformats.org/officeDocument/2006/relationships/tags" Target="../tags/tag244.xml"/><Relationship Id="rId264" Type="http://schemas.openxmlformats.org/officeDocument/2006/relationships/tags" Target="../tags/tag265.xml"/><Relationship Id="rId285" Type="http://schemas.openxmlformats.org/officeDocument/2006/relationships/tags" Target="../tags/tag286.xml"/><Relationship Id="rId17" Type="http://schemas.openxmlformats.org/officeDocument/2006/relationships/tags" Target="../tags/tag18.xml"/><Relationship Id="rId38" Type="http://schemas.openxmlformats.org/officeDocument/2006/relationships/tags" Target="../tags/tag39.xml"/><Relationship Id="rId59" Type="http://schemas.openxmlformats.org/officeDocument/2006/relationships/tags" Target="../tags/tag60.xml"/><Relationship Id="rId103" Type="http://schemas.openxmlformats.org/officeDocument/2006/relationships/tags" Target="../tags/tag104.xml"/><Relationship Id="rId124" Type="http://schemas.openxmlformats.org/officeDocument/2006/relationships/tags" Target="../tags/tag125.xml"/><Relationship Id="rId310" Type="http://schemas.openxmlformats.org/officeDocument/2006/relationships/tags" Target="../tags/tag311.xml"/><Relationship Id="rId70" Type="http://schemas.openxmlformats.org/officeDocument/2006/relationships/tags" Target="../tags/tag71.xml"/><Relationship Id="rId91" Type="http://schemas.openxmlformats.org/officeDocument/2006/relationships/tags" Target="../tags/tag92.xml"/><Relationship Id="rId145" Type="http://schemas.openxmlformats.org/officeDocument/2006/relationships/tags" Target="../tags/tag146.xml"/><Relationship Id="rId166" Type="http://schemas.openxmlformats.org/officeDocument/2006/relationships/tags" Target="../tags/tag167.xml"/><Relationship Id="rId187" Type="http://schemas.openxmlformats.org/officeDocument/2006/relationships/tags" Target="../tags/tag188.xml"/><Relationship Id="rId331" Type="http://schemas.openxmlformats.org/officeDocument/2006/relationships/tags" Target="../tags/tag332.xml"/><Relationship Id="rId352" Type="http://schemas.openxmlformats.org/officeDocument/2006/relationships/tags" Target="../tags/tag353.xml"/><Relationship Id="rId373" Type="http://schemas.openxmlformats.org/officeDocument/2006/relationships/tags" Target="../tags/tag374.xml"/><Relationship Id="rId1" Type="http://schemas.openxmlformats.org/officeDocument/2006/relationships/tags" Target="../tags/tag2.xml"/><Relationship Id="rId212" Type="http://schemas.openxmlformats.org/officeDocument/2006/relationships/tags" Target="../tags/tag213.xml"/><Relationship Id="rId233" Type="http://schemas.openxmlformats.org/officeDocument/2006/relationships/tags" Target="../tags/tag234.xml"/><Relationship Id="rId254" Type="http://schemas.openxmlformats.org/officeDocument/2006/relationships/tags" Target="../tags/tag255.xml"/><Relationship Id="rId28" Type="http://schemas.openxmlformats.org/officeDocument/2006/relationships/tags" Target="../tags/tag29.xml"/><Relationship Id="rId49" Type="http://schemas.openxmlformats.org/officeDocument/2006/relationships/tags" Target="../tags/tag50.xml"/><Relationship Id="rId114" Type="http://schemas.openxmlformats.org/officeDocument/2006/relationships/tags" Target="../tags/tag115.xml"/><Relationship Id="rId275" Type="http://schemas.openxmlformats.org/officeDocument/2006/relationships/tags" Target="../tags/tag276.xml"/><Relationship Id="rId296" Type="http://schemas.openxmlformats.org/officeDocument/2006/relationships/tags" Target="../tags/tag297.xml"/><Relationship Id="rId300" Type="http://schemas.openxmlformats.org/officeDocument/2006/relationships/tags" Target="../tags/tag301.xml"/><Relationship Id="rId60" Type="http://schemas.openxmlformats.org/officeDocument/2006/relationships/tags" Target="../tags/tag61.xml"/><Relationship Id="rId81" Type="http://schemas.openxmlformats.org/officeDocument/2006/relationships/tags" Target="../tags/tag82.xml"/><Relationship Id="rId135" Type="http://schemas.openxmlformats.org/officeDocument/2006/relationships/tags" Target="../tags/tag136.xml"/><Relationship Id="rId156" Type="http://schemas.openxmlformats.org/officeDocument/2006/relationships/tags" Target="../tags/tag157.xml"/><Relationship Id="rId177" Type="http://schemas.openxmlformats.org/officeDocument/2006/relationships/tags" Target="../tags/tag178.xml"/><Relationship Id="rId198" Type="http://schemas.openxmlformats.org/officeDocument/2006/relationships/tags" Target="../tags/tag199.xml"/><Relationship Id="rId321" Type="http://schemas.openxmlformats.org/officeDocument/2006/relationships/tags" Target="../tags/tag322.xml"/><Relationship Id="rId342" Type="http://schemas.openxmlformats.org/officeDocument/2006/relationships/tags" Target="../tags/tag343.xml"/><Relationship Id="rId363" Type="http://schemas.openxmlformats.org/officeDocument/2006/relationships/tags" Target="../tags/tag364.xml"/><Relationship Id="rId384" Type="http://schemas.openxmlformats.org/officeDocument/2006/relationships/image" Target="../media/image40.jpg"/><Relationship Id="rId202" Type="http://schemas.openxmlformats.org/officeDocument/2006/relationships/tags" Target="../tags/tag203.xml"/><Relationship Id="rId223" Type="http://schemas.openxmlformats.org/officeDocument/2006/relationships/tags" Target="../tags/tag224.xml"/><Relationship Id="rId244" Type="http://schemas.openxmlformats.org/officeDocument/2006/relationships/tags" Target="../tags/tag245.xml"/><Relationship Id="rId18" Type="http://schemas.openxmlformats.org/officeDocument/2006/relationships/tags" Target="../tags/tag19.xml"/><Relationship Id="rId39" Type="http://schemas.openxmlformats.org/officeDocument/2006/relationships/tags" Target="../tags/tag40.xml"/><Relationship Id="rId265" Type="http://schemas.openxmlformats.org/officeDocument/2006/relationships/tags" Target="../tags/tag266.xml"/><Relationship Id="rId286" Type="http://schemas.openxmlformats.org/officeDocument/2006/relationships/tags" Target="../tags/tag287.xml"/><Relationship Id="rId50" Type="http://schemas.openxmlformats.org/officeDocument/2006/relationships/tags" Target="../tags/tag51.xml"/><Relationship Id="rId104" Type="http://schemas.openxmlformats.org/officeDocument/2006/relationships/tags" Target="../tags/tag105.xml"/><Relationship Id="rId125" Type="http://schemas.openxmlformats.org/officeDocument/2006/relationships/tags" Target="../tags/tag126.xml"/><Relationship Id="rId146" Type="http://schemas.openxmlformats.org/officeDocument/2006/relationships/tags" Target="../tags/tag147.xml"/><Relationship Id="rId167" Type="http://schemas.openxmlformats.org/officeDocument/2006/relationships/tags" Target="../tags/tag168.xml"/><Relationship Id="rId188" Type="http://schemas.openxmlformats.org/officeDocument/2006/relationships/tags" Target="../tags/tag189.xml"/><Relationship Id="rId311" Type="http://schemas.openxmlformats.org/officeDocument/2006/relationships/tags" Target="../tags/tag312.xml"/><Relationship Id="rId332" Type="http://schemas.openxmlformats.org/officeDocument/2006/relationships/tags" Target="../tags/tag333.xml"/><Relationship Id="rId353" Type="http://schemas.openxmlformats.org/officeDocument/2006/relationships/tags" Target="../tags/tag354.xml"/><Relationship Id="rId374" Type="http://schemas.openxmlformats.org/officeDocument/2006/relationships/tags" Target="../tags/tag375.xml"/><Relationship Id="rId71" Type="http://schemas.openxmlformats.org/officeDocument/2006/relationships/tags" Target="../tags/tag72.xml"/><Relationship Id="rId92" Type="http://schemas.openxmlformats.org/officeDocument/2006/relationships/tags" Target="../tags/tag93.xml"/><Relationship Id="rId213" Type="http://schemas.openxmlformats.org/officeDocument/2006/relationships/tags" Target="../tags/tag214.xml"/><Relationship Id="rId234" Type="http://schemas.openxmlformats.org/officeDocument/2006/relationships/tags" Target="../tags/tag235.xml"/><Relationship Id="rId2" Type="http://schemas.openxmlformats.org/officeDocument/2006/relationships/tags" Target="../tags/tag3.xml"/><Relationship Id="rId29" Type="http://schemas.openxmlformats.org/officeDocument/2006/relationships/tags" Target="../tags/tag30.xml"/><Relationship Id="rId255" Type="http://schemas.openxmlformats.org/officeDocument/2006/relationships/tags" Target="../tags/tag256.xml"/><Relationship Id="rId276" Type="http://schemas.openxmlformats.org/officeDocument/2006/relationships/tags" Target="../tags/tag277.xml"/><Relationship Id="rId297" Type="http://schemas.openxmlformats.org/officeDocument/2006/relationships/tags" Target="../tags/tag298.xml"/><Relationship Id="rId40" Type="http://schemas.openxmlformats.org/officeDocument/2006/relationships/tags" Target="../tags/tag41.xml"/><Relationship Id="rId115" Type="http://schemas.openxmlformats.org/officeDocument/2006/relationships/tags" Target="../tags/tag116.xml"/><Relationship Id="rId136" Type="http://schemas.openxmlformats.org/officeDocument/2006/relationships/tags" Target="../tags/tag137.xml"/><Relationship Id="rId157" Type="http://schemas.openxmlformats.org/officeDocument/2006/relationships/tags" Target="../tags/tag158.xml"/><Relationship Id="rId178" Type="http://schemas.openxmlformats.org/officeDocument/2006/relationships/tags" Target="../tags/tag179.xml"/><Relationship Id="rId301" Type="http://schemas.openxmlformats.org/officeDocument/2006/relationships/tags" Target="../tags/tag302.xml"/><Relationship Id="rId322" Type="http://schemas.openxmlformats.org/officeDocument/2006/relationships/tags" Target="../tags/tag323.xml"/><Relationship Id="rId343" Type="http://schemas.openxmlformats.org/officeDocument/2006/relationships/tags" Target="../tags/tag344.xml"/><Relationship Id="rId364" Type="http://schemas.openxmlformats.org/officeDocument/2006/relationships/tags" Target="../tags/tag365.xml"/><Relationship Id="rId61" Type="http://schemas.openxmlformats.org/officeDocument/2006/relationships/tags" Target="../tags/tag62.xml"/><Relationship Id="rId82" Type="http://schemas.openxmlformats.org/officeDocument/2006/relationships/tags" Target="../tags/tag83.xml"/><Relationship Id="rId199" Type="http://schemas.openxmlformats.org/officeDocument/2006/relationships/tags" Target="../tags/tag200.xml"/><Relationship Id="rId203" Type="http://schemas.openxmlformats.org/officeDocument/2006/relationships/tags" Target="../tags/tag204.xml"/><Relationship Id="rId19" Type="http://schemas.openxmlformats.org/officeDocument/2006/relationships/tags" Target="../tags/tag20.xml"/><Relationship Id="rId224" Type="http://schemas.openxmlformats.org/officeDocument/2006/relationships/tags" Target="../tags/tag225.xml"/><Relationship Id="rId245" Type="http://schemas.openxmlformats.org/officeDocument/2006/relationships/tags" Target="../tags/tag246.xml"/><Relationship Id="rId266" Type="http://schemas.openxmlformats.org/officeDocument/2006/relationships/tags" Target="../tags/tag267.xml"/><Relationship Id="rId287" Type="http://schemas.openxmlformats.org/officeDocument/2006/relationships/tags" Target="../tags/tag288.xml"/><Relationship Id="rId30" Type="http://schemas.openxmlformats.org/officeDocument/2006/relationships/tags" Target="../tags/tag31.xml"/><Relationship Id="rId105" Type="http://schemas.openxmlformats.org/officeDocument/2006/relationships/tags" Target="../tags/tag106.xml"/><Relationship Id="rId126" Type="http://schemas.openxmlformats.org/officeDocument/2006/relationships/tags" Target="../tags/tag127.xml"/><Relationship Id="rId147" Type="http://schemas.openxmlformats.org/officeDocument/2006/relationships/tags" Target="../tags/tag148.xml"/><Relationship Id="rId168" Type="http://schemas.openxmlformats.org/officeDocument/2006/relationships/tags" Target="../tags/tag169.xml"/><Relationship Id="rId312" Type="http://schemas.openxmlformats.org/officeDocument/2006/relationships/tags" Target="../tags/tag313.xml"/><Relationship Id="rId333" Type="http://schemas.openxmlformats.org/officeDocument/2006/relationships/tags" Target="../tags/tag334.xml"/><Relationship Id="rId354" Type="http://schemas.openxmlformats.org/officeDocument/2006/relationships/tags" Target="../tags/tag355.xml"/><Relationship Id="rId51" Type="http://schemas.openxmlformats.org/officeDocument/2006/relationships/tags" Target="../tags/tag52.xml"/><Relationship Id="rId72" Type="http://schemas.openxmlformats.org/officeDocument/2006/relationships/tags" Target="../tags/tag73.xml"/><Relationship Id="rId93" Type="http://schemas.openxmlformats.org/officeDocument/2006/relationships/tags" Target="../tags/tag94.xml"/><Relationship Id="rId189" Type="http://schemas.openxmlformats.org/officeDocument/2006/relationships/tags" Target="../tags/tag190.xml"/><Relationship Id="rId375" Type="http://schemas.openxmlformats.org/officeDocument/2006/relationships/tags" Target="../tags/tag376.xml"/><Relationship Id="rId3" Type="http://schemas.openxmlformats.org/officeDocument/2006/relationships/tags" Target="../tags/tag4.xml"/><Relationship Id="rId214" Type="http://schemas.openxmlformats.org/officeDocument/2006/relationships/tags" Target="../tags/tag215.xml"/><Relationship Id="rId235" Type="http://schemas.openxmlformats.org/officeDocument/2006/relationships/tags" Target="../tags/tag236.xml"/><Relationship Id="rId256" Type="http://schemas.openxmlformats.org/officeDocument/2006/relationships/tags" Target="../tags/tag257.xml"/><Relationship Id="rId277" Type="http://schemas.openxmlformats.org/officeDocument/2006/relationships/tags" Target="../tags/tag278.xml"/><Relationship Id="rId298" Type="http://schemas.openxmlformats.org/officeDocument/2006/relationships/tags" Target="../tags/tag299.xml"/><Relationship Id="rId116" Type="http://schemas.openxmlformats.org/officeDocument/2006/relationships/tags" Target="../tags/tag117.xml"/><Relationship Id="rId137" Type="http://schemas.openxmlformats.org/officeDocument/2006/relationships/tags" Target="../tags/tag138.xml"/><Relationship Id="rId158" Type="http://schemas.openxmlformats.org/officeDocument/2006/relationships/tags" Target="../tags/tag159.xml"/><Relationship Id="rId302" Type="http://schemas.openxmlformats.org/officeDocument/2006/relationships/tags" Target="../tags/tag303.xml"/><Relationship Id="rId323" Type="http://schemas.openxmlformats.org/officeDocument/2006/relationships/tags" Target="../tags/tag324.xml"/><Relationship Id="rId344" Type="http://schemas.openxmlformats.org/officeDocument/2006/relationships/tags" Target="../tags/tag345.xml"/><Relationship Id="rId20" Type="http://schemas.openxmlformats.org/officeDocument/2006/relationships/tags" Target="../tags/tag21.xml"/><Relationship Id="rId41" Type="http://schemas.openxmlformats.org/officeDocument/2006/relationships/tags" Target="../tags/tag42.xml"/><Relationship Id="rId62" Type="http://schemas.openxmlformats.org/officeDocument/2006/relationships/tags" Target="../tags/tag63.xml"/><Relationship Id="rId83" Type="http://schemas.openxmlformats.org/officeDocument/2006/relationships/tags" Target="../tags/tag84.xml"/><Relationship Id="rId179" Type="http://schemas.openxmlformats.org/officeDocument/2006/relationships/tags" Target="../tags/tag180.xml"/><Relationship Id="rId365" Type="http://schemas.openxmlformats.org/officeDocument/2006/relationships/tags" Target="../tags/tag366.xml"/><Relationship Id="rId190" Type="http://schemas.openxmlformats.org/officeDocument/2006/relationships/tags" Target="../tags/tag191.xml"/><Relationship Id="rId204" Type="http://schemas.openxmlformats.org/officeDocument/2006/relationships/tags" Target="../tags/tag205.xml"/><Relationship Id="rId225" Type="http://schemas.openxmlformats.org/officeDocument/2006/relationships/tags" Target="../tags/tag226.xml"/><Relationship Id="rId246" Type="http://schemas.openxmlformats.org/officeDocument/2006/relationships/tags" Target="../tags/tag247.xml"/><Relationship Id="rId267" Type="http://schemas.openxmlformats.org/officeDocument/2006/relationships/tags" Target="../tags/tag268.xml"/><Relationship Id="rId288" Type="http://schemas.openxmlformats.org/officeDocument/2006/relationships/tags" Target="../tags/tag289.xml"/><Relationship Id="rId106" Type="http://schemas.openxmlformats.org/officeDocument/2006/relationships/tags" Target="../tags/tag107.xml"/><Relationship Id="rId127" Type="http://schemas.openxmlformats.org/officeDocument/2006/relationships/tags" Target="../tags/tag128.xml"/><Relationship Id="rId313" Type="http://schemas.openxmlformats.org/officeDocument/2006/relationships/tags" Target="../tags/tag314.xml"/><Relationship Id="rId10" Type="http://schemas.openxmlformats.org/officeDocument/2006/relationships/tags" Target="../tags/tag11.xml"/><Relationship Id="rId31" Type="http://schemas.openxmlformats.org/officeDocument/2006/relationships/tags" Target="../tags/tag32.xml"/><Relationship Id="rId52" Type="http://schemas.openxmlformats.org/officeDocument/2006/relationships/tags" Target="../tags/tag53.xml"/><Relationship Id="rId73" Type="http://schemas.openxmlformats.org/officeDocument/2006/relationships/tags" Target="../tags/tag74.xml"/><Relationship Id="rId94" Type="http://schemas.openxmlformats.org/officeDocument/2006/relationships/tags" Target="../tags/tag95.xml"/><Relationship Id="rId148" Type="http://schemas.openxmlformats.org/officeDocument/2006/relationships/tags" Target="../tags/tag149.xml"/><Relationship Id="rId169" Type="http://schemas.openxmlformats.org/officeDocument/2006/relationships/tags" Target="../tags/tag170.xml"/><Relationship Id="rId334" Type="http://schemas.openxmlformats.org/officeDocument/2006/relationships/tags" Target="../tags/tag335.xml"/><Relationship Id="rId355" Type="http://schemas.openxmlformats.org/officeDocument/2006/relationships/tags" Target="../tags/tag356.xml"/><Relationship Id="rId376" Type="http://schemas.openxmlformats.org/officeDocument/2006/relationships/tags" Target="../tags/tag377.xml"/><Relationship Id="rId4" Type="http://schemas.openxmlformats.org/officeDocument/2006/relationships/tags" Target="../tags/tag5.xml"/><Relationship Id="rId180" Type="http://schemas.openxmlformats.org/officeDocument/2006/relationships/tags" Target="../tags/tag181.xml"/><Relationship Id="rId215" Type="http://schemas.openxmlformats.org/officeDocument/2006/relationships/tags" Target="../tags/tag216.xml"/><Relationship Id="rId236" Type="http://schemas.openxmlformats.org/officeDocument/2006/relationships/tags" Target="../tags/tag237.xml"/><Relationship Id="rId257" Type="http://schemas.openxmlformats.org/officeDocument/2006/relationships/tags" Target="../tags/tag258.xml"/><Relationship Id="rId278" Type="http://schemas.openxmlformats.org/officeDocument/2006/relationships/tags" Target="../tags/tag279.xml"/><Relationship Id="rId303" Type="http://schemas.openxmlformats.org/officeDocument/2006/relationships/tags" Target="../tags/tag304.xml"/><Relationship Id="rId42" Type="http://schemas.openxmlformats.org/officeDocument/2006/relationships/tags" Target="../tags/tag43.xml"/><Relationship Id="rId84" Type="http://schemas.openxmlformats.org/officeDocument/2006/relationships/tags" Target="../tags/tag85.xml"/><Relationship Id="rId138" Type="http://schemas.openxmlformats.org/officeDocument/2006/relationships/tags" Target="../tags/tag139.xml"/><Relationship Id="rId345" Type="http://schemas.openxmlformats.org/officeDocument/2006/relationships/tags" Target="../tags/tag346.xml"/><Relationship Id="rId191" Type="http://schemas.openxmlformats.org/officeDocument/2006/relationships/tags" Target="../tags/tag192.xml"/><Relationship Id="rId205" Type="http://schemas.openxmlformats.org/officeDocument/2006/relationships/tags" Target="../tags/tag206.xml"/><Relationship Id="rId247" Type="http://schemas.openxmlformats.org/officeDocument/2006/relationships/tags" Target="../tags/tag248.xml"/><Relationship Id="rId107" Type="http://schemas.openxmlformats.org/officeDocument/2006/relationships/tags" Target="../tags/tag108.xml"/><Relationship Id="rId289" Type="http://schemas.openxmlformats.org/officeDocument/2006/relationships/tags" Target="../tags/tag290.xml"/><Relationship Id="rId11" Type="http://schemas.openxmlformats.org/officeDocument/2006/relationships/tags" Target="../tags/tag12.xml"/><Relationship Id="rId53" Type="http://schemas.openxmlformats.org/officeDocument/2006/relationships/tags" Target="../tags/tag54.xml"/><Relationship Id="rId149" Type="http://schemas.openxmlformats.org/officeDocument/2006/relationships/tags" Target="../tags/tag150.xml"/><Relationship Id="rId314" Type="http://schemas.openxmlformats.org/officeDocument/2006/relationships/tags" Target="../tags/tag315.xml"/><Relationship Id="rId356" Type="http://schemas.openxmlformats.org/officeDocument/2006/relationships/tags" Target="../tags/tag357.xml"/><Relationship Id="rId95" Type="http://schemas.openxmlformats.org/officeDocument/2006/relationships/tags" Target="../tags/tag96.xml"/><Relationship Id="rId160" Type="http://schemas.openxmlformats.org/officeDocument/2006/relationships/tags" Target="../tags/tag161.xml"/><Relationship Id="rId216" Type="http://schemas.openxmlformats.org/officeDocument/2006/relationships/tags" Target="../tags/tag217.xml"/><Relationship Id="rId258" Type="http://schemas.openxmlformats.org/officeDocument/2006/relationships/tags" Target="../tags/tag259.xml"/><Relationship Id="rId22" Type="http://schemas.openxmlformats.org/officeDocument/2006/relationships/tags" Target="../tags/tag23.xml"/><Relationship Id="rId64" Type="http://schemas.openxmlformats.org/officeDocument/2006/relationships/tags" Target="../tags/tag65.xml"/><Relationship Id="rId118" Type="http://schemas.openxmlformats.org/officeDocument/2006/relationships/tags" Target="../tags/tag119.xml"/><Relationship Id="rId325" Type="http://schemas.openxmlformats.org/officeDocument/2006/relationships/tags" Target="../tags/tag326.xml"/><Relationship Id="rId367" Type="http://schemas.openxmlformats.org/officeDocument/2006/relationships/tags" Target="../tags/tag368.xml"/><Relationship Id="rId171" Type="http://schemas.openxmlformats.org/officeDocument/2006/relationships/tags" Target="../tags/tag172.xml"/><Relationship Id="rId227" Type="http://schemas.openxmlformats.org/officeDocument/2006/relationships/tags" Target="../tags/tag228.xml"/><Relationship Id="rId269" Type="http://schemas.openxmlformats.org/officeDocument/2006/relationships/tags" Target="../tags/tag270.xml"/><Relationship Id="rId33" Type="http://schemas.openxmlformats.org/officeDocument/2006/relationships/tags" Target="../tags/tag34.xml"/><Relationship Id="rId129" Type="http://schemas.openxmlformats.org/officeDocument/2006/relationships/tags" Target="../tags/tag130.xml"/><Relationship Id="rId280" Type="http://schemas.openxmlformats.org/officeDocument/2006/relationships/tags" Target="../tags/tag281.xml"/><Relationship Id="rId336" Type="http://schemas.openxmlformats.org/officeDocument/2006/relationships/tags" Target="../tags/tag337.xml"/><Relationship Id="rId75" Type="http://schemas.openxmlformats.org/officeDocument/2006/relationships/tags" Target="../tags/tag76.xml"/><Relationship Id="rId140" Type="http://schemas.openxmlformats.org/officeDocument/2006/relationships/tags" Target="../tags/tag141.xml"/><Relationship Id="rId182" Type="http://schemas.openxmlformats.org/officeDocument/2006/relationships/tags" Target="../tags/tag183.xml"/><Relationship Id="rId378" Type="http://schemas.openxmlformats.org/officeDocument/2006/relationships/tags" Target="../tags/tag379.xml"/><Relationship Id="rId6" Type="http://schemas.openxmlformats.org/officeDocument/2006/relationships/tags" Target="../tags/tag7.xml"/><Relationship Id="rId238" Type="http://schemas.openxmlformats.org/officeDocument/2006/relationships/tags" Target="../tags/tag239.xml"/><Relationship Id="rId291" Type="http://schemas.openxmlformats.org/officeDocument/2006/relationships/tags" Target="../tags/tag292.xml"/><Relationship Id="rId305" Type="http://schemas.openxmlformats.org/officeDocument/2006/relationships/tags" Target="../tags/tag306.xml"/><Relationship Id="rId347" Type="http://schemas.openxmlformats.org/officeDocument/2006/relationships/tags" Target="../tags/tag348.xml"/><Relationship Id="rId44" Type="http://schemas.openxmlformats.org/officeDocument/2006/relationships/tags" Target="../tags/tag45.xml"/><Relationship Id="rId86" Type="http://schemas.openxmlformats.org/officeDocument/2006/relationships/tags" Target="../tags/tag87.xml"/><Relationship Id="rId151" Type="http://schemas.openxmlformats.org/officeDocument/2006/relationships/tags" Target="../tags/tag152.xml"/><Relationship Id="rId193" Type="http://schemas.openxmlformats.org/officeDocument/2006/relationships/tags" Target="../tags/tag194.xml"/><Relationship Id="rId207" Type="http://schemas.openxmlformats.org/officeDocument/2006/relationships/tags" Target="../tags/tag208.xml"/><Relationship Id="rId249" Type="http://schemas.openxmlformats.org/officeDocument/2006/relationships/tags" Target="../tags/tag250.xml"/><Relationship Id="rId13" Type="http://schemas.openxmlformats.org/officeDocument/2006/relationships/tags" Target="../tags/tag14.xml"/><Relationship Id="rId109" Type="http://schemas.openxmlformats.org/officeDocument/2006/relationships/tags" Target="../tags/tag110.xml"/><Relationship Id="rId260" Type="http://schemas.openxmlformats.org/officeDocument/2006/relationships/tags" Target="../tags/tag261.xml"/><Relationship Id="rId316" Type="http://schemas.openxmlformats.org/officeDocument/2006/relationships/tags" Target="../tags/tag317.xml"/><Relationship Id="rId55" Type="http://schemas.openxmlformats.org/officeDocument/2006/relationships/tags" Target="../tags/tag56.xml"/><Relationship Id="rId97" Type="http://schemas.openxmlformats.org/officeDocument/2006/relationships/tags" Target="../tags/tag98.xml"/><Relationship Id="rId120" Type="http://schemas.openxmlformats.org/officeDocument/2006/relationships/tags" Target="../tags/tag121.xml"/><Relationship Id="rId358" Type="http://schemas.openxmlformats.org/officeDocument/2006/relationships/tags" Target="../tags/tag359.xml"/><Relationship Id="rId162" Type="http://schemas.openxmlformats.org/officeDocument/2006/relationships/tags" Target="../tags/tag163.xml"/><Relationship Id="rId218" Type="http://schemas.openxmlformats.org/officeDocument/2006/relationships/tags" Target="../tags/tag219.xml"/><Relationship Id="rId271" Type="http://schemas.openxmlformats.org/officeDocument/2006/relationships/tags" Target="../tags/tag272.xml"/><Relationship Id="rId24" Type="http://schemas.openxmlformats.org/officeDocument/2006/relationships/tags" Target="../tags/tag25.xml"/><Relationship Id="rId66" Type="http://schemas.openxmlformats.org/officeDocument/2006/relationships/tags" Target="../tags/tag67.xml"/><Relationship Id="rId131" Type="http://schemas.openxmlformats.org/officeDocument/2006/relationships/tags" Target="../tags/tag132.xml"/><Relationship Id="rId327" Type="http://schemas.openxmlformats.org/officeDocument/2006/relationships/tags" Target="../tags/tag328.xml"/><Relationship Id="rId369" Type="http://schemas.openxmlformats.org/officeDocument/2006/relationships/tags" Target="../tags/tag370.xml"/><Relationship Id="rId173" Type="http://schemas.openxmlformats.org/officeDocument/2006/relationships/tags" Target="../tags/tag174.xml"/><Relationship Id="rId229" Type="http://schemas.openxmlformats.org/officeDocument/2006/relationships/tags" Target="../tags/tag230.xml"/><Relationship Id="rId380" Type="http://schemas.openxmlformats.org/officeDocument/2006/relationships/tags" Target="../tags/tag381.xml"/><Relationship Id="rId240" Type="http://schemas.openxmlformats.org/officeDocument/2006/relationships/tags" Target="../tags/tag241.xml"/><Relationship Id="rId35" Type="http://schemas.openxmlformats.org/officeDocument/2006/relationships/tags" Target="../tags/tag36.xml"/><Relationship Id="rId77" Type="http://schemas.openxmlformats.org/officeDocument/2006/relationships/tags" Target="../tags/tag78.xml"/><Relationship Id="rId100" Type="http://schemas.openxmlformats.org/officeDocument/2006/relationships/tags" Target="../tags/tag101.xml"/><Relationship Id="rId282" Type="http://schemas.openxmlformats.org/officeDocument/2006/relationships/tags" Target="../tags/tag283.xml"/><Relationship Id="rId338" Type="http://schemas.openxmlformats.org/officeDocument/2006/relationships/tags" Target="../tags/tag339.xml"/><Relationship Id="rId8" Type="http://schemas.openxmlformats.org/officeDocument/2006/relationships/tags" Target="../tags/tag9.xml"/><Relationship Id="rId142" Type="http://schemas.openxmlformats.org/officeDocument/2006/relationships/tags" Target="../tags/tag143.xml"/><Relationship Id="rId184" Type="http://schemas.openxmlformats.org/officeDocument/2006/relationships/tags" Target="../tags/tag185.xml"/><Relationship Id="rId251" Type="http://schemas.openxmlformats.org/officeDocument/2006/relationships/tags" Target="../tags/tag252.xml"/><Relationship Id="rId46" Type="http://schemas.openxmlformats.org/officeDocument/2006/relationships/tags" Target="../tags/tag47.xml"/><Relationship Id="rId293" Type="http://schemas.openxmlformats.org/officeDocument/2006/relationships/tags" Target="../tags/tag294.xml"/><Relationship Id="rId307" Type="http://schemas.openxmlformats.org/officeDocument/2006/relationships/tags" Target="../tags/tag308.xml"/><Relationship Id="rId349" Type="http://schemas.openxmlformats.org/officeDocument/2006/relationships/tags" Target="../tags/tag350.xml"/><Relationship Id="rId88" Type="http://schemas.openxmlformats.org/officeDocument/2006/relationships/tags" Target="../tags/tag89.xml"/><Relationship Id="rId111" Type="http://schemas.openxmlformats.org/officeDocument/2006/relationships/tags" Target="../tags/tag112.xml"/><Relationship Id="rId153" Type="http://schemas.openxmlformats.org/officeDocument/2006/relationships/tags" Target="../tags/tag154.xml"/><Relationship Id="rId195" Type="http://schemas.openxmlformats.org/officeDocument/2006/relationships/tags" Target="../tags/tag196.xml"/><Relationship Id="rId209" Type="http://schemas.openxmlformats.org/officeDocument/2006/relationships/tags" Target="../tags/tag210.xml"/><Relationship Id="rId360" Type="http://schemas.openxmlformats.org/officeDocument/2006/relationships/tags" Target="../tags/tag361.xml"/><Relationship Id="rId220" Type="http://schemas.openxmlformats.org/officeDocument/2006/relationships/tags" Target="../tags/tag221.xml"/><Relationship Id="rId15" Type="http://schemas.openxmlformats.org/officeDocument/2006/relationships/tags" Target="../tags/tag16.xml"/><Relationship Id="rId57" Type="http://schemas.openxmlformats.org/officeDocument/2006/relationships/tags" Target="../tags/tag58.xml"/><Relationship Id="rId262" Type="http://schemas.openxmlformats.org/officeDocument/2006/relationships/tags" Target="../tags/tag263.xml"/><Relationship Id="rId318" Type="http://schemas.openxmlformats.org/officeDocument/2006/relationships/tags" Target="../tags/tag319.xml"/><Relationship Id="rId99" Type="http://schemas.openxmlformats.org/officeDocument/2006/relationships/tags" Target="../tags/tag100.xml"/><Relationship Id="rId122" Type="http://schemas.openxmlformats.org/officeDocument/2006/relationships/tags" Target="../tags/tag123.xml"/><Relationship Id="rId164" Type="http://schemas.openxmlformats.org/officeDocument/2006/relationships/tags" Target="../tags/tag165.xml"/><Relationship Id="rId371" Type="http://schemas.openxmlformats.org/officeDocument/2006/relationships/tags" Target="../tags/tag372.xml"/></Relationships>
</file>

<file path=ppt/slides/_rels/slide23.xml.rels><?xml version="1.0" encoding="UTF-8" standalone="yes"?>
<Relationships xmlns="http://schemas.openxmlformats.org/package/2006/relationships"><Relationship Id="rId3" Type="http://schemas.openxmlformats.org/officeDocument/2006/relationships/image" Target="../media/image97.jpeg"/><Relationship Id="rId2" Type="http://schemas.openxmlformats.org/officeDocument/2006/relationships/image" Target="../media/image96.jpg"/><Relationship Id="rId1" Type="http://schemas.openxmlformats.org/officeDocument/2006/relationships/slideLayout" Target="../slideLayouts/slideLayout84.xml"/><Relationship Id="rId5" Type="http://schemas.openxmlformats.org/officeDocument/2006/relationships/image" Target="../media/image99.jpeg"/><Relationship Id="rId4" Type="http://schemas.openxmlformats.org/officeDocument/2006/relationships/image" Target="../media/image98.jpeg"/></Relationships>
</file>

<file path=ppt/slides/_rels/slide24.xml.rels><?xml version="1.0" encoding="UTF-8" standalone="yes"?>
<Relationships xmlns="http://schemas.openxmlformats.org/package/2006/relationships"><Relationship Id="rId2" Type="http://schemas.openxmlformats.org/officeDocument/2006/relationships/image" Target="../media/image100.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17.gif"/><Relationship Id="rId3" Type="http://schemas.openxmlformats.org/officeDocument/2006/relationships/image" Target="../media/image12.gif"/><Relationship Id="rId7" Type="http://schemas.openxmlformats.org/officeDocument/2006/relationships/image" Target="../media/image16.gif"/><Relationship Id="rId2" Type="http://schemas.openxmlformats.org/officeDocument/2006/relationships/image" Target="../media/image11.jpg"/><Relationship Id="rId1" Type="http://schemas.openxmlformats.org/officeDocument/2006/relationships/slideLayout" Target="../slideLayouts/slideLayout7.xml"/><Relationship Id="rId6" Type="http://schemas.openxmlformats.org/officeDocument/2006/relationships/image" Target="../media/image15.gif"/><Relationship Id="rId5" Type="http://schemas.openxmlformats.org/officeDocument/2006/relationships/image" Target="../media/image14.gif"/><Relationship Id="rId10" Type="http://schemas.openxmlformats.org/officeDocument/2006/relationships/image" Target="../media/image19.gif"/><Relationship Id="rId4" Type="http://schemas.openxmlformats.org/officeDocument/2006/relationships/image" Target="../media/image13.gif"/><Relationship Id="rId9" Type="http://schemas.openxmlformats.org/officeDocument/2006/relationships/image" Target="../media/image18.gif"/></Relationships>
</file>

<file path=ppt/slides/_rels/slide4.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jpeg"/><Relationship Id="rId3" Type="http://schemas.openxmlformats.org/officeDocument/2006/relationships/image" Target="../media/image20.jpeg"/><Relationship Id="rId7" Type="http://schemas.openxmlformats.org/officeDocument/2006/relationships/image" Target="../media/image24.jpeg"/><Relationship Id="rId12" Type="http://schemas.openxmlformats.org/officeDocument/2006/relationships/image" Target="../media/image29.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23.jpeg"/><Relationship Id="rId11" Type="http://schemas.openxmlformats.org/officeDocument/2006/relationships/image" Target="../media/image28.jpeg"/><Relationship Id="rId5" Type="http://schemas.openxmlformats.org/officeDocument/2006/relationships/image" Target="../media/image22.jpeg"/><Relationship Id="rId15" Type="http://schemas.openxmlformats.org/officeDocument/2006/relationships/image" Target="../media/image32.jpeg"/><Relationship Id="rId10" Type="http://schemas.openxmlformats.org/officeDocument/2006/relationships/image" Target="../media/image27.jpeg"/><Relationship Id="rId4" Type="http://schemas.openxmlformats.org/officeDocument/2006/relationships/image" Target="../media/image21.jpeg"/><Relationship Id="rId9" Type="http://schemas.openxmlformats.org/officeDocument/2006/relationships/image" Target="../media/image26.jpeg"/><Relationship Id="rId14" Type="http://schemas.openxmlformats.org/officeDocument/2006/relationships/image" Target="../media/image31.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2.xml"/><Relationship Id="rId1" Type="http://schemas.openxmlformats.org/officeDocument/2006/relationships/tags" Target="../tags/tag1.xml"/><Relationship Id="rId4" Type="http://schemas.openxmlformats.org/officeDocument/2006/relationships/image" Target="../media/image33.jpeg"/></Relationships>
</file>

<file path=ppt/slides/_rels/slide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png"/><Relationship Id="rId1" Type="http://schemas.openxmlformats.org/officeDocument/2006/relationships/slideLayout" Target="../slideLayouts/slideLayout18.xml"/><Relationship Id="rId6" Type="http://schemas.openxmlformats.org/officeDocument/2006/relationships/image" Target="../media/image39.gif"/><Relationship Id="rId5" Type="http://schemas.openxmlformats.org/officeDocument/2006/relationships/image" Target="../media/image5.png"/><Relationship Id="rId4" Type="http://schemas.openxmlformats.org/officeDocument/2006/relationships/image" Target="../media/image38.jp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1.jpg"/><Relationship Id="rId7" Type="http://schemas.openxmlformats.org/officeDocument/2006/relationships/diagramColors" Target="../diagrams/colors1.xml"/><Relationship Id="rId2" Type="http://schemas.openxmlformats.org/officeDocument/2006/relationships/image" Target="../media/image40.jpg"/><Relationship Id="rId1" Type="http://schemas.openxmlformats.org/officeDocument/2006/relationships/slideLayout" Target="../slideLayouts/slideLayout1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chart" Target="../charts/chart1.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3000" b="-13000"/>
          </a:stretch>
        </a:blipFill>
        <a:effectLst/>
      </p:bgPr>
    </p:bg>
    <p:spTree>
      <p:nvGrpSpPr>
        <p:cNvPr id="1" name=""/>
        <p:cNvGrpSpPr/>
        <p:nvPr/>
      </p:nvGrpSpPr>
      <p:grpSpPr>
        <a:xfrm>
          <a:off x="0" y="0"/>
          <a:ext cx="0" cy="0"/>
          <a:chOff x="0" y="0"/>
          <a:chExt cx="0" cy="0"/>
        </a:xfrm>
      </p:grpSpPr>
      <p:sp>
        <p:nvSpPr>
          <p:cNvPr id="2" name="標題 1"/>
          <p:cNvSpPr>
            <a:spLocks noGrp="1"/>
          </p:cNvSpPr>
          <p:nvPr>
            <p:ph type="ctrTitle"/>
          </p:nvPr>
        </p:nvSpPr>
        <p:spPr>
          <a:xfrm>
            <a:off x="546554" y="1277663"/>
            <a:ext cx="8202591" cy="1530192"/>
          </a:xfrm>
        </p:spPr>
        <p:txBody>
          <a:bodyPr>
            <a:noAutofit/>
          </a:bodyPr>
          <a:lstStyle/>
          <a:p>
            <a:r>
              <a:rPr lang="en-US" altLang="zh-TW" sz="5400" dirty="0">
                <a:effectLst>
                  <a:outerShdw blurRad="38100" dist="38100" dir="2700000" algn="tl">
                    <a:srgbClr val="000000">
                      <a:alpha val="43137"/>
                    </a:srgbClr>
                  </a:outerShdw>
                </a:effectLst>
              </a:rPr>
              <a:t>The Perspectives on NCYU</a:t>
            </a:r>
            <a:endParaRPr lang="zh-TW" altLang="en-US" sz="5400" dirty="0">
              <a:effectLst>
                <a:outerShdw blurRad="38100" dist="38100" dir="2700000" algn="tl">
                  <a:srgbClr val="000000">
                    <a:alpha val="43137"/>
                  </a:srgbClr>
                </a:outerShdw>
              </a:effectLst>
            </a:endParaRPr>
          </a:p>
        </p:txBody>
      </p:sp>
      <p:sp>
        <p:nvSpPr>
          <p:cNvPr id="3" name="副標題 2"/>
          <p:cNvSpPr>
            <a:spLocks noGrp="1"/>
          </p:cNvSpPr>
          <p:nvPr>
            <p:ph type="subTitle" idx="1"/>
          </p:nvPr>
        </p:nvSpPr>
        <p:spPr>
          <a:xfrm>
            <a:off x="795625" y="4128228"/>
            <a:ext cx="7461059" cy="2025076"/>
          </a:xfrm>
          <a:noFill/>
        </p:spPr>
        <p:txBody>
          <a:bodyPr>
            <a:normAutofit/>
          </a:bodyPr>
          <a:lstStyle/>
          <a:p>
            <a:r>
              <a:rPr lang="en-US" altLang="zh-TW" sz="3200" b="1" dirty="0">
                <a:solidFill>
                  <a:schemeClr val="tx1"/>
                </a:solidFill>
              </a:rPr>
              <a:t>Office of International Affairs</a:t>
            </a:r>
          </a:p>
          <a:p>
            <a:r>
              <a:rPr lang="en-US" altLang="zh-TW" sz="3200" b="1" dirty="0">
                <a:solidFill>
                  <a:schemeClr val="tx1"/>
                </a:solidFill>
              </a:rPr>
              <a:t>National Chiayi University, Taiwan</a:t>
            </a:r>
          </a:p>
          <a:p>
            <a:endParaRPr lang="zh-TW" altLang="en-US" sz="3200" b="1" u="sng" dirty="0">
              <a:solidFill>
                <a:schemeClr val="tx1"/>
              </a:solidFill>
            </a:endParaRPr>
          </a:p>
        </p:txBody>
      </p:sp>
      <p:pic>
        <p:nvPicPr>
          <p:cNvPr id="4" name="圖片 3"/>
          <p:cNvPicPr>
            <a:picLocks noChangeAspect="1"/>
          </p:cNvPicPr>
          <p:nvPr/>
        </p:nvPicPr>
        <p:blipFill>
          <a:blip r:embed="rId3" cstate="print"/>
          <a:stretch>
            <a:fillRect/>
          </a:stretch>
        </p:blipFill>
        <p:spPr>
          <a:xfrm>
            <a:off x="9700085" y="2626172"/>
            <a:ext cx="2231339" cy="1927540"/>
          </a:xfrm>
          <a:prstGeom prst="rect">
            <a:avLst/>
          </a:prstGeom>
        </p:spPr>
      </p:pic>
      <p:cxnSp>
        <p:nvCxnSpPr>
          <p:cNvPr id="7" name="直線接點 6"/>
          <p:cNvCxnSpPr/>
          <p:nvPr/>
        </p:nvCxnSpPr>
        <p:spPr>
          <a:xfrm flipV="1">
            <a:off x="0" y="4051763"/>
            <a:ext cx="7898296" cy="5300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675559"/>
      </p:ext>
    </p:extLst>
  </p:cSld>
  <p:clrMapOvr>
    <a:masterClrMapping/>
  </p:clrMapOvr>
  <mc:AlternateContent xmlns:mc="http://schemas.openxmlformats.org/markup-compatibility/2006" xmlns:p14="http://schemas.microsoft.com/office/powerpoint/2010/main">
    <mc:Choice Requires="p14">
      <p:transition p14:dur="10" advClick="0" advTm="5340"/>
    </mc:Choice>
    <mc:Fallback xmlns="">
      <p:transition advClick="0" advTm="534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3000" b="-13000"/>
          </a:stretch>
        </a:blipFill>
        <a:effectLst/>
      </p:bgPr>
    </p:bg>
    <p:spTree>
      <p:nvGrpSpPr>
        <p:cNvPr id="1" name=""/>
        <p:cNvGrpSpPr/>
        <p:nvPr/>
      </p:nvGrpSpPr>
      <p:grpSpPr>
        <a:xfrm>
          <a:off x="0" y="0"/>
          <a:ext cx="0" cy="0"/>
          <a:chOff x="0" y="0"/>
          <a:chExt cx="0" cy="0"/>
        </a:xfrm>
      </p:grpSpPr>
      <p:sp>
        <p:nvSpPr>
          <p:cNvPr id="3" name="矩形 2"/>
          <p:cNvSpPr/>
          <p:nvPr/>
        </p:nvSpPr>
        <p:spPr bwMode="auto">
          <a:xfrm>
            <a:off x="0" y="1"/>
            <a:ext cx="1014413" cy="6858000"/>
          </a:xfrm>
          <a:prstGeom prst="rect">
            <a:avLst/>
          </a:prstGeom>
          <a:solidFill>
            <a:schemeClr val="accent4">
              <a:lumMod val="50000"/>
              <a:lumOff val="50000"/>
              <a:alpha val="69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3085" name="矩形 16"/>
          <p:cNvSpPr>
            <a:spLocks noChangeArrowheads="1"/>
          </p:cNvSpPr>
          <p:nvPr/>
        </p:nvSpPr>
        <p:spPr bwMode="auto">
          <a:xfrm>
            <a:off x="1903419" y="1495378"/>
            <a:ext cx="10288581"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en-US" altLang="zh-TW" sz="2800" dirty="0">
                <a:solidFill>
                  <a:srgbClr val="333333">
                    <a:lumMod val="50000"/>
                  </a:srgbClr>
                </a:solidFill>
                <a:ea typeface="新細明體" panose="02020500000000000000" pitchFamily="18" charset="-120"/>
              </a:rPr>
              <a:t>The Teachers College seeks for academic excellence, diversity and innovation in the fields of teacher preparation and educational research.</a:t>
            </a:r>
          </a:p>
        </p:txBody>
      </p:sp>
      <p:sp>
        <p:nvSpPr>
          <p:cNvPr id="18" name="矩形 17"/>
          <p:cNvSpPr/>
          <p:nvPr/>
        </p:nvSpPr>
        <p:spPr>
          <a:xfrm>
            <a:off x="1903419" y="545304"/>
            <a:ext cx="6079136" cy="646112"/>
          </a:xfrm>
          <a:prstGeom prst="rect">
            <a:avLst/>
          </a:prstGeom>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en-US" altLang="zh-TW" sz="3600" b="1" dirty="0">
                <a:solidFill>
                  <a:srgbClr val="333333"/>
                </a:solidFill>
                <a:latin typeface="Verdana" panose="020B0604030504040204" pitchFamily="34" charset="0"/>
                <a:ea typeface="新細明體" panose="02020500000000000000" pitchFamily="18" charset="-120"/>
              </a:rPr>
              <a:t>Teachers College</a:t>
            </a:r>
            <a:endParaRPr lang="zh-TW" altLang="en-US" sz="3600" dirty="0">
              <a:solidFill>
                <a:srgbClr val="333333"/>
              </a:solidFill>
              <a:ea typeface="新細明體" panose="02020500000000000000" pitchFamily="18" charset="-120"/>
            </a:endParaRPr>
          </a:p>
        </p:txBody>
      </p:sp>
      <p:pic>
        <p:nvPicPr>
          <p:cNvPr id="3087" name="Picture 4" descr="C:\Users\Administrator\Desktop\嘉大-師院(PPT)-1030530\圖\照片編排-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74275" y="3408465"/>
            <a:ext cx="10022986" cy="3260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8" name="Picture 2" descr="C:\Users\Administrator\Desktop\嘉大-師院(PPT)-1030530\圖\多元創新-1.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769386" y="3408465"/>
            <a:ext cx="6032763" cy="1049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橢圓 1"/>
          <p:cNvSpPr/>
          <p:nvPr/>
        </p:nvSpPr>
        <p:spPr bwMode="auto">
          <a:xfrm>
            <a:off x="230606" y="132308"/>
            <a:ext cx="1483862" cy="1367531"/>
          </a:xfrm>
          <a:prstGeom prst="ellipse">
            <a:avLst/>
          </a:prstGeom>
          <a:solidFill>
            <a:schemeClr val="tx2">
              <a:lumMod val="75000"/>
              <a:alpha val="99000"/>
            </a:schemeClr>
          </a:solidFill>
          <a:ln w="34925" cap="flat" cmpd="sng" algn="ctr">
            <a:noFill/>
            <a:prstDash val="solid"/>
            <a:round/>
            <a:headEnd type="none" w="med" len="med"/>
            <a:tailEnd type="none" w="med" len="med"/>
          </a:ln>
          <a:effectLst>
            <a:outerShdw blurRad="76200" dir="13500000" sy="23000" kx="1200000" algn="br" rotWithShape="0">
              <a:prstClr val="black">
                <a:alpha val="20000"/>
              </a:prstClr>
            </a:outerShdw>
          </a:effectLst>
          <a:scene3d>
            <a:camera prst="orthographicFront">
              <a:rot lat="0" lon="0" rev="0"/>
            </a:camera>
            <a:lightRig rig="balanced" dir="t">
              <a:rot lat="0" lon="0" rev="8700000"/>
            </a:lightRig>
          </a:scene3d>
          <a:sp3d>
            <a:bevelT w="190500" h="38100" prst="relaxedInse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2" name="橢圓 11"/>
          <p:cNvSpPr/>
          <p:nvPr/>
        </p:nvSpPr>
        <p:spPr bwMode="auto">
          <a:xfrm>
            <a:off x="536031" y="5509478"/>
            <a:ext cx="827812" cy="738012"/>
          </a:xfrm>
          <a:prstGeom prst="ellipse">
            <a:avLst/>
          </a:prstGeom>
          <a:solidFill>
            <a:schemeClr val="accent2">
              <a:lumMod val="75000"/>
              <a:alpha val="99000"/>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coolSlan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3" name="橢圓 12"/>
          <p:cNvSpPr/>
          <p:nvPr/>
        </p:nvSpPr>
        <p:spPr bwMode="auto">
          <a:xfrm>
            <a:off x="536031" y="4579079"/>
            <a:ext cx="827812" cy="738012"/>
          </a:xfrm>
          <a:prstGeom prst="ellipse">
            <a:avLst/>
          </a:prstGeom>
          <a:solidFill>
            <a:schemeClr val="accent2">
              <a:lumMod val="75000"/>
              <a:alpha val="99000"/>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coolSlan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4" name="橢圓 13"/>
          <p:cNvSpPr/>
          <p:nvPr/>
        </p:nvSpPr>
        <p:spPr bwMode="auto">
          <a:xfrm>
            <a:off x="536031" y="3600852"/>
            <a:ext cx="827812" cy="738012"/>
          </a:xfrm>
          <a:prstGeom prst="ellipse">
            <a:avLst/>
          </a:prstGeom>
          <a:solidFill>
            <a:schemeClr val="accent2">
              <a:lumMod val="75000"/>
              <a:alpha val="99000"/>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coolSlan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5" name="橢圓 14"/>
          <p:cNvSpPr/>
          <p:nvPr/>
        </p:nvSpPr>
        <p:spPr bwMode="auto">
          <a:xfrm>
            <a:off x="539957" y="2670453"/>
            <a:ext cx="827812" cy="738012"/>
          </a:xfrm>
          <a:prstGeom prst="ellipse">
            <a:avLst/>
          </a:prstGeom>
          <a:solidFill>
            <a:schemeClr val="accent2">
              <a:lumMod val="75000"/>
              <a:alpha val="99000"/>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coolSlan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6" name="橢圓 15"/>
          <p:cNvSpPr/>
          <p:nvPr/>
        </p:nvSpPr>
        <p:spPr bwMode="auto">
          <a:xfrm>
            <a:off x="558631" y="1740054"/>
            <a:ext cx="827812" cy="738012"/>
          </a:xfrm>
          <a:prstGeom prst="ellipse">
            <a:avLst/>
          </a:prstGeom>
          <a:solidFill>
            <a:schemeClr val="accent2">
              <a:lumMod val="75000"/>
              <a:alpha val="99000"/>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coolSlan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Tree>
    <p:extLst>
      <p:ext uri="{BB962C8B-B14F-4D97-AF65-F5344CB8AC3E}">
        <p14:creationId xmlns:p14="http://schemas.microsoft.com/office/powerpoint/2010/main" val="3378880514"/>
      </p:ext>
    </p:extLst>
  </p:cSld>
  <p:clrMapOvr>
    <a:masterClrMapping/>
  </p:clrMapOvr>
  <mc:AlternateContent xmlns:mc="http://schemas.openxmlformats.org/markup-compatibility/2006" xmlns:p14="http://schemas.microsoft.com/office/powerpoint/2010/main">
    <mc:Choice Requires="p14">
      <p:transition spd="med" advClick="0" advTm="10000">
        <p14:prism/>
      </p:transition>
    </mc:Choice>
    <mc:Fallback xmlns="">
      <p:transition spd="med" advClick="0" advTm="10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750"/>
                                        <p:tgtEl>
                                          <p:spTgt spid="12"/>
                                        </p:tgtEl>
                                      </p:cBhvr>
                                    </p:animEffect>
                                    <p:anim calcmode="lin" valueType="num">
                                      <p:cBhvr>
                                        <p:cTn id="8" dur="750" fill="hold"/>
                                        <p:tgtEl>
                                          <p:spTgt spid="12"/>
                                        </p:tgtEl>
                                        <p:attrNameLst>
                                          <p:attrName>ppt_x</p:attrName>
                                        </p:attrNameLst>
                                      </p:cBhvr>
                                      <p:tavLst>
                                        <p:tav tm="0">
                                          <p:val>
                                            <p:strVal val="#ppt_x"/>
                                          </p:val>
                                        </p:tav>
                                        <p:tav tm="100000">
                                          <p:val>
                                            <p:strVal val="#ppt_x"/>
                                          </p:val>
                                        </p:tav>
                                      </p:tavLst>
                                    </p:anim>
                                    <p:anim calcmode="lin" valueType="num">
                                      <p:cBhvr>
                                        <p:cTn id="9" dur="750" fill="hold"/>
                                        <p:tgtEl>
                                          <p:spTgt spid="1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anim calcmode="lin" valueType="num">
                                      <p:cBhvr>
                                        <p:cTn id="13" dur="750" fill="hold"/>
                                        <p:tgtEl>
                                          <p:spTgt spid="13"/>
                                        </p:tgtEl>
                                        <p:attrNameLst>
                                          <p:attrName>ppt_x</p:attrName>
                                        </p:attrNameLst>
                                      </p:cBhvr>
                                      <p:tavLst>
                                        <p:tav tm="0">
                                          <p:val>
                                            <p:strVal val="#ppt_x"/>
                                          </p:val>
                                        </p:tav>
                                        <p:tav tm="100000">
                                          <p:val>
                                            <p:strVal val="#ppt_x"/>
                                          </p:val>
                                        </p:tav>
                                      </p:tavLst>
                                    </p:anim>
                                    <p:anim calcmode="lin" valueType="num">
                                      <p:cBhvr>
                                        <p:cTn id="14" dur="750" fill="hold"/>
                                        <p:tgtEl>
                                          <p:spTgt spid="1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750"/>
                                        <p:tgtEl>
                                          <p:spTgt spid="15"/>
                                        </p:tgtEl>
                                      </p:cBhvr>
                                    </p:animEffect>
                                    <p:anim calcmode="lin" valueType="num">
                                      <p:cBhvr>
                                        <p:cTn id="18" dur="750" fill="hold"/>
                                        <p:tgtEl>
                                          <p:spTgt spid="15"/>
                                        </p:tgtEl>
                                        <p:attrNameLst>
                                          <p:attrName>ppt_x</p:attrName>
                                        </p:attrNameLst>
                                      </p:cBhvr>
                                      <p:tavLst>
                                        <p:tav tm="0">
                                          <p:val>
                                            <p:strVal val="#ppt_x"/>
                                          </p:val>
                                        </p:tav>
                                        <p:tav tm="100000">
                                          <p:val>
                                            <p:strVal val="#ppt_x"/>
                                          </p:val>
                                        </p:tav>
                                      </p:tavLst>
                                    </p:anim>
                                    <p:anim calcmode="lin" valueType="num">
                                      <p:cBhvr>
                                        <p:cTn id="19" dur="750" fill="hold"/>
                                        <p:tgtEl>
                                          <p:spTgt spid="1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750"/>
                                        <p:tgtEl>
                                          <p:spTgt spid="14"/>
                                        </p:tgtEl>
                                      </p:cBhvr>
                                    </p:animEffect>
                                    <p:anim calcmode="lin" valueType="num">
                                      <p:cBhvr>
                                        <p:cTn id="23" dur="750" fill="hold"/>
                                        <p:tgtEl>
                                          <p:spTgt spid="14"/>
                                        </p:tgtEl>
                                        <p:attrNameLst>
                                          <p:attrName>ppt_x</p:attrName>
                                        </p:attrNameLst>
                                      </p:cBhvr>
                                      <p:tavLst>
                                        <p:tav tm="0">
                                          <p:val>
                                            <p:strVal val="#ppt_x"/>
                                          </p:val>
                                        </p:tav>
                                        <p:tav tm="100000">
                                          <p:val>
                                            <p:strVal val="#ppt_x"/>
                                          </p:val>
                                        </p:tav>
                                      </p:tavLst>
                                    </p:anim>
                                    <p:anim calcmode="lin" valueType="num">
                                      <p:cBhvr>
                                        <p:cTn id="24" dur="750" fill="hold"/>
                                        <p:tgtEl>
                                          <p:spTgt spid="14"/>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750"/>
                                        <p:tgtEl>
                                          <p:spTgt spid="16"/>
                                        </p:tgtEl>
                                      </p:cBhvr>
                                    </p:animEffect>
                                    <p:anim calcmode="lin" valueType="num">
                                      <p:cBhvr>
                                        <p:cTn id="28" dur="750" fill="hold"/>
                                        <p:tgtEl>
                                          <p:spTgt spid="16"/>
                                        </p:tgtEl>
                                        <p:attrNameLst>
                                          <p:attrName>ppt_x</p:attrName>
                                        </p:attrNameLst>
                                      </p:cBhvr>
                                      <p:tavLst>
                                        <p:tav tm="0">
                                          <p:val>
                                            <p:strVal val="#ppt_x"/>
                                          </p:val>
                                        </p:tav>
                                        <p:tav tm="100000">
                                          <p:val>
                                            <p:strVal val="#ppt_x"/>
                                          </p:val>
                                        </p:tav>
                                      </p:tavLst>
                                    </p:anim>
                                    <p:anim calcmode="lin" valueType="num">
                                      <p:cBhvr>
                                        <p:cTn id="29" dur="750" fill="hold"/>
                                        <p:tgtEl>
                                          <p:spTgt spid="16"/>
                                        </p:tgtEl>
                                        <p:attrNameLst>
                                          <p:attrName>ppt_y</p:attrName>
                                        </p:attrNameLst>
                                      </p:cBhvr>
                                      <p:tavLst>
                                        <p:tav tm="0">
                                          <p:val>
                                            <p:strVal val="#ppt_y+.1"/>
                                          </p:val>
                                        </p:tav>
                                        <p:tav tm="100000">
                                          <p:val>
                                            <p:strVal val="#ppt_y"/>
                                          </p:val>
                                        </p:tav>
                                      </p:tavLst>
                                    </p:anim>
                                  </p:childTnLst>
                                </p:cTn>
                              </p:par>
                            </p:childTnLst>
                          </p:cTn>
                        </p:par>
                        <p:par>
                          <p:cTn id="30" fill="hold">
                            <p:stCondLst>
                              <p:cond delay="750"/>
                            </p:stCondLst>
                            <p:childTnLst>
                              <p:par>
                                <p:cTn id="31" presetID="27" presetClass="emph" presetSubtype="0" fill="remove" grpId="0" nodeType="afterEffect">
                                  <p:stCondLst>
                                    <p:cond delay="0"/>
                                  </p:stCondLst>
                                  <p:childTnLst>
                                    <p:animClr clrSpc="rgb" dir="cw">
                                      <p:cBhvr override="childStyle">
                                        <p:cTn id="32" dur="250" autoRev="1" fill="remove"/>
                                        <p:tgtEl>
                                          <p:spTgt spid="2"/>
                                        </p:tgtEl>
                                        <p:attrNameLst>
                                          <p:attrName>style.color</p:attrName>
                                        </p:attrNameLst>
                                      </p:cBhvr>
                                      <p:to>
                                        <a:schemeClr val="bg1"/>
                                      </p:to>
                                    </p:animClr>
                                    <p:animClr clrSpc="rgb" dir="cw">
                                      <p:cBhvr>
                                        <p:cTn id="33" dur="250" autoRev="1" fill="remove"/>
                                        <p:tgtEl>
                                          <p:spTgt spid="2"/>
                                        </p:tgtEl>
                                        <p:attrNameLst>
                                          <p:attrName>fillcolor</p:attrName>
                                        </p:attrNameLst>
                                      </p:cBhvr>
                                      <p:to>
                                        <a:schemeClr val="bg1"/>
                                      </p:to>
                                    </p:animClr>
                                    <p:set>
                                      <p:cBhvr>
                                        <p:cTn id="34" dur="250" autoRev="1" fill="remove"/>
                                        <p:tgtEl>
                                          <p:spTgt spid="2"/>
                                        </p:tgtEl>
                                        <p:attrNameLst>
                                          <p:attrName>fill.type</p:attrName>
                                        </p:attrNameLst>
                                      </p:cBhvr>
                                      <p:to>
                                        <p:strVal val="solid"/>
                                      </p:to>
                                    </p:set>
                                    <p:set>
                                      <p:cBhvr>
                                        <p:cTn id="35" dur="250" autoRev="1" fill="remove"/>
                                        <p:tgtEl>
                                          <p:spTgt spid="2"/>
                                        </p:tgtEl>
                                        <p:attrNameLst>
                                          <p:attrName>fill.on</p:attrName>
                                        </p:attrNameLst>
                                      </p:cBhvr>
                                      <p:to>
                                        <p:strVal val="true"/>
                                      </p:to>
                                    </p:set>
                                  </p:childTnLst>
                                </p:cTn>
                              </p:par>
                              <p:par>
                                <p:cTn id="36" presetID="22" presetClass="entr" presetSubtype="1" fill="hold" grpId="0" nodeType="withEffect">
                                  <p:stCondLst>
                                    <p:cond delay="0"/>
                                  </p:stCondLst>
                                  <p:childTnLst>
                                    <p:set>
                                      <p:cBhvr>
                                        <p:cTn id="37" dur="1" fill="hold">
                                          <p:stCondLst>
                                            <p:cond delay="0"/>
                                          </p:stCondLst>
                                        </p:cTn>
                                        <p:tgtEl>
                                          <p:spTgt spid="3085"/>
                                        </p:tgtEl>
                                        <p:attrNameLst>
                                          <p:attrName>style.visibility</p:attrName>
                                        </p:attrNameLst>
                                      </p:cBhvr>
                                      <p:to>
                                        <p:strVal val="visible"/>
                                      </p:to>
                                    </p:set>
                                    <p:animEffect transition="in" filter="wipe(up)">
                                      <p:cBhvr>
                                        <p:cTn id="38" dur="500"/>
                                        <p:tgtEl>
                                          <p:spTgt spid="3085"/>
                                        </p:tgtEl>
                                      </p:cBhvr>
                                    </p:animEffect>
                                  </p:childTnLst>
                                </p:cTn>
                              </p:par>
                              <p:par>
                                <p:cTn id="39" presetID="22" presetClass="entr" presetSubtype="1" fill="hold" nodeType="withEffect">
                                  <p:stCondLst>
                                    <p:cond delay="0"/>
                                  </p:stCondLst>
                                  <p:childTnLst>
                                    <p:set>
                                      <p:cBhvr>
                                        <p:cTn id="40" dur="1" fill="hold">
                                          <p:stCondLst>
                                            <p:cond delay="0"/>
                                          </p:stCondLst>
                                        </p:cTn>
                                        <p:tgtEl>
                                          <p:spTgt spid="3088"/>
                                        </p:tgtEl>
                                        <p:attrNameLst>
                                          <p:attrName>style.visibility</p:attrName>
                                        </p:attrNameLst>
                                      </p:cBhvr>
                                      <p:to>
                                        <p:strVal val="visible"/>
                                      </p:to>
                                    </p:set>
                                    <p:animEffect transition="in" filter="wipe(up)">
                                      <p:cBhvr>
                                        <p:cTn id="41" dur="500"/>
                                        <p:tgtEl>
                                          <p:spTgt spid="3088"/>
                                        </p:tgtEl>
                                      </p:cBhvr>
                                    </p:animEffect>
                                  </p:childTnLst>
                                </p:cTn>
                              </p:par>
                              <p:par>
                                <p:cTn id="42" presetID="22" presetClass="entr" presetSubtype="1" fill="hold" nodeType="withEffect">
                                  <p:stCondLst>
                                    <p:cond delay="0"/>
                                  </p:stCondLst>
                                  <p:childTnLst>
                                    <p:set>
                                      <p:cBhvr>
                                        <p:cTn id="43" dur="1" fill="hold">
                                          <p:stCondLst>
                                            <p:cond delay="0"/>
                                          </p:stCondLst>
                                        </p:cTn>
                                        <p:tgtEl>
                                          <p:spTgt spid="3087"/>
                                        </p:tgtEl>
                                        <p:attrNameLst>
                                          <p:attrName>style.visibility</p:attrName>
                                        </p:attrNameLst>
                                      </p:cBhvr>
                                      <p:to>
                                        <p:strVal val="visible"/>
                                      </p:to>
                                    </p:set>
                                    <p:animEffect transition="in" filter="wipe(up)">
                                      <p:cBhvr>
                                        <p:cTn id="44" dur="500"/>
                                        <p:tgtEl>
                                          <p:spTgt spid="30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85" grpId="0"/>
      <p:bldP spid="2" grpId="0" animBg="1"/>
      <p:bldP spid="12" grpId="0" animBg="1"/>
      <p:bldP spid="13" grpId="0" animBg="1"/>
      <p:bldP spid="14" grpId="0" animBg="1"/>
      <p:bldP spid="15" grpId="0" animBg="1"/>
      <p:bldP spid="1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3000" b="-13000"/>
          </a:stretch>
        </a:blipFill>
        <a:effectLst/>
      </p:bgPr>
    </p:bg>
    <p:spTree>
      <p:nvGrpSpPr>
        <p:cNvPr id="1" name=""/>
        <p:cNvGrpSpPr/>
        <p:nvPr/>
      </p:nvGrpSpPr>
      <p:grpSpPr>
        <a:xfrm>
          <a:off x="0" y="0"/>
          <a:ext cx="0" cy="0"/>
          <a:chOff x="0" y="0"/>
          <a:chExt cx="0" cy="0"/>
        </a:xfrm>
      </p:grpSpPr>
      <p:sp>
        <p:nvSpPr>
          <p:cNvPr id="2" name="向下箭號 1"/>
          <p:cNvSpPr/>
          <p:nvPr/>
        </p:nvSpPr>
        <p:spPr bwMode="auto">
          <a:xfrm flipV="1">
            <a:off x="388014" y="583130"/>
            <a:ext cx="943803" cy="5250957"/>
          </a:xfrm>
          <a:prstGeom prst="downArrow">
            <a:avLst/>
          </a:prstGeom>
          <a:solidFill>
            <a:schemeClr val="lt1">
              <a:alpha val="59000"/>
            </a:schemeClr>
          </a:solidFill>
          <a:ln>
            <a:noFill/>
            <a:headEnd type="none" w="med" len="med"/>
            <a:tailEnd type="none" w="med" len="med"/>
          </a:ln>
          <a:scene3d>
            <a:camera prst="orthographicFront"/>
            <a:lightRig rig="threePt" dir="t"/>
          </a:scene3d>
          <a:sp3d extrusionH="76200" contourW="12700">
            <a:extrusionClr>
              <a:schemeClr val="bg1"/>
            </a:extrusionClr>
            <a:contourClr>
              <a:schemeClr val="bg1"/>
            </a:contourClr>
          </a:sp3d>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7" name="矩形 16"/>
          <p:cNvSpPr/>
          <p:nvPr/>
        </p:nvSpPr>
        <p:spPr>
          <a:xfrm rot="16200000">
            <a:off x="-2179652" y="2258295"/>
            <a:ext cx="6079137" cy="646112"/>
          </a:xfrm>
          <a:prstGeom prst="rect">
            <a:avLst/>
          </a:prstGeom>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en-US" altLang="zh-TW" sz="3600" b="1" dirty="0">
                <a:solidFill>
                  <a:srgbClr val="FF0000"/>
                </a:solidFill>
                <a:latin typeface="Verdana" panose="020B0604030504040204" pitchFamily="34" charset="0"/>
                <a:ea typeface="新細明體" panose="02020500000000000000" pitchFamily="18" charset="-120"/>
              </a:rPr>
              <a:t>Teachers College</a:t>
            </a:r>
            <a:endParaRPr lang="zh-TW" altLang="en-US" sz="3600" dirty="0">
              <a:solidFill>
                <a:srgbClr val="FF0000"/>
              </a:solidFill>
              <a:ea typeface="新細明體" panose="02020500000000000000" pitchFamily="18" charset="-120"/>
            </a:endParaRPr>
          </a:p>
        </p:txBody>
      </p:sp>
      <p:sp>
        <p:nvSpPr>
          <p:cNvPr id="4110" name="矩形 17"/>
          <p:cNvSpPr>
            <a:spLocks noChangeArrowheads="1"/>
          </p:cNvSpPr>
          <p:nvPr/>
        </p:nvSpPr>
        <p:spPr bwMode="auto">
          <a:xfrm>
            <a:off x="1480663" y="395513"/>
            <a:ext cx="10480279"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en-US" altLang="zh-TW" sz="3200" b="1" dirty="0">
                <a:solidFill>
                  <a:srgbClr val="FF0000">
                    <a:lumMod val="60000"/>
                    <a:lumOff val="40000"/>
                  </a:srgbClr>
                </a:solidFill>
                <a:ea typeface="新細明體" panose="02020500000000000000" pitchFamily="18" charset="-120"/>
              </a:rPr>
              <a:t>Department</a:t>
            </a:r>
            <a:r>
              <a:rPr lang="zh-TW" altLang="en-US" sz="3200" b="1" dirty="0">
                <a:solidFill>
                  <a:srgbClr val="FF0000">
                    <a:lumMod val="60000"/>
                    <a:lumOff val="40000"/>
                  </a:srgbClr>
                </a:solidFill>
                <a:ea typeface="新細明體" panose="02020500000000000000" pitchFamily="18" charset="-120"/>
              </a:rPr>
              <a:t> </a:t>
            </a:r>
            <a:r>
              <a:rPr lang="en-US" altLang="zh-TW" sz="3200" b="1" dirty="0">
                <a:solidFill>
                  <a:srgbClr val="FF0000">
                    <a:lumMod val="60000"/>
                    <a:lumOff val="40000"/>
                  </a:srgbClr>
                </a:solidFill>
                <a:ea typeface="新細明體" panose="02020500000000000000" pitchFamily="18" charset="-120"/>
              </a:rPr>
              <a:t>of …</a:t>
            </a:r>
          </a:p>
        </p:txBody>
      </p:sp>
      <p:pic>
        <p:nvPicPr>
          <p:cNvPr id="4112" name="Picture 8" descr="307動作教學實驗室"/>
          <p:cNvPicPr>
            <a:picLocks noChangeAspect="1" noChangeArrowheads="1"/>
          </p:cNvPicPr>
          <p:nvPr/>
        </p:nvPicPr>
        <p:blipFill>
          <a:blip r:embed="rId4">
            <a:extLst>
              <a:ext uri="{28A0092B-C50C-407E-A947-70E740481C1C}">
                <a14:useLocalDpi xmlns:a14="http://schemas.microsoft.com/office/drawing/2010/main" val="0"/>
              </a:ext>
            </a:extLst>
          </a:blip>
          <a:srcRect b="12634"/>
          <a:stretch>
            <a:fillRect/>
          </a:stretch>
        </p:blipFill>
        <p:spPr bwMode="auto">
          <a:xfrm>
            <a:off x="8929688" y="1171036"/>
            <a:ext cx="2805112" cy="1825307"/>
          </a:xfrm>
          <a:prstGeom prst="rect">
            <a:avLst/>
          </a:prstGeom>
          <a:noFill/>
          <a:ln w="38100">
            <a:solidFill>
              <a:schemeClr val="bg1"/>
            </a:solidFill>
            <a:miter lim="800000"/>
            <a:headEnd/>
            <a:tailEnd/>
          </a:ln>
          <a:extLst>
            <a:ext uri="{909E8E84-426E-40DD-AFC4-6F175D3DCCD1}">
              <a14:hiddenFill xmlns:a14="http://schemas.microsoft.com/office/drawing/2010/main">
                <a:solidFill>
                  <a:srgbClr val="FFFFFF"/>
                </a:solidFill>
              </a14:hiddenFill>
            </a:ext>
          </a:extLst>
        </p:spPr>
      </p:pic>
      <p:pic>
        <p:nvPicPr>
          <p:cNvPr id="4113" name="Picture 13" descr="309媒體製作室"/>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29688" y="3187343"/>
            <a:ext cx="2870399" cy="1822808"/>
          </a:xfrm>
          <a:prstGeom prst="rect">
            <a:avLst/>
          </a:prstGeom>
          <a:noFill/>
          <a:ln w="38100">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6" name="橢圓 5"/>
          <p:cNvSpPr/>
          <p:nvPr/>
        </p:nvSpPr>
        <p:spPr bwMode="auto">
          <a:xfrm>
            <a:off x="117986" y="5490469"/>
            <a:ext cx="1483862" cy="1367531"/>
          </a:xfrm>
          <a:prstGeom prst="ellipse">
            <a:avLst/>
          </a:prstGeom>
          <a:solidFill>
            <a:schemeClr val="tx2">
              <a:lumMod val="75000"/>
            </a:scheme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graphicFrame>
        <p:nvGraphicFramePr>
          <p:cNvPr id="3" name="資料庫圖表 2"/>
          <p:cNvGraphicFramePr/>
          <p:nvPr>
            <p:extLst>
              <p:ext uri="{D42A27DB-BD31-4B8C-83A1-F6EECF244321}">
                <p14:modId xmlns:p14="http://schemas.microsoft.com/office/powerpoint/2010/main" val="2386886693"/>
              </p:ext>
            </p:extLst>
          </p:nvPr>
        </p:nvGraphicFramePr>
        <p:xfrm>
          <a:off x="1682543" y="1075538"/>
          <a:ext cx="6699457" cy="4000499"/>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7" name="矩形 6"/>
          <p:cNvSpPr/>
          <p:nvPr/>
        </p:nvSpPr>
        <p:spPr>
          <a:xfrm>
            <a:off x="1750694" y="5222449"/>
            <a:ext cx="10274442" cy="1288572"/>
          </a:xfrm>
          <a:prstGeom prst="rect">
            <a:avLst/>
          </a:prstGeom>
        </p:spPr>
        <p:txBody>
          <a:bodyPr/>
          <a:lstStyle/>
          <a:p>
            <a:pPr marL="342900" indent="-342900">
              <a:buFont typeface="Wingdings" panose="05000000000000000000" pitchFamily="2" charset="2"/>
              <a:buChar char="ü"/>
            </a:pPr>
            <a:r>
              <a:rPr lang="en-US" altLang="zh-TW" sz="2400" i="1" dirty="0">
                <a:solidFill>
                  <a:srgbClr val="333333"/>
                </a:solidFill>
                <a:ea typeface="新細明體" panose="02020500000000000000" pitchFamily="18" charset="-120"/>
              </a:rPr>
              <a:t>Graduate Institute of Mathematics and Science Education</a:t>
            </a:r>
            <a:endParaRPr lang="zh-TW" altLang="en-US" sz="2400" i="1" dirty="0">
              <a:solidFill>
                <a:srgbClr val="333333"/>
              </a:solidFill>
            </a:endParaRPr>
          </a:p>
          <a:p>
            <a:pPr marL="342900" indent="-342900">
              <a:buFont typeface="Wingdings" panose="05000000000000000000" pitchFamily="2" charset="2"/>
              <a:buChar char="ü"/>
            </a:pPr>
            <a:r>
              <a:rPr lang="en-US" altLang="zh-TW" sz="2400" i="1" dirty="0">
                <a:solidFill>
                  <a:srgbClr val="333333"/>
                </a:solidFill>
                <a:ea typeface="新細明體" panose="02020500000000000000" pitchFamily="18" charset="-120"/>
              </a:rPr>
              <a:t>Graduate School of Educational Administration and Policy Development</a:t>
            </a:r>
            <a:endParaRPr lang="zh-TW" altLang="en-US" sz="2400" i="1" dirty="0">
              <a:solidFill>
                <a:srgbClr val="333333"/>
              </a:solidFill>
            </a:endParaRPr>
          </a:p>
          <a:p>
            <a:pPr marL="342900" indent="-342900">
              <a:buFont typeface="Wingdings" panose="05000000000000000000" pitchFamily="2" charset="2"/>
              <a:buChar char="u"/>
            </a:pPr>
            <a:r>
              <a:rPr lang="en-US" altLang="zh-TW" sz="2400" b="1" i="1" dirty="0">
                <a:solidFill>
                  <a:srgbClr val="5CB9E7">
                    <a:lumMod val="50000"/>
                  </a:srgbClr>
                </a:solidFill>
                <a:effectLst>
                  <a:outerShdw blurRad="38100" dist="38100" dir="2700000" algn="tl">
                    <a:srgbClr val="000000">
                      <a:alpha val="43137"/>
                    </a:srgbClr>
                  </a:outerShdw>
                </a:effectLst>
                <a:ea typeface="新細明體" panose="02020500000000000000" pitchFamily="18" charset="-120"/>
              </a:rPr>
              <a:t>Global Master Program of Teaching Profession</a:t>
            </a:r>
            <a:endParaRPr lang="zh-TW" altLang="en-US" sz="2400" b="1" i="1" dirty="0">
              <a:solidFill>
                <a:srgbClr val="5CB9E7">
                  <a:lumMod val="50000"/>
                </a:srgb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54362784"/>
      </p:ext>
    </p:extLst>
  </p:cSld>
  <p:clrMapOvr>
    <a:masterClrMapping/>
  </p:clrMapOvr>
  <mc:AlternateContent xmlns:mc="http://schemas.openxmlformats.org/markup-compatibility/2006" xmlns:p14="http://schemas.microsoft.com/office/powerpoint/2010/main">
    <mc:Choice Requires="p14">
      <p:transition spd="slow" p14:dur="1600" advClick="0" advTm="16000">
        <p14:prism isInverted="1"/>
      </p:transition>
    </mc:Choice>
    <mc:Fallback xmlns="">
      <p:transition spd="slow" advClick="0" advTm="1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anim calcmode="lin" valueType="num">
                                      <p:cBhvr>
                                        <p:cTn id="8" dur="500" fill="hold"/>
                                        <p:tgtEl>
                                          <p:spTgt spid="2"/>
                                        </p:tgtEl>
                                        <p:attrNameLst>
                                          <p:attrName>ppt_x</p:attrName>
                                        </p:attrNameLst>
                                      </p:cBhvr>
                                      <p:tavLst>
                                        <p:tav tm="0">
                                          <p:val>
                                            <p:strVal val="#ppt_x"/>
                                          </p:val>
                                        </p:tav>
                                        <p:tav tm="100000">
                                          <p:val>
                                            <p:strVal val="#ppt_x"/>
                                          </p:val>
                                        </p:tav>
                                      </p:tavLst>
                                    </p:anim>
                                    <p:anim calcmode="lin" valueType="num">
                                      <p:cBhvr>
                                        <p:cTn id="9" dur="500" fill="hold"/>
                                        <p:tgtEl>
                                          <p:spTgt spid="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500"/>
                                        <p:tgtEl>
                                          <p:spTgt spid="17"/>
                                        </p:tgtEl>
                                      </p:cBhvr>
                                    </p:animEffect>
                                    <p:anim calcmode="lin" valueType="num">
                                      <p:cBhvr>
                                        <p:cTn id="13" dur="500" fill="hold"/>
                                        <p:tgtEl>
                                          <p:spTgt spid="17"/>
                                        </p:tgtEl>
                                        <p:attrNameLst>
                                          <p:attrName>ppt_x</p:attrName>
                                        </p:attrNameLst>
                                      </p:cBhvr>
                                      <p:tavLst>
                                        <p:tav tm="0">
                                          <p:val>
                                            <p:strVal val="#ppt_x"/>
                                          </p:val>
                                        </p:tav>
                                        <p:tav tm="100000">
                                          <p:val>
                                            <p:strVal val="#ppt_x"/>
                                          </p:val>
                                        </p:tav>
                                      </p:tavLst>
                                    </p:anim>
                                    <p:anim calcmode="lin" valueType="num">
                                      <p:cBhvr>
                                        <p:cTn id="14" dur="500" fill="hold"/>
                                        <p:tgtEl>
                                          <p:spTgt spid="17"/>
                                        </p:tgtEl>
                                        <p:attrNameLst>
                                          <p:attrName>ppt_y</p:attrName>
                                        </p:attrNameLst>
                                      </p:cBhvr>
                                      <p:tavLst>
                                        <p:tav tm="0">
                                          <p:val>
                                            <p:strVal val="#ppt_y+.1"/>
                                          </p:val>
                                        </p:tav>
                                        <p:tav tm="100000">
                                          <p:val>
                                            <p:strVal val="#ppt_y"/>
                                          </p:val>
                                        </p:tav>
                                      </p:tavLst>
                                    </p:anim>
                                  </p:childTnLst>
                                </p:cTn>
                              </p:par>
                            </p:childTnLst>
                          </p:cTn>
                        </p:par>
                        <p:par>
                          <p:cTn id="15" fill="hold">
                            <p:stCondLst>
                              <p:cond delay="500"/>
                            </p:stCondLst>
                            <p:childTnLst>
                              <p:par>
                                <p:cTn id="16" presetID="22" presetClass="entr" presetSubtype="8" fill="hold" grpId="0" nodeType="afterEffect">
                                  <p:stCondLst>
                                    <p:cond delay="0"/>
                                  </p:stCondLst>
                                  <p:childTnLst>
                                    <p:set>
                                      <p:cBhvr>
                                        <p:cTn id="17" dur="1" fill="hold">
                                          <p:stCondLst>
                                            <p:cond delay="0"/>
                                          </p:stCondLst>
                                        </p:cTn>
                                        <p:tgtEl>
                                          <p:spTgt spid="4110"/>
                                        </p:tgtEl>
                                        <p:attrNameLst>
                                          <p:attrName>style.visibility</p:attrName>
                                        </p:attrNameLst>
                                      </p:cBhvr>
                                      <p:to>
                                        <p:strVal val="visible"/>
                                      </p:to>
                                    </p:set>
                                    <p:animEffect transition="in" filter="wipe(left)">
                                      <p:cBhvr>
                                        <p:cTn id="18" dur="500"/>
                                        <p:tgtEl>
                                          <p:spTgt spid="4110"/>
                                        </p:tgtEl>
                                      </p:cBhvr>
                                    </p:animEffect>
                                  </p:childTnLst>
                                </p:cTn>
                              </p:par>
                            </p:childTnLst>
                          </p:cTn>
                        </p:par>
                        <p:par>
                          <p:cTn id="19" fill="hold">
                            <p:stCondLst>
                              <p:cond delay="1000"/>
                            </p:stCondLst>
                            <p:childTnLst>
                              <p:par>
                                <p:cTn id="20" presetID="22" presetClass="entr" presetSubtype="8" fill="hold" grpId="0"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wipe(left)">
                                      <p:cBhvr>
                                        <p:cTn id="22" dur="500"/>
                                        <p:tgtEl>
                                          <p:spTgt spid="3"/>
                                        </p:tgtEl>
                                      </p:cBhvr>
                                    </p:animEffect>
                                  </p:childTnLst>
                                </p:cTn>
                              </p:par>
                            </p:childTnLst>
                          </p:cTn>
                        </p:par>
                        <p:par>
                          <p:cTn id="23" fill="hold">
                            <p:stCondLst>
                              <p:cond delay="1500"/>
                            </p:stCondLst>
                            <p:childTnLst>
                              <p:par>
                                <p:cTn id="24" presetID="22" presetClass="entr" presetSubtype="8" fill="hold" grpId="0" nodeType="afterEffect">
                                  <p:stCondLst>
                                    <p:cond delay="0"/>
                                  </p:stCondLst>
                                  <p:childTnLst>
                                    <p:set>
                                      <p:cBhvr>
                                        <p:cTn id="25" dur="1" fill="hold">
                                          <p:stCondLst>
                                            <p:cond delay="0"/>
                                          </p:stCondLst>
                                        </p:cTn>
                                        <p:tgtEl>
                                          <p:spTgt spid="7"/>
                                        </p:tgtEl>
                                        <p:attrNameLst>
                                          <p:attrName>style.visibility</p:attrName>
                                        </p:attrNameLst>
                                      </p:cBhvr>
                                      <p:to>
                                        <p:strVal val="visible"/>
                                      </p:to>
                                    </p:set>
                                    <p:animEffect transition="in" filter="wipe(left)">
                                      <p:cBhvr>
                                        <p:cTn id="26" dur="500"/>
                                        <p:tgtEl>
                                          <p:spTgt spid="7"/>
                                        </p:tgtEl>
                                      </p:cBhvr>
                                    </p:animEffect>
                                  </p:childTnLst>
                                </p:cTn>
                              </p:par>
                            </p:childTnLst>
                          </p:cTn>
                        </p:par>
                        <p:par>
                          <p:cTn id="27" fill="hold">
                            <p:stCondLst>
                              <p:cond delay="2000"/>
                            </p:stCondLst>
                            <p:childTnLst>
                              <p:par>
                                <p:cTn id="28" presetID="22" presetClass="entr" presetSubtype="8" fill="hold" nodeType="afterEffect">
                                  <p:stCondLst>
                                    <p:cond delay="0"/>
                                  </p:stCondLst>
                                  <p:childTnLst>
                                    <p:set>
                                      <p:cBhvr>
                                        <p:cTn id="29" dur="1" fill="hold">
                                          <p:stCondLst>
                                            <p:cond delay="0"/>
                                          </p:stCondLst>
                                        </p:cTn>
                                        <p:tgtEl>
                                          <p:spTgt spid="4112"/>
                                        </p:tgtEl>
                                        <p:attrNameLst>
                                          <p:attrName>style.visibility</p:attrName>
                                        </p:attrNameLst>
                                      </p:cBhvr>
                                      <p:to>
                                        <p:strVal val="visible"/>
                                      </p:to>
                                    </p:set>
                                    <p:animEffect transition="in" filter="wipe(left)">
                                      <p:cBhvr>
                                        <p:cTn id="30" dur="500"/>
                                        <p:tgtEl>
                                          <p:spTgt spid="4112"/>
                                        </p:tgtEl>
                                      </p:cBhvr>
                                    </p:animEffect>
                                  </p:childTnLst>
                                </p:cTn>
                              </p:par>
                            </p:childTnLst>
                          </p:cTn>
                        </p:par>
                        <p:par>
                          <p:cTn id="31" fill="hold">
                            <p:stCondLst>
                              <p:cond delay="2500"/>
                            </p:stCondLst>
                            <p:childTnLst>
                              <p:par>
                                <p:cTn id="32" presetID="22" presetClass="entr" presetSubtype="8" fill="hold" nodeType="afterEffect">
                                  <p:stCondLst>
                                    <p:cond delay="0"/>
                                  </p:stCondLst>
                                  <p:childTnLst>
                                    <p:set>
                                      <p:cBhvr>
                                        <p:cTn id="33" dur="1" fill="hold">
                                          <p:stCondLst>
                                            <p:cond delay="0"/>
                                          </p:stCondLst>
                                        </p:cTn>
                                        <p:tgtEl>
                                          <p:spTgt spid="4113"/>
                                        </p:tgtEl>
                                        <p:attrNameLst>
                                          <p:attrName>style.visibility</p:attrName>
                                        </p:attrNameLst>
                                      </p:cBhvr>
                                      <p:to>
                                        <p:strVal val="visible"/>
                                      </p:to>
                                    </p:set>
                                    <p:animEffect transition="in" filter="wipe(left)">
                                      <p:cBhvr>
                                        <p:cTn id="34" dur="500"/>
                                        <p:tgtEl>
                                          <p:spTgt spid="41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7" grpId="0"/>
      <p:bldP spid="4110" grpId="0"/>
      <p:bldGraphic spid="3" grpId="0">
        <p:bldAsOne/>
      </p:bldGraphic>
      <p:bldP spid="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向下箭號 1"/>
          <p:cNvSpPr/>
          <p:nvPr/>
        </p:nvSpPr>
        <p:spPr bwMode="auto">
          <a:xfrm flipV="1">
            <a:off x="388014" y="235973"/>
            <a:ext cx="943803" cy="5598113"/>
          </a:xfrm>
          <a:prstGeom prst="downArrow">
            <a:avLst/>
          </a:prstGeom>
          <a:solidFill>
            <a:schemeClr val="lt1">
              <a:alpha val="59000"/>
            </a:schemeClr>
          </a:solidFill>
          <a:ln>
            <a:noFill/>
            <a:headEnd type="none" w="med" len="med"/>
            <a:tailEnd type="none" w="med" len="med"/>
          </a:ln>
          <a:scene3d>
            <a:camera prst="orthographicFront"/>
            <a:lightRig rig="threePt" dir="t"/>
          </a:scene3d>
          <a:sp3d extrusionH="76200" contourW="12700">
            <a:extrusionClr>
              <a:schemeClr val="bg1"/>
            </a:extrusionClr>
            <a:contourClr>
              <a:schemeClr val="bg1"/>
            </a:contourClr>
          </a:sp3d>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ndParaRPr>
          </a:p>
        </p:txBody>
      </p:sp>
      <p:sp>
        <p:nvSpPr>
          <p:cNvPr id="17" name="矩形 16"/>
          <p:cNvSpPr/>
          <p:nvPr/>
        </p:nvSpPr>
        <p:spPr>
          <a:xfrm rot="16200000">
            <a:off x="-2213570" y="2672541"/>
            <a:ext cx="6079137" cy="461665"/>
          </a:xfrm>
          <a:prstGeom prst="rect">
            <a:avLst/>
          </a:prstGeom>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en-US" altLang="zh-TW" sz="2400" b="1" dirty="0">
                <a:solidFill>
                  <a:srgbClr val="FF6600"/>
                </a:solidFill>
                <a:latin typeface="Verdana" panose="020B0604030504040204" pitchFamily="34" charset="0"/>
                <a:ea typeface="新細明體" panose="02020500000000000000" pitchFamily="18" charset="-120"/>
              </a:rPr>
              <a:t>College of Humanities and Arts</a:t>
            </a:r>
            <a:endParaRPr lang="zh-TW" altLang="en-US" sz="2400" dirty="0">
              <a:solidFill>
                <a:srgbClr val="FF6600"/>
              </a:solidFill>
              <a:ea typeface="新細明體" panose="02020500000000000000" pitchFamily="18" charset="-120"/>
            </a:endParaRPr>
          </a:p>
        </p:txBody>
      </p:sp>
      <p:sp>
        <p:nvSpPr>
          <p:cNvPr id="6" name="橢圓 5"/>
          <p:cNvSpPr/>
          <p:nvPr/>
        </p:nvSpPr>
        <p:spPr bwMode="auto">
          <a:xfrm>
            <a:off x="117986" y="5490469"/>
            <a:ext cx="1483862" cy="1367531"/>
          </a:xfrm>
          <a:prstGeom prst="ellipse">
            <a:avLst/>
          </a:prstGeom>
          <a:solidFill>
            <a:srgbClr val="FF6600"/>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zh-TW" altLang="en-US" sz="1800" b="0" i="0" u="none" strike="noStrike" cap="none" normalizeH="0" baseline="0">
              <a:ln>
                <a:noFill/>
              </a:ln>
              <a:solidFill>
                <a:schemeClr val="tx1"/>
              </a:solidFill>
              <a:effectLst/>
              <a:latin typeface="Arial" charset="0"/>
            </a:endParaRPr>
          </a:p>
        </p:txBody>
      </p:sp>
      <p:sp>
        <p:nvSpPr>
          <p:cNvPr id="9" name="文字方塊 15"/>
          <p:cNvSpPr txBox="1">
            <a:spLocks noChangeArrowheads="1"/>
          </p:cNvSpPr>
          <p:nvPr/>
        </p:nvSpPr>
        <p:spPr bwMode="auto">
          <a:xfrm>
            <a:off x="1630023" y="235150"/>
            <a:ext cx="8244918" cy="6678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fontAlgn="base" hangingPunct="1">
              <a:lnSpc>
                <a:spcPct val="150000"/>
              </a:lnSpc>
              <a:spcBef>
                <a:spcPct val="0"/>
              </a:spcBef>
              <a:spcAft>
                <a:spcPct val="0"/>
              </a:spcAft>
            </a:pPr>
            <a:r>
              <a:rPr lang="en-US" altLang="zh-TW" sz="3200" b="1" dirty="0">
                <a:solidFill>
                  <a:schemeClr val="tx2">
                    <a:lumMod val="60000"/>
                    <a:lumOff val="40000"/>
                  </a:schemeClr>
                </a:solidFill>
                <a:ea typeface="新細明體" panose="02020500000000000000" pitchFamily="18" charset="-120"/>
              </a:rPr>
              <a:t>Department of </a:t>
            </a:r>
          </a:p>
          <a:p>
            <a:pPr eaLnBrk="1" fontAlgn="base" hangingPunct="1">
              <a:spcBef>
                <a:spcPct val="0"/>
              </a:spcBef>
              <a:spcAft>
                <a:spcPct val="0"/>
              </a:spcAft>
            </a:pPr>
            <a:endParaRPr lang="zh-TW" altLang="zh-TW" sz="2800" dirty="0">
              <a:solidFill>
                <a:schemeClr val="tx1">
                  <a:lumMod val="50000"/>
                </a:schemeClr>
              </a:solidFill>
              <a:ea typeface="新細明體" panose="02020500000000000000" pitchFamily="18" charset="-120"/>
            </a:endParaRPr>
          </a:p>
          <a:p>
            <a:pPr eaLnBrk="1" fontAlgn="base" hangingPunct="1">
              <a:spcBef>
                <a:spcPct val="0"/>
              </a:spcBef>
              <a:spcAft>
                <a:spcPct val="0"/>
              </a:spcAft>
            </a:pPr>
            <a:endParaRPr lang="en-US" altLang="zh-TW" sz="2800" dirty="0">
              <a:solidFill>
                <a:schemeClr val="tx1">
                  <a:lumMod val="50000"/>
                </a:schemeClr>
              </a:solidFill>
              <a:ea typeface="新細明體" panose="02020500000000000000" pitchFamily="18" charset="-120"/>
            </a:endParaRPr>
          </a:p>
          <a:p>
            <a:pPr eaLnBrk="1" fontAlgn="base" hangingPunct="1">
              <a:spcBef>
                <a:spcPct val="0"/>
              </a:spcBef>
              <a:spcAft>
                <a:spcPct val="0"/>
              </a:spcAft>
            </a:pPr>
            <a:endParaRPr lang="en-US" altLang="zh-TW" sz="2800" dirty="0">
              <a:solidFill>
                <a:schemeClr val="tx1">
                  <a:lumMod val="50000"/>
                </a:schemeClr>
              </a:solidFill>
              <a:ea typeface="新細明體" panose="02020500000000000000" pitchFamily="18" charset="-120"/>
            </a:endParaRPr>
          </a:p>
          <a:p>
            <a:pPr eaLnBrk="1" fontAlgn="base" hangingPunct="1">
              <a:spcBef>
                <a:spcPct val="0"/>
              </a:spcBef>
              <a:spcAft>
                <a:spcPct val="0"/>
              </a:spcAft>
            </a:pPr>
            <a:endParaRPr lang="en-US" altLang="zh-TW" sz="2800" dirty="0">
              <a:solidFill>
                <a:schemeClr val="tx1">
                  <a:lumMod val="50000"/>
                </a:schemeClr>
              </a:solidFill>
              <a:ea typeface="新細明體" panose="02020500000000000000" pitchFamily="18" charset="-120"/>
            </a:endParaRPr>
          </a:p>
          <a:p>
            <a:pPr eaLnBrk="1" fontAlgn="base" hangingPunct="1">
              <a:spcBef>
                <a:spcPct val="0"/>
              </a:spcBef>
              <a:spcAft>
                <a:spcPct val="0"/>
              </a:spcAft>
            </a:pPr>
            <a:endParaRPr lang="en-US" altLang="zh-TW" sz="2800" dirty="0">
              <a:solidFill>
                <a:schemeClr val="tx1">
                  <a:lumMod val="50000"/>
                </a:schemeClr>
              </a:solidFill>
              <a:ea typeface="新細明體" panose="02020500000000000000" pitchFamily="18" charset="-120"/>
            </a:endParaRPr>
          </a:p>
          <a:p>
            <a:pPr eaLnBrk="1" fontAlgn="base" hangingPunct="1">
              <a:spcBef>
                <a:spcPct val="0"/>
              </a:spcBef>
              <a:spcAft>
                <a:spcPct val="0"/>
              </a:spcAft>
            </a:pPr>
            <a:endParaRPr lang="en-US" altLang="zh-TW" sz="2800" dirty="0">
              <a:solidFill>
                <a:schemeClr val="tx1">
                  <a:lumMod val="50000"/>
                </a:schemeClr>
              </a:solidFill>
              <a:ea typeface="新細明體" panose="02020500000000000000" pitchFamily="18" charset="-120"/>
            </a:endParaRPr>
          </a:p>
          <a:p>
            <a:pPr eaLnBrk="1" fontAlgn="base" hangingPunct="1">
              <a:spcBef>
                <a:spcPct val="0"/>
              </a:spcBef>
              <a:spcAft>
                <a:spcPct val="0"/>
              </a:spcAft>
            </a:pPr>
            <a:endParaRPr lang="en-US" altLang="zh-TW" sz="2800" dirty="0">
              <a:solidFill>
                <a:schemeClr val="tx1">
                  <a:lumMod val="50000"/>
                </a:schemeClr>
              </a:solidFill>
              <a:ea typeface="新細明體" panose="02020500000000000000" pitchFamily="18" charset="-120"/>
            </a:endParaRPr>
          </a:p>
          <a:p>
            <a:pPr eaLnBrk="1" fontAlgn="base" hangingPunct="1">
              <a:spcBef>
                <a:spcPct val="0"/>
              </a:spcBef>
              <a:spcAft>
                <a:spcPct val="0"/>
              </a:spcAft>
            </a:pPr>
            <a:endParaRPr lang="zh-TW" altLang="zh-TW" sz="2800" dirty="0">
              <a:solidFill>
                <a:schemeClr val="tx1">
                  <a:lumMod val="50000"/>
                </a:schemeClr>
              </a:solidFill>
              <a:ea typeface="新細明體" panose="02020500000000000000" pitchFamily="18" charset="-120"/>
            </a:endParaRPr>
          </a:p>
          <a:p>
            <a:pPr eaLnBrk="1" fontAlgn="base" hangingPunct="1">
              <a:spcBef>
                <a:spcPct val="0"/>
              </a:spcBef>
              <a:spcAft>
                <a:spcPct val="0"/>
              </a:spcAft>
            </a:pPr>
            <a:endParaRPr lang="en-US" altLang="zh-TW" sz="2400" dirty="0">
              <a:solidFill>
                <a:schemeClr val="bg1"/>
              </a:solidFill>
              <a:ea typeface="新細明體" panose="02020500000000000000" pitchFamily="18" charset="-120"/>
            </a:endParaRPr>
          </a:p>
          <a:p>
            <a:pPr eaLnBrk="1" fontAlgn="base" hangingPunct="1">
              <a:spcBef>
                <a:spcPct val="0"/>
              </a:spcBef>
              <a:spcAft>
                <a:spcPct val="0"/>
              </a:spcAft>
            </a:pPr>
            <a:endParaRPr lang="zh-TW" altLang="zh-TW" sz="2400" dirty="0">
              <a:solidFill>
                <a:schemeClr val="bg1"/>
              </a:solidFill>
              <a:ea typeface="新細明體" panose="02020500000000000000" pitchFamily="18" charset="-120"/>
            </a:endParaRPr>
          </a:p>
          <a:p>
            <a:pPr marL="342900" indent="-342900" eaLnBrk="1" fontAlgn="base" hangingPunct="1">
              <a:spcBef>
                <a:spcPct val="0"/>
              </a:spcBef>
              <a:spcAft>
                <a:spcPct val="0"/>
              </a:spcAft>
              <a:buFont typeface="Wingdings" panose="05000000000000000000" pitchFamily="2" charset="2"/>
              <a:buChar char="ü"/>
            </a:pPr>
            <a:r>
              <a:rPr lang="en-US" altLang="zh-TW" sz="2800" dirty="0">
                <a:solidFill>
                  <a:srgbClr val="800000"/>
                </a:solidFill>
                <a:ea typeface="新細明體" panose="02020500000000000000" pitchFamily="18" charset="-120"/>
              </a:rPr>
              <a:t>Center of Humanities and Arts</a:t>
            </a:r>
            <a:endParaRPr lang="zh-TW" altLang="zh-TW" sz="2800" dirty="0">
              <a:solidFill>
                <a:srgbClr val="800000"/>
              </a:solidFill>
              <a:ea typeface="新細明體" panose="02020500000000000000" pitchFamily="18" charset="-120"/>
            </a:endParaRPr>
          </a:p>
          <a:p>
            <a:pPr marL="342900" indent="-342900" eaLnBrk="1" fontAlgn="base" hangingPunct="1">
              <a:spcBef>
                <a:spcPct val="0"/>
              </a:spcBef>
              <a:spcAft>
                <a:spcPct val="0"/>
              </a:spcAft>
              <a:buFont typeface="Wingdings" panose="05000000000000000000" pitchFamily="2" charset="2"/>
              <a:buChar char="ü"/>
            </a:pPr>
            <a:r>
              <a:rPr lang="en-US" altLang="zh-TW" sz="2800" dirty="0">
                <a:solidFill>
                  <a:srgbClr val="800000"/>
                </a:solidFill>
                <a:ea typeface="新細明體" panose="02020500000000000000" pitchFamily="18" charset="-120"/>
              </a:rPr>
              <a:t>Taiwan Culture Research Center</a:t>
            </a:r>
            <a:endParaRPr lang="zh-TW" altLang="zh-TW" sz="2800" dirty="0">
              <a:solidFill>
                <a:srgbClr val="800000"/>
              </a:solidFill>
              <a:ea typeface="新細明體" panose="02020500000000000000" pitchFamily="18" charset="-120"/>
            </a:endParaRPr>
          </a:p>
          <a:p>
            <a:pPr marL="342900" indent="-342900" eaLnBrk="1" fontAlgn="base" hangingPunct="1">
              <a:spcBef>
                <a:spcPct val="0"/>
              </a:spcBef>
              <a:spcAft>
                <a:spcPct val="0"/>
              </a:spcAft>
              <a:buFont typeface="Wingdings" panose="05000000000000000000" pitchFamily="2" charset="2"/>
              <a:buChar char="ü"/>
            </a:pPr>
            <a:r>
              <a:rPr lang="en-US" altLang="zh-TW" sz="2800" dirty="0">
                <a:solidFill>
                  <a:srgbClr val="800000"/>
                </a:solidFill>
                <a:ea typeface="新細明體" panose="02020500000000000000" pitchFamily="18" charset="-120"/>
              </a:rPr>
              <a:t>Graduate Institute of Music and Performing Arts</a:t>
            </a:r>
            <a:endParaRPr lang="zh-TW" altLang="zh-TW" sz="2800" dirty="0">
              <a:solidFill>
                <a:srgbClr val="800000"/>
              </a:solidFill>
              <a:ea typeface="新細明體" panose="02020500000000000000" pitchFamily="18" charset="-120"/>
            </a:endParaRPr>
          </a:p>
          <a:p>
            <a:pPr eaLnBrk="1" fontAlgn="base" hangingPunct="1">
              <a:spcBef>
                <a:spcPct val="0"/>
              </a:spcBef>
              <a:spcAft>
                <a:spcPct val="0"/>
              </a:spcAft>
            </a:pPr>
            <a:endParaRPr lang="zh-TW" altLang="en-US" sz="2400" dirty="0">
              <a:solidFill>
                <a:schemeClr val="bg1"/>
              </a:solidFill>
              <a:ea typeface="新細明體" panose="02020500000000000000" pitchFamily="18" charset="-120"/>
            </a:endParaRPr>
          </a:p>
        </p:txBody>
      </p:sp>
      <p:graphicFrame>
        <p:nvGraphicFramePr>
          <p:cNvPr id="4" name="資料庫圖表 3"/>
          <p:cNvGraphicFramePr/>
          <p:nvPr>
            <p:extLst>
              <p:ext uri="{D42A27DB-BD31-4B8C-83A1-F6EECF244321}">
                <p14:modId xmlns:p14="http://schemas.microsoft.com/office/powerpoint/2010/main" val="2791149837"/>
              </p:ext>
            </p:extLst>
          </p:nvPr>
        </p:nvGraphicFramePr>
        <p:xfrm>
          <a:off x="4204598" y="497504"/>
          <a:ext cx="8575231" cy="50750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10" name="資料庫圖表 9"/>
          <p:cNvGraphicFramePr/>
          <p:nvPr>
            <p:extLst>
              <p:ext uri="{D42A27DB-BD31-4B8C-83A1-F6EECF244321}">
                <p14:modId xmlns:p14="http://schemas.microsoft.com/office/powerpoint/2010/main" val="2497024830"/>
              </p:ext>
            </p:extLst>
          </p:nvPr>
        </p:nvGraphicFramePr>
        <p:xfrm>
          <a:off x="1263983" y="953594"/>
          <a:ext cx="4043620" cy="394553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686089668"/>
      </p:ext>
    </p:extLst>
  </p:cSld>
  <p:clrMapOvr>
    <a:masterClrMapping/>
  </p:clrMapOvr>
  <p:transition spd="slow" advClick="0" advTm="9000">
    <p:push/>
  </p:transition>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3" name="矩形 2"/>
          <p:cNvSpPr/>
          <p:nvPr/>
        </p:nvSpPr>
        <p:spPr bwMode="auto">
          <a:xfrm>
            <a:off x="-1" y="-1"/>
            <a:ext cx="943429" cy="6858001"/>
          </a:xfrm>
          <a:prstGeom prst="rect">
            <a:avLst/>
          </a:prstGeom>
          <a:solidFill>
            <a:schemeClr val="accent6">
              <a:lumMod val="50000"/>
              <a:alpha val="31000"/>
            </a:schemeClr>
          </a:solidFill>
          <a:ln>
            <a:no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2" name="橢圓 1"/>
          <p:cNvSpPr/>
          <p:nvPr/>
        </p:nvSpPr>
        <p:spPr bwMode="auto">
          <a:xfrm>
            <a:off x="182707" y="127847"/>
            <a:ext cx="1483862" cy="1367531"/>
          </a:xfrm>
          <a:prstGeom prst="ellipse">
            <a:avLst/>
          </a:prstGeom>
          <a:solidFill>
            <a:schemeClr val="accent5">
              <a:lumMod val="50000"/>
              <a:alpha val="98824"/>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relaxedInse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4" name="橢圓 13"/>
          <p:cNvSpPr/>
          <p:nvPr/>
        </p:nvSpPr>
        <p:spPr bwMode="auto">
          <a:xfrm>
            <a:off x="488132" y="3596391"/>
            <a:ext cx="827812" cy="738012"/>
          </a:xfrm>
          <a:prstGeom prst="ellipse">
            <a:avLst/>
          </a:prstGeom>
          <a:solidFill>
            <a:schemeClr val="accent2">
              <a:lumMod val="75000"/>
              <a:alpha val="99000"/>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coolSlan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5" name="橢圓 14"/>
          <p:cNvSpPr/>
          <p:nvPr/>
        </p:nvSpPr>
        <p:spPr bwMode="auto">
          <a:xfrm>
            <a:off x="492058" y="2665992"/>
            <a:ext cx="827812" cy="738012"/>
          </a:xfrm>
          <a:prstGeom prst="ellipse">
            <a:avLst/>
          </a:prstGeom>
          <a:solidFill>
            <a:schemeClr val="accent2">
              <a:lumMod val="75000"/>
              <a:alpha val="99000"/>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coolSlan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6" name="橢圓 15"/>
          <p:cNvSpPr/>
          <p:nvPr/>
        </p:nvSpPr>
        <p:spPr bwMode="auto">
          <a:xfrm>
            <a:off x="510732" y="1735593"/>
            <a:ext cx="827812" cy="738012"/>
          </a:xfrm>
          <a:prstGeom prst="ellipse">
            <a:avLst/>
          </a:prstGeom>
          <a:solidFill>
            <a:schemeClr val="accent2">
              <a:lumMod val="75000"/>
              <a:alpha val="99000"/>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coolSlan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1" name="矩形 10"/>
          <p:cNvSpPr/>
          <p:nvPr/>
        </p:nvSpPr>
        <p:spPr>
          <a:xfrm>
            <a:off x="1666569" y="811612"/>
            <a:ext cx="8307169" cy="646112"/>
          </a:xfrm>
          <a:prstGeom prst="rect">
            <a:avLst/>
          </a:prstGeom>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en-US" altLang="zh-TW" sz="3600" b="1" dirty="0">
                <a:solidFill>
                  <a:srgbClr val="FF0000">
                    <a:lumMod val="75000"/>
                  </a:srgbClr>
                </a:solidFill>
                <a:latin typeface="Verdana" panose="020B0604030504040204" pitchFamily="34" charset="0"/>
                <a:ea typeface="新細明體" panose="02020500000000000000" pitchFamily="18" charset="-120"/>
              </a:rPr>
              <a:t>College of Management</a:t>
            </a:r>
            <a:endParaRPr lang="zh-TW" altLang="en-US" sz="3600" dirty="0">
              <a:solidFill>
                <a:srgbClr val="FF0000">
                  <a:lumMod val="75000"/>
                </a:srgbClr>
              </a:solidFill>
              <a:ea typeface="新細明體" panose="02020500000000000000" pitchFamily="18" charset="-120"/>
            </a:endParaRPr>
          </a:p>
        </p:txBody>
      </p:sp>
      <p:sp>
        <p:nvSpPr>
          <p:cNvPr id="12" name="文字方塊 17"/>
          <p:cNvSpPr txBox="1">
            <a:spLocks noChangeArrowheads="1"/>
          </p:cNvSpPr>
          <p:nvPr/>
        </p:nvSpPr>
        <p:spPr bwMode="auto">
          <a:xfrm>
            <a:off x="1666569" y="1873513"/>
            <a:ext cx="9814231"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en-US" altLang="zh-TW" sz="2800" dirty="0">
                <a:solidFill>
                  <a:srgbClr val="333333"/>
                </a:solidFill>
                <a:ea typeface="新細明體" panose="02020500000000000000" pitchFamily="18" charset="-120"/>
              </a:rPr>
              <a:t>The educational objectives of the College of Management are to develop students’ potential in management , and to guide them to be managers in their own right, and to make contributions to our society by fully using their aptitudes and abilities.</a:t>
            </a:r>
          </a:p>
        </p:txBody>
      </p:sp>
      <p:pic>
        <p:nvPicPr>
          <p:cNvPr id="18" name="圖片 18"/>
          <p:cNvPicPr>
            <a:picLocks noChangeAspect="1"/>
          </p:cNvPicPr>
          <p:nvPr/>
        </p:nvPicPr>
        <p:blipFill>
          <a:blip r:embed="rId4">
            <a:extLst>
              <a:ext uri="{28A0092B-C50C-407E-A947-70E740481C1C}">
                <a14:useLocalDpi xmlns:a14="http://schemas.microsoft.com/office/drawing/2010/main" val="0"/>
              </a:ext>
            </a:extLst>
          </a:blip>
          <a:srcRect t="43399"/>
          <a:stretch>
            <a:fillRect/>
          </a:stretch>
        </p:blipFill>
        <p:spPr bwMode="auto">
          <a:xfrm>
            <a:off x="1161180" y="4498417"/>
            <a:ext cx="5412504" cy="209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2" name="圖片 4" descr="sc.jp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573684" y="4498416"/>
            <a:ext cx="5114596" cy="209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5806883"/>
      </p:ext>
    </p:extLst>
  </p:cSld>
  <p:clrMapOvr>
    <a:masterClrMapping/>
  </p:clrMapOvr>
  <mc:AlternateContent xmlns:mc="http://schemas.openxmlformats.org/markup-compatibility/2006" xmlns:p14="http://schemas.microsoft.com/office/powerpoint/2010/main">
    <mc:Choice Requires="p14">
      <p:transition spd="slow" p14:dur="1600" advClick="0" advTm="12000">
        <p:blinds dir="vert"/>
      </p:transition>
    </mc:Choice>
    <mc:Fallback xmlns="">
      <p:transition spd="slow" advClick="0" advTm="12000">
        <p:blinds dir="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7000" b="-17000"/>
          </a:stretch>
        </a:blipFill>
        <a:effectLst/>
      </p:bgPr>
    </p:bg>
    <p:spTree>
      <p:nvGrpSpPr>
        <p:cNvPr id="1" name=""/>
        <p:cNvGrpSpPr/>
        <p:nvPr/>
      </p:nvGrpSpPr>
      <p:grpSpPr>
        <a:xfrm>
          <a:off x="0" y="0"/>
          <a:ext cx="0" cy="0"/>
          <a:chOff x="0" y="0"/>
          <a:chExt cx="0" cy="0"/>
        </a:xfrm>
      </p:grpSpPr>
      <p:sp>
        <p:nvSpPr>
          <p:cNvPr id="2" name="向下箭號 1"/>
          <p:cNvSpPr/>
          <p:nvPr/>
        </p:nvSpPr>
        <p:spPr bwMode="auto">
          <a:xfrm flipV="1">
            <a:off x="149547" y="422730"/>
            <a:ext cx="943803" cy="5730670"/>
          </a:xfrm>
          <a:prstGeom prst="downArrow">
            <a:avLst/>
          </a:prstGeom>
          <a:solidFill>
            <a:schemeClr val="lt1">
              <a:alpha val="59000"/>
            </a:schemeClr>
          </a:solidFill>
          <a:ln>
            <a:noFill/>
            <a:headEnd type="none" w="med" len="med"/>
            <a:tailEnd type="none" w="med" len="med"/>
          </a:ln>
          <a:scene3d>
            <a:camera prst="orthographicFront"/>
            <a:lightRig rig="threePt" dir="t"/>
          </a:scene3d>
          <a:sp3d extrusionH="76200" contourW="12700">
            <a:extrusionClr>
              <a:schemeClr val="bg1"/>
            </a:extrusionClr>
            <a:contourClr>
              <a:schemeClr val="bg1"/>
            </a:contourClr>
          </a:sp3d>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7" name="矩形 16"/>
          <p:cNvSpPr/>
          <p:nvPr/>
        </p:nvSpPr>
        <p:spPr>
          <a:xfrm rot="16200000">
            <a:off x="-2383597" y="3084590"/>
            <a:ext cx="5908494" cy="584775"/>
          </a:xfrm>
          <a:prstGeom prst="rect">
            <a:avLst/>
          </a:prstGeom>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en-US" altLang="zh-TW" sz="3200" b="1" dirty="0">
                <a:solidFill>
                  <a:srgbClr val="00FF00">
                    <a:lumMod val="75000"/>
                  </a:srgbClr>
                </a:solidFill>
                <a:latin typeface="Verdana" panose="020B0604030504040204" pitchFamily="34" charset="0"/>
                <a:ea typeface="新細明體" panose="02020500000000000000" pitchFamily="18" charset="-120"/>
              </a:rPr>
              <a:t>College of Management</a:t>
            </a:r>
          </a:p>
        </p:txBody>
      </p:sp>
      <p:sp>
        <p:nvSpPr>
          <p:cNvPr id="6" name="橢圓 5"/>
          <p:cNvSpPr/>
          <p:nvPr/>
        </p:nvSpPr>
        <p:spPr bwMode="auto">
          <a:xfrm rot="21413837">
            <a:off x="106506" y="5903215"/>
            <a:ext cx="947116" cy="957303"/>
          </a:xfrm>
          <a:prstGeom prst="ellipse">
            <a:avLst/>
          </a:prstGeom>
          <a:solidFill>
            <a:schemeClr val="accent1">
              <a:lumMod val="60000"/>
              <a:lumOff val="40000"/>
            </a:scheme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graphicFrame>
        <p:nvGraphicFramePr>
          <p:cNvPr id="12" name="資料庫圖表 11"/>
          <p:cNvGraphicFramePr/>
          <p:nvPr>
            <p:extLst>
              <p:ext uri="{D42A27DB-BD31-4B8C-83A1-F6EECF244321}">
                <p14:modId xmlns:p14="http://schemas.microsoft.com/office/powerpoint/2010/main" val="2544244802"/>
              </p:ext>
            </p:extLst>
          </p:nvPr>
        </p:nvGraphicFramePr>
        <p:xfrm>
          <a:off x="5046775" y="390070"/>
          <a:ext cx="7101685" cy="578619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4" name="圖片 18"/>
          <p:cNvPicPr>
            <a:picLocks noChangeAspect="1"/>
          </p:cNvPicPr>
          <p:nvPr/>
        </p:nvPicPr>
        <p:blipFill>
          <a:blip r:embed="rId9">
            <a:extLst>
              <a:ext uri="{28A0092B-C50C-407E-A947-70E740481C1C}">
                <a14:useLocalDpi xmlns:a14="http://schemas.microsoft.com/office/drawing/2010/main" val="0"/>
              </a:ext>
            </a:extLst>
          </a:blip>
          <a:srcRect t="43399"/>
          <a:stretch>
            <a:fillRect/>
          </a:stretch>
        </p:blipFill>
        <p:spPr bwMode="auto">
          <a:xfrm>
            <a:off x="1138452" y="3933371"/>
            <a:ext cx="3798521" cy="2571539"/>
          </a:xfrm>
          <a:prstGeom prst="rect">
            <a:avLst/>
          </a:prstGeom>
          <a:noFill/>
          <a:ln>
            <a:noFill/>
          </a:ln>
          <a:effectLst>
            <a:innerShdw blurRad="63500" dist="50800" dir="2700000">
              <a:prstClr val="black">
                <a:alpha val="50000"/>
              </a:prstClr>
            </a:inn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文字方塊 17"/>
          <p:cNvSpPr txBox="1">
            <a:spLocks noChangeArrowheads="1"/>
          </p:cNvSpPr>
          <p:nvPr/>
        </p:nvSpPr>
        <p:spPr bwMode="auto">
          <a:xfrm>
            <a:off x="1161605" y="950705"/>
            <a:ext cx="3775368" cy="2554545"/>
          </a:xfrm>
          <a:prstGeom prst="rect">
            <a:avLst/>
          </a:prstGeom>
          <a:solidFill>
            <a:schemeClr val="accent5"/>
          </a:solidFill>
          <a:ln>
            <a:noFill/>
          </a:ln>
          <a:effectLst>
            <a:innerShdw blurRad="63500" dist="50800" dir="2700000">
              <a:prstClr val="black">
                <a:alpha val="50000"/>
              </a:prstClr>
            </a:innerShdw>
          </a:effectLst>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en-US" altLang="zh-TW" sz="2000" dirty="0">
                <a:solidFill>
                  <a:srgbClr val="333333"/>
                </a:solidFill>
                <a:ea typeface="新細明體" panose="02020500000000000000" pitchFamily="18" charset="-120"/>
              </a:rPr>
              <a:t>The College of Management are to develop students’ potential in management , and to guide them to be managers in their own right, and to make contributions to our society by fully using their aptitudes and abilities.</a:t>
            </a:r>
          </a:p>
        </p:txBody>
      </p:sp>
    </p:spTree>
    <p:extLst>
      <p:ext uri="{BB962C8B-B14F-4D97-AF65-F5344CB8AC3E}">
        <p14:creationId xmlns:p14="http://schemas.microsoft.com/office/powerpoint/2010/main" val="1185895143"/>
      </p:ext>
    </p:extLst>
  </p:cSld>
  <p:clrMapOvr>
    <a:masterClrMapping/>
  </p:clrMapOvr>
  <mc:AlternateContent xmlns:mc="http://schemas.openxmlformats.org/markup-compatibility/2006" xmlns:p14="http://schemas.microsoft.com/office/powerpoint/2010/main">
    <mc:Choice Requires="p14">
      <p:transition spd="slow" p14:dur="4400" advClick="0" advTm="14000">
        <p14:honeycomb/>
      </p:transition>
    </mc:Choice>
    <mc:Fallback xmlns="">
      <p:transition spd="slow" advClick="0" advTm="1400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3000" b="-13000"/>
          </a:stretch>
        </a:blipFill>
        <a:effectLst/>
      </p:bgPr>
    </p:bg>
    <p:spTree>
      <p:nvGrpSpPr>
        <p:cNvPr id="1" name=""/>
        <p:cNvGrpSpPr/>
        <p:nvPr/>
      </p:nvGrpSpPr>
      <p:grpSpPr>
        <a:xfrm>
          <a:off x="0" y="0"/>
          <a:ext cx="0" cy="0"/>
          <a:chOff x="0" y="0"/>
          <a:chExt cx="0" cy="0"/>
        </a:xfrm>
      </p:grpSpPr>
      <p:sp>
        <p:nvSpPr>
          <p:cNvPr id="11" name="矩形 10"/>
          <p:cNvSpPr/>
          <p:nvPr/>
        </p:nvSpPr>
        <p:spPr bwMode="auto">
          <a:xfrm>
            <a:off x="1" y="1"/>
            <a:ext cx="992046" cy="6858000"/>
          </a:xfrm>
          <a:prstGeom prst="rect">
            <a:avLst/>
          </a:prstGeom>
          <a:solidFill>
            <a:schemeClr val="tx2">
              <a:lumMod val="50000"/>
              <a:alpha val="69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2" name="橢圓 1"/>
          <p:cNvSpPr/>
          <p:nvPr/>
        </p:nvSpPr>
        <p:spPr bwMode="auto">
          <a:xfrm>
            <a:off x="182707" y="127847"/>
            <a:ext cx="1483862" cy="1367531"/>
          </a:xfrm>
          <a:prstGeom prst="ellipse">
            <a:avLst/>
          </a:prstGeom>
          <a:solidFill>
            <a:srgbClr val="FFC000">
              <a:alpha val="98824"/>
            </a:srgb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relaxedInse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5" name="橢圓 14"/>
          <p:cNvSpPr/>
          <p:nvPr/>
        </p:nvSpPr>
        <p:spPr bwMode="auto">
          <a:xfrm>
            <a:off x="492058" y="2665992"/>
            <a:ext cx="827812" cy="738012"/>
          </a:xfrm>
          <a:prstGeom prst="ellipse">
            <a:avLst/>
          </a:prstGeom>
          <a:solidFill>
            <a:schemeClr val="accent2">
              <a:lumMod val="75000"/>
              <a:alpha val="99000"/>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coolSlan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6" name="橢圓 15"/>
          <p:cNvSpPr/>
          <p:nvPr/>
        </p:nvSpPr>
        <p:spPr bwMode="auto">
          <a:xfrm>
            <a:off x="510732" y="1735593"/>
            <a:ext cx="827812" cy="738012"/>
          </a:xfrm>
          <a:prstGeom prst="ellipse">
            <a:avLst/>
          </a:prstGeom>
          <a:solidFill>
            <a:schemeClr val="accent2">
              <a:lumMod val="75000"/>
              <a:alpha val="99000"/>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coolSlan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0" name="矩形 9"/>
          <p:cNvSpPr/>
          <p:nvPr/>
        </p:nvSpPr>
        <p:spPr>
          <a:xfrm>
            <a:off x="1701310" y="811612"/>
            <a:ext cx="7713997" cy="646331"/>
          </a:xfrm>
          <a:prstGeom prst="rect">
            <a:avLst/>
          </a:prstGeom>
        </p:spPr>
        <p:txBody>
          <a:bodyPr wrap="square">
            <a:spAutoFit/>
          </a:bodyPr>
          <a:lstStyle/>
          <a:p>
            <a:pPr fontAlgn="base">
              <a:spcBef>
                <a:spcPct val="0"/>
              </a:spcBef>
              <a:spcAft>
                <a:spcPct val="0"/>
              </a:spcAft>
            </a:pPr>
            <a:r>
              <a:rPr lang="en-US" altLang="zh-TW" sz="3600" b="1" dirty="0">
                <a:solidFill>
                  <a:srgbClr val="800000"/>
                </a:solidFill>
                <a:latin typeface="Verdana" panose="020B0604030504040204" pitchFamily="34" charset="0"/>
              </a:rPr>
              <a:t>College of Agriculture</a:t>
            </a:r>
            <a:endParaRPr lang="zh-TW" altLang="en-US" sz="3600" dirty="0">
              <a:solidFill>
                <a:srgbClr val="800000"/>
              </a:solidFill>
            </a:endParaRPr>
          </a:p>
        </p:txBody>
      </p:sp>
      <p:sp>
        <p:nvSpPr>
          <p:cNvPr id="13" name="文字方塊 12"/>
          <p:cNvSpPr txBox="1"/>
          <p:nvPr/>
        </p:nvSpPr>
        <p:spPr>
          <a:xfrm>
            <a:off x="1701310" y="1686308"/>
            <a:ext cx="9957290" cy="2246769"/>
          </a:xfrm>
          <a:prstGeom prst="rect">
            <a:avLst/>
          </a:prstGeom>
          <a:noFill/>
        </p:spPr>
        <p:txBody>
          <a:bodyPr wrap="square" rtlCol="0">
            <a:spAutoFit/>
          </a:bodyPr>
          <a:lstStyle/>
          <a:p>
            <a:pPr fontAlgn="base">
              <a:spcBef>
                <a:spcPct val="0"/>
              </a:spcBef>
              <a:spcAft>
                <a:spcPct val="0"/>
              </a:spcAft>
            </a:pPr>
            <a:r>
              <a:rPr lang="en-US" altLang="zh-TW" sz="2800" dirty="0">
                <a:solidFill>
                  <a:srgbClr val="663300"/>
                </a:solidFill>
              </a:rPr>
              <a:t>The College of Agriculture aims to pursue modern agricultural technology, to develop intensive agriculture, and to promote sustainable agriculture, life, and ecological systems. The College is devoted to the advancement of agricultural theories, practices, research, and extension services.</a:t>
            </a:r>
          </a:p>
        </p:txBody>
      </p:sp>
      <p:pic>
        <p:nvPicPr>
          <p:cNvPr id="17" name="圖片 16"/>
          <p:cNvPicPr>
            <a:picLocks noChangeAspect="1"/>
          </p:cNvPicPr>
          <p:nvPr/>
        </p:nvPicPr>
        <p:blipFill rotWithShape="1">
          <a:blip r:embed="rId4" cstate="print">
            <a:extLst>
              <a:ext uri="{28A0092B-C50C-407E-A947-70E740481C1C}">
                <a14:useLocalDpi xmlns:a14="http://schemas.microsoft.com/office/drawing/2010/main" val="0"/>
              </a:ext>
            </a:extLst>
          </a:blip>
          <a:srcRect t="27851"/>
          <a:stretch/>
        </p:blipFill>
        <p:spPr>
          <a:xfrm>
            <a:off x="7813415" y="4314825"/>
            <a:ext cx="4026070" cy="2128838"/>
          </a:xfrm>
          <a:prstGeom prst="rect">
            <a:avLst/>
          </a:prstGeom>
        </p:spPr>
      </p:pic>
      <p:pic>
        <p:nvPicPr>
          <p:cNvPr id="19"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476441" y="4283662"/>
            <a:ext cx="3878649" cy="22273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3364" y="4283661"/>
            <a:ext cx="3336974" cy="2145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64326542"/>
      </p:ext>
    </p:extLst>
  </p:cSld>
  <p:clrMapOvr>
    <a:masterClrMapping/>
  </p:clrMapOvr>
  <mc:AlternateContent xmlns:mc="http://schemas.openxmlformats.org/markup-compatibility/2006" xmlns:p14="http://schemas.microsoft.com/office/powerpoint/2010/main">
    <mc:Choice Requires="p14">
      <p:transition spd="slow" p14:dur="1200" advClick="0" advTm="10000">
        <p14:prism/>
      </p:transition>
    </mc:Choice>
    <mc:Fallback xmlns="">
      <p:transition spd="slow" advClick="0" advTm="1000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3000" b="-13000"/>
          </a:stretch>
        </a:blipFill>
        <a:effectLst/>
      </p:bgPr>
    </p:bg>
    <p:spTree>
      <p:nvGrpSpPr>
        <p:cNvPr id="1" name=""/>
        <p:cNvGrpSpPr/>
        <p:nvPr/>
      </p:nvGrpSpPr>
      <p:grpSpPr>
        <a:xfrm>
          <a:off x="0" y="0"/>
          <a:ext cx="0" cy="0"/>
          <a:chOff x="0" y="0"/>
          <a:chExt cx="0" cy="0"/>
        </a:xfrm>
      </p:grpSpPr>
      <p:sp>
        <p:nvSpPr>
          <p:cNvPr id="2" name="向下箭號 1"/>
          <p:cNvSpPr/>
          <p:nvPr/>
        </p:nvSpPr>
        <p:spPr bwMode="auto">
          <a:xfrm flipV="1">
            <a:off x="388014" y="235973"/>
            <a:ext cx="943803" cy="5598113"/>
          </a:xfrm>
          <a:prstGeom prst="downArrow">
            <a:avLst/>
          </a:prstGeom>
          <a:solidFill>
            <a:schemeClr val="lt1">
              <a:alpha val="95000"/>
            </a:schemeClr>
          </a:solidFill>
          <a:ln>
            <a:noFill/>
            <a:headEnd type="none" w="med" len="med"/>
            <a:tailEnd type="none" w="med" len="med"/>
          </a:ln>
          <a:scene3d>
            <a:camera prst="orthographicFront"/>
            <a:lightRig rig="threePt" dir="t"/>
          </a:scene3d>
          <a:sp3d extrusionH="76200" contourW="12700">
            <a:extrusionClr>
              <a:schemeClr val="bg1"/>
            </a:extrusionClr>
            <a:contourClr>
              <a:schemeClr val="bg1"/>
            </a:contourClr>
          </a:sp3d>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7" name="矩形 16"/>
          <p:cNvSpPr/>
          <p:nvPr/>
        </p:nvSpPr>
        <p:spPr>
          <a:xfrm rot="16200000">
            <a:off x="-2213570" y="2563686"/>
            <a:ext cx="6079137" cy="461665"/>
          </a:xfrm>
          <a:prstGeom prst="rect">
            <a:avLst/>
          </a:prstGeom>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en-US" altLang="zh-TW" sz="2400" b="1" spc="300" dirty="0">
                <a:solidFill>
                  <a:srgbClr val="FFC000"/>
                </a:solidFill>
                <a:effectLst>
                  <a:outerShdw blurRad="38100" dist="38100" dir="2700000" algn="tl">
                    <a:srgbClr val="000000">
                      <a:alpha val="43137"/>
                    </a:srgbClr>
                  </a:outerShdw>
                </a:effectLst>
                <a:latin typeface="Verdana" panose="020B0604030504040204" pitchFamily="34" charset="0"/>
                <a:ea typeface="新細明體" panose="02020500000000000000" pitchFamily="18" charset="-120"/>
              </a:rPr>
              <a:t>College of Agriculture</a:t>
            </a:r>
          </a:p>
        </p:txBody>
      </p:sp>
      <p:sp>
        <p:nvSpPr>
          <p:cNvPr id="6" name="橢圓 5"/>
          <p:cNvSpPr/>
          <p:nvPr/>
        </p:nvSpPr>
        <p:spPr bwMode="auto">
          <a:xfrm>
            <a:off x="117986" y="5490469"/>
            <a:ext cx="1483862" cy="1367531"/>
          </a:xfrm>
          <a:prstGeom prst="ellipse">
            <a:avLst/>
          </a:prstGeom>
          <a:solidFill>
            <a:srgbClr val="FFC000"/>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0" name="文字方塊 9"/>
          <p:cNvSpPr txBox="1"/>
          <p:nvPr/>
        </p:nvSpPr>
        <p:spPr>
          <a:xfrm>
            <a:off x="5538477" y="742949"/>
            <a:ext cx="6336188" cy="3139321"/>
          </a:xfrm>
          <a:prstGeom prst="rect">
            <a:avLst/>
          </a:prstGeom>
          <a:noFill/>
        </p:spPr>
        <p:txBody>
          <a:bodyPr wrap="square" rtlCol="0">
            <a:spAutoFit/>
          </a:bodyPr>
          <a:lstStyle/>
          <a:p>
            <a:pPr marL="342900" indent="-342900" fontAlgn="base">
              <a:spcBef>
                <a:spcPct val="0"/>
              </a:spcBef>
              <a:spcAft>
                <a:spcPct val="0"/>
              </a:spcAft>
              <a:buFont typeface="Wingdings" panose="05000000000000000000" pitchFamily="2" charset="2"/>
              <a:buChar char="l"/>
            </a:pPr>
            <a:r>
              <a:rPr lang="en-US" altLang="zh-TW" sz="2200" dirty="0">
                <a:solidFill>
                  <a:srgbClr val="333333"/>
                </a:solidFill>
              </a:rPr>
              <a:t>Forest Products Science &amp; Furniture Engineering</a:t>
            </a:r>
          </a:p>
          <a:p>
            <a:pPr marL="342900" indent="-342900" fontAlgn="base">
              <a:spcBef>
                <a:spcPct val="0"/>
              </a:spcBef>
              <a:spcAft>
                <a:spcPct val="0"/>
              </a:spcAft>
              <a:buFont typeface="Wingdings" panose="05000000000000000000" pitchFamily="2" charset="2"/>
              <a:buChar char="l"/>
            </a:pPr>
            <a:r>
              <a:rPr lang="en-US" altLang="zh-TW" sz="2200" dirty="0">
                <a:solidFill>
                  <a:srgbClr val="333333"/>
                </a:solidFill>
              </a:rPr>
              <a:t>Agronomy</a:t>
            </a:r>
          </a:p>
          <a:p>
            <a:pPr marL="342900" indent="-342900" fontAlgn="base">
              <a:spcBef>
                <a:spcPct val="0"/>
              </a:spcBef>
              <a:spcAft>
                <a:spcPct val="0"/>
              </a:spcAft>
              <a:buFont typeface="Wingdings" panose="05000000000000000000" pitchFamily="2" charset="2"/>
              <a:buChar char="l"/>
            </a:pPr>
            <a:r>
              <a:rPr lang="en-US" altLang="zh-TW" sz="2200" dirty="0">
                <a:solidFill>
                  <a:srgbClr val="333333"/>
                </a:solidFill>
              </a:rPr>
              <a:t>Horticultural Science</a:t>
            </a:r>
          </a:p>
          <a:p>
            <a:pPr marL="342900" indent="-342900" fontAlgn="base">
              <a:spcBef>
                <a:spcPct val="0"/>
              </a:spcBef>
              <a:spcAft>
                <a:spcPct val="0"/>
              </a:spcAft>
              <a:buFont typeface="Wingdings" panose="05000000000000000000" pitchFamily="2" charset="2"/>
              <a:buChar char="l"/>
            </a:pPr>
            <a:r>
              <a:rPr lang="en-US" altLang="zh-TW" sz="2200" dirty="0">
                <a:solidFill>
                  <a:srgbClr val="333333"/>
                </a:solidFill>
              </a:rPr>
              <a:t>Forestry</a:t>
            </a:r>
          </a:p>
          <a:p>
            <a:pPr marL="342900" indent="-342900" fontAlgn="base">
              <a:spcBef>
                <a:spcPct val="0"/>
              </a:spcBef>
              <a:spcAft>
                <a:spcPct val="0"/>
              </a:spcAft>
              <a:buFont typeface="Wingdings" panose="05000000000000000000" pitchFamily="2" charset="2"/>
              <a:buChar char="l"/>
            </a:pPr>
            <a:r>
              <a:rPr lang="en-US" altLang="zh-TW" sz="2200" dirty="0">
                <a:solidFill>
                  <a:srgbClr val="333333"/>
                </a:solidFill>
              </a:rPr>
              <a:t>Animal Science</a:t>
            </a:r>
          </a:p>
          <a:p>
            <a:pPr marL="342900" indent="-342900" fontAlgn="base">
              <a:spcBef>
                <a:spcPct val="0"/>
              </a:spcBef>
              <a:spcAft>
                <a:spcPct val="0"/>
              </a:spcAft>
              <a:buFont typeface="Wingdings" panose="05000000000000000000" pitchFamily="2" charset="2"/>
              <a:buChar char="l"/>
            </a:pPr>
            <a:r>
              <a:rPr lang="en-US" altLang="zh-TW" sz="2200" dirty="0">
                <a:solidFill>
                  <a:srgbClr val="333333"/>
                </a:solidFill>
              </a:rPr>
              <a:t>Bio Agricultural Science</a:t>
            </a:r>
          </a:p>
          <a:p>
            <a:pPr marL="342900" indent="-342900" fontAlgn="base">
              <a:spcBef>
                <a:spcPct val="0"/>
              </a:spcBef>
              <a:spcAft>
                <a:spcPct val="0"/>
              </a:spcAft>
              <a:buFont typeface="Wingdings" panose="05000000000000000000" pitchFamily="2" charset="2"/>
              <a:buChar char="l"/>
            </a:pPr>
            <a:r>
              <a:rPr lang="en-US" altLang="zh-TW" sz="2200" dirty="0">
                <a:solidFill>
                  <a:srgbClr val="333333"/>
                </a:solidFill>
              </a:rPr>
              <a:t>Landscape Architecture</a:t>
            </a:r>
          </a:p>
          <a:p>
            <a:pPr marL="342900" indent="-342900" fontAlgn="base">
              <a:spcBef>
                <a:spcPct val="0"/>
              </a:spcBef>
              <a:spcAft>
                <a:spcPct val="0"/>
              </a:spcAft>
              <a:buFont typeface="Wingdings" panose="05000000000000000000" pitchFamily="2" charset="2"/>
              <a:buChar char="l"/>
            </a:pPr>
            <a:r>
              <a:rPr lang="en-US" altLang="zh-TW" sz="2200" dirty="0">
                <a:solidFill>
                  <a:srgbClr val="333333"/>
                </a:solidFill>
              </a:rPr>
              <a:t>Plant Medicine</a:t>
            </a:r>
            <a:endParaRPr lang="en-US" altLang="zh-TW" sz="2000" dirty="0">
              <a:solidFill>
                <a:srgbClr val="333333"/>
              </a:solidFill>
            </a:endParaRPr>
          </a:p>
        </p:txBody>
      </p:sp>
      <p:pic>
        <p:nvPicPr>
          <p:cNvPr id="13"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869380" y="742949"/>
            <a:ext cx="3530890" cy="1919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4" name="Picture 1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65664" y="2670954"/>
            <a:ext cx="3530890" cy="1959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1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65663" y="4644974"/>
            <a:ext cx="3530890" cy="1835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圖片 10" descr="D:\My Pictures\2019\UP Los Banos 0221\visit horticulture technology center.jpg"/>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38476" y="4887956"/>
            <a:ext cx="2206935" cy="1907586"/>
          </a:xfrm>
          <a:prstGeom prst="rect">
            <a:avLst/>
          </a:prstGeom>
          <a:ln>
            <a:noFill/>
          </a:ln>
          <a:effectLst>
            <a:softEdge rad="112500"/>
          </a:effectLst>
        </p:spPr>
      </p:pic>
      <p:pic>
        <p:nvPicPr>
          <p:cNvPr id="12" name="圖片 11" descr="D:\My Pictures\2017\2017.03.09 日本東京農業大學師生來訪\CIMG7269.JPG"/>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847011" y="4927081"/>
            <a:ext cx="2119025" cy="1920583"/>
          </a:xfrm>
          <a:prstGeom prst="rect">
            <a:avLst/>
          </a:prstGeom>
          <a:ln>
            <a:noFill/>
          </a:ln>
          <a:effectLst>
            <a:softEdge rad="112500"/>
          </a:effectLst>
        </p:spPr>
      </p:pic>
      <p:pic>
        <p:nvPicPr>
          <p:cNvPr id="16" name="圖片 15" descr="D:\My Pictures\2014\UI visit-0317-0321\NCYU Animal Farm1.JPG"/>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076872" y="4927080"/>
            <a:ext cx="2030528" cy="1860799"/>
          </a:xfrm>
          <a:prstGeom prst="rect">
            <a:avLst/>
          </a:prstGeom>
          <a:ln>
            <a:noFill/>
          </a:ln>
          <a:effectLst>
            <a:softEdge rad="112500"/>
          </a:effectLst>
        </p:spPr>
      </p:pic>
    </p:spTree>
    <p:extLst>
      <p:ext uri="{BB962C8B-B14F-4D97-AF65-F5344CB8AC3E}">
        <p14:creationId xmlns:p14="http://schemas.microsoft.com/office/powerpoint/2010/main" val="1091446019"/>
      </p:ext>
    </p:extLst>
  </p:cSld>
  <p:clrMapOvr>
    <a:masterClrMapping/>
  </p:clrMapOvr>
  <p:transition spd="slow" advClick="0" advTm="15000">
    <p:fade/>
  </p:transition>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4000" t="-13000" b="-13000"/>
          </a:stretch>
        </a:blipFill>
        <a:effectLst/>
      </p:bgPr>
    </p:bg>
    <p:spTree>
      <p:nvGrpSpPr>
        <p:cNvPr id="1" name=""/>
        <p:cNvGrpSpPr/>
        <p:nvPr/>
      </p:nvGrpSpPr>
      <p:grpSpPr>
        <a:xfrm>
          <a:off x="0" y="0"/>
          <a:ext cx="0" cy="0"/>
          <a:chOff x="0" y="0"/>
          <a:chExt cx="0" cy="0"/>
        </a:xfrm>
      </p:grpSpPr>
      <p:sp>
        <p:nvSpPr>
          <p:cNvPr id="2" name="橢圓 1"/>
          <p:cNvSpPr/>
          <p:nvPr/>
        </p:nvSpPr>
        <p:spPr bwMode="auto">
          <a:xfrm>
            <a:off x="182707" y="127847"/>
            <a:ext cx="1483862" cy="1367531"/>
          </a:xfrm>
          <a:prstGeom prst="ellipse">
            <a:avLst/>
          </a:prstGeom>
          <a:solidFill>
            <a:srgbClr val="33CCCC">
              <a:alpha val="98824"/>
            </a:srgb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relaxedInse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6" name="橢圓 15"/>
          <p:cNvSpPr/>
          <p:nvPr/>
        </p:nvSpPr>
        <p:spPr bwMode="auto">
          <a:xfrm>
            <a:off x="510732" y="1735593"/>
            <a:ext cx="827812" cy="738012"/>
          </a:xfrm>
          <a:prstGeom prst="ellipse">
            <a:avLst/>
          </a:prstGeom>
          <a:solidFill>
            <a:schemeClr val="accent3">
              <a:lumMod val="85000"/>
              <a:alpha val="99000"/>
            </a:schemeClr>
          </a:solidFill>
          <a:ln w="34925" cap="flat" cmpd="sng" algn="ctr">
            <a:noFill/>
            <a:prstDash val="solid"/>
            <a:round/>
            <a:headEnd type="none" w="med" len="med"/>
            <a:tailEnd type="none" w="med" len="med"/>
          </a:ln>
          <a:effectLst/>
          <a:scene3d>
            <a:camera prst="orthographicFront">
              <a:rot lat="0" lon="0" rev="0"/>
            </a:camera>
            <a:lightRig rig="balanced" dir="t">
              <a:rot lat="0" lon="0" rev="8700000"/>
            </a:lightRig>
          </a:scene3d>
          <a:sp3d>
            <a:bevelT w="190500" h="38100" prst="coolSlant"/>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0" name="矩形 9"/>
          <p:cNvSpPr/>
          <p:nvPr/>
        </p:nvSpPr>
        <p:spPr>
          <a:xfrm>
            <a:off x="1666569" y="842759"/>
            <a:ext cx="10972681" cy="584775"/>
          </a:xfrm>
          <a:prstGeom prst="rect">
            <a:avLst/>
          </a:prstGeom>
        </p:spPr>
        <p:txBody>
          <a:bodyPr wrap="square">
            <a:spAutoFit/>
          </a:bodyPr>
          <a:lstStyle/>
          <a:p>
            <a:pPr fontAlgn="base">
              <a:spcBef>
                <a:spcPct val="0"/>
              </a:spcBef>
              <a:spcAft>
                <a:spcPct val="0"/>
              </a:spcAft>
            </a:pPr>
            <a:r>
              <a:rPr lang="en-US" altLang="zh-TW" sz="3200" b="1" dirty="0">
                <a:solidFill>
                  <a:srgbClr val="FFFFFF">
                    <a:lumMod val="95000"/>
                  </a:srgbClr>
                </a:solidFill>
                <a:latin typeface="Verdana" panose="020B0604030504040204" pitchFamily="34" charset="0"/>
              </a:rPr>
              <a:t>College of Science and Engineering</a:t>
            </a:r>
            <a:endParaRPr lang="zh-TW" altLang="en-US" sz="3200" dirty="0">
              <a:solidFill>
                <a:srgbClr val="FFFFFF">
                  <a:lumMod val="95000"/>
                </a:srgbClr>
              </a:solidFill>
            </a:endParaRPr>
          </a:p>
        </p:txBody>
      </p:sp>
      <p:sp>
        <p:nvSpPr>
          <p:cNvPr id="13" name="文字方塊 12"/>
          <p:cNvSpPr txBox="1"/>
          <p:nvPr/>
        </p:nvSpPr>
        <p:spPr>
          <a:xfrm>
            <a:off x="1666569" y="2049183"/>
            <a:ext cx="9817464" cy="1815882"/>
          </a:xfrm>
          <a:prstGeom prst="rect">
            <a:avLst/>
          </a:prstGeom>
          <a:noFill/>
        </p:spPr>
        <p:txBody>
          <a:bodyPr wrap="square" rtlCol="0">
            <a:spAutoFit/>
          </a:bodyPr>
          <a:lstStyle/>
          <a:p>
            <a:pPr fontAlgn="base">
              <a:spcBef>
                <a:spcPct val="0"/>
              </a:spcBef>
              <a:spcAft>
                <a:spcPct val="0"/>
              </a:spcAft>
            </a:pPr>
            <a:r>
              <a:rPr lang="en-US" altLang="zh-TW" sz="2800" dirty="0">
                <a:solidFill>
                  <a:srgbClr val="FFFFFF">
                    <a:lumMod val="95000"/>
                  </a:srgbClr>
                </a:solidFill>
              </a:rPr>
              <a:t>The College of Science and Engineering is an incubator of engineering and technology professionals where students are trained in cutting edge scientific knowledge and technology.</a:t>
            </a:r>
            <a:endParaRPr lang="zh-TW" altLang="en-US" sz="2800" dirty="0">
              <a:solidFill>
                <a:srgbClr val="FFFFFF">
                  <a:lumMod val="95000"/>
                </a:srgbClr>
              </a:solidFill>
            </a:endParaRPr>
          </a:p>
        </p:txBody>
      </p:sp>
      <p:pic>
        <p:nvPicPr>
          <p:cNvPr id="17" name="圖片 16"/>
          <p:cNvPicPr>
            <a:picLocks noChangeAspect="1"/>
          </p:cNvPicPr>
          <p:nvPr/>
        </p:nvPicPr>
        <p:blipFill rotWithShape="1">
          <a:blip r:embed="rId4" cstate="print">
            <a:extLst>
              <a:ext uri="{28A0092B-C50C-407E-A947-70E740481C1C}">
                <a14:useLocalDpi xmlns:a14="http://schemas.microsoft.com/office/drawing/2010/main" val="0"/>
              </a:ext>
            </a:extLst>
          </a:blip>
          <a:srcRect l="299" t="15933" r="-299" b="27256"/>
          <a:stretch/>
        </p:blipFill>
        <p:spPr>
          <a:xfrm>
            <a:off x="1130677" y="4505565"/>
            <a:ext cx="4148032" cy="2030176"/>
          </a:xfrm>
          <a:prstGeom prst="rect">
            <a:avLst/>
          </a:prstGeom>
        </p:spPr>
      </p:pic>
      <p:pic>
        <p:nvPicPr>
          <p:cNvPr id="19" name="圖片 18"/>
          <p:cNvPicPr>
            <a:picLocks noChangeAspect="1"/>
          </p:cNvPicPr>
          <p:nvPr/>
        </p:nvPicPr>
        <p:blipFill rotWithShape="1">
          <a:blip r:embed="rId5">
            <a:extLst>
              <a:ext uri="{28A0092B-C50C-407E-A947-70E740481C1C}">
                <a14:useLocalDpi xmlns:a14="http://schemas.microsoft.com/office/drawing/2010/main" val="0"/>
              </a:ext>
            </a:extLst>
          </a:blip>
          <a:srcRect t="2772" b="20822"/>
          <a:stretch/>
        </p:blipFill>
        <p:spPr>
          <a:xfrm>
            <a:off x="4768229" y="4505565"/>
            <a:ext cx="4609079" cy="2059270"/>
          </a:xfrm>
          <a:prstGeom prst="rect">
            <a:avLst/>
          </a:prstGeom>
        </p:spPr>
      </p:pic>
      <p:pic>
        <p:nvPicPr>
          <p:cNvPr id="9" name="圖片 8"/>
          <p:cNvPicPr>
            <a:picLocks noChangeAspect="1"/>
          </p:cNvPicPr>
          <p:nvPr/>
        </p:nvPicPr>
        <p:blipFill rotWithShape="1">
          <a:blip r:embed="rId6">
            <a:extLst>
              <a:ext uri="{28A0092B-C50C-407E-A947-70E740481C1C}">
                <a14:useLocalDpi xmlns:a14="http://schemas.microsoft.com/office/drawing/2010/main" val="0"/>
              </a:ext>
            </a:extLst>
          </a:blip>
          <a:srcRect l="20264" r="17947"/>
          <a:stretch/>
        </p:blipFill>
        <p:spPr>
          <a:xfrm>
            <a:off x="8436928" y="3865065"/>
            <a:ext cx="3755072" cy="2707215"/>
          </a:xfrm>
          <a:prstGeom prst="rect">
            <a:avLst/>
          </a:prstGeom>
        </p:spPr>
      </p:pic>
    </p:spTree>
    <p:extLst>
      <p:ext uri="{BB962C8B-B14F-4D97-AF65-F5344CB8AC3E}">
        <p14:creationId xmlns:p14="http://schemas.microsoft.com/office/powerpoint/2010/main" val="683066294"/>
      </p:ext>
    </p:extLst>
  </p:cSld>
  <p:clrMapOvr>
    <a:masterClrMapping/>
  </p:clrMapOvr>
  <mc:AlternateContent xmlns:mc="http://schemas.openxmlformats.org/markup-compatibility/2006" xmlns:p14="http://schemas.microsoft.com/office/powerpoint/2010/main">
    <mc:Choice Requires="p14">
      <p:transition spd="slow" p14:dur="1200" advClick="0" advTm="9000">
        <p14:prism/>
      </p:transition>
    </mc:Choice>
    <mc:Fallback xmlns="">
      <p:transition spd="slow" advClick="0" advTm="900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5000" t="-13000" b="-13000"/>
          </a:stretch>
        </a:blipFill>
        <a:effectLst/>
      </p:bgPr>
    </p:bg>
    <p:spTree>
      <p:nvGrpSpPr>
        <p:cNvPr id="1" name=""/>
        <p:cNvGrpSpPr/>
        <p:nvPr/>
      </p:nvGrpSpPr>
      <p:grpSpPr>
        <a:xfrm>
          <a:off x="0" y="0"/>
          <a:ext cx="0" cy="0"/>
          <a:chOff x="0" y="0"/>
          <a:chExt cx="0" cy="0"/>
        </a:xfrm>
      </p:grpSpPr>
      <p:sp>
        <p:nvSpPr>
          <p:cNvPr id="2" name="向下箭號 1"/>
          <p:cNvSpPr/>
          <p:nvPr/>
        </p:nvSpPr>
        <p:spPr bwMode="auto">
          <a:xfrm flipV="1">
            <a:off x="316574" y="447675"/>
            <a:ext cx="943803" cy="5414987"/>
          </a:xfrm>
          <a:prstGeom prst="downArrow">
            <a:avLst/>
          </a:prstGeom>
          <a:solidFill>
            <a:schemeClr val="lt1">
              <a:alpha val="59000"/>
            </a:schemeClr>
          </a:solidFill>
          <a:ln>
            <a:noFill/>
            <a:headEnd type="none" w="med" len="med"/>
            <a:tailEnd type="none" w="med" len="med"/>
          </a:ln>
          <a:scene3d>
            <a:camera prst="orthographicFront"/>
            <a:lightRig rig="threePt" dir="t"/>
          </a:scene3d>
          <a:sp3d extrusionH="76200" contourW="12700">
            <a:extrusionClr>
              <a:schemeClr val="bg1"/>
            </a:extrusionClr>
            <a:contourClr>
              <a:schemeClr val="bg1"/>
            </a:contourClr>
          </a:sp3d>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17" name="矩形 16"/>
          <p:cNvSpPr/>
          <p:nvPr/>
        </p:nvSpPr>
        <p:spPr>
          <a:xfrm rot="16200000">
            <a:off x="-2173708" y="2694109"/>
            <a:ext cx="5908494" cy="415498"/>
          </a:xfrm>
          <a:prstGeom prst="rect">
            <a:avLst/>
          </a:prstGeom>
        </p:spPr>
        <p:txBody>
          <a:bodyPr wrap="square">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r>
              <a:rPr lang="en-US" altLang="zh-TW" sz="2000" b="1" dirty="0">
                <a:solidFill>
                  <a:srgbClr val="009999"/>
                </a:solidFill>
                <a:latin typeface="Verdana" panose="020B0604030504040204" pitchFamily="34" charset="0"/>
              </a:rPr>
              <a:t>College of Science and Engineering</a:t>
            </a:r>
            <a:endParaRPr lang="zh-TW" altLang="en-US" sz="2000" dirty="0">
              <a:solidFill>
                <a:srgbClr val="009999"/>
              </a:solidFill>
            </a:endParaRPr>
          </a:p>
          <a:p>
            <a:pPr eaLnBrk="1" fontAlgn="base" hangingPunct="1">
              <a:spcBef>
                <a:spcPct val="0"/>
              </a:spcBef>
              <a:spcAft>
                <a:spcPct val="0"/>
              </a:spcAft>
            </a:pPr>
            <a:endParaRPr lang="en-US" altLang="zh-TW" sz="100" b="1" dirty="0">
              <a:solidFill>
                <a:srgbClr val="009999"/>
              </a:solidFill>
              <a:latin typeface="Verdana" panose="020B0604030504040204" pitchFamily="34" charset="0"/>
              <a:ea typeface="新細明體" panose="02020500000000000000" pitchFamily="18" charset="-120"/>
            </a:endParaRPr>
          </a:p>
        </p:txBody>
      </p:sp>
      <p:sp>
        <p:nvSpPr>
          <p:cNvPr id="6" name="橢圓 5"/>
          <p:cNvSpPr/>
          <p:nvPr/>
        </p:nvSpPr>
        <p:spPr bwMode="auto">
          <a:xfrm>
            <a:off x="117986" y="5490469"/>
            <a:ext cx="1483862" cy="1367531"/>
          </a:xfrm>
          <a:prstGeom prst="ellipse">
            <a:avLst/>
          </a:prstGeom>
          <a:solidFill>
            <a:srgbClr val="009999"/>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graphicFrame>
        <p:nvGraphicFramePr>
          <p:cNvPr id="7" name="資料庫圖表 6"/>
          <p:cNvGraphicFramePr/>
          <p:nvPr>
            <p:extLst>
              <p:ext uri="{D42A27DB-BD31-4B8C-83A1-F6EECF244321}">
                <p14:modId xmlns:p14="http://schemas.microsoft.com/office/powerpoint/2010/main" val="1465914112"/>
              </p:ext>
            </p:extLst>
          </p:nvPr>
        </p:nvGraphicFramePr>
        <p:xfrm>
          <a:off x="1101776" y="1221568"/>
          <a:ext cx="10899724" cy="5418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4205102079"/>
      </p:ext>
    </p:extLst>
  </p:cSld>
  <p:clrMapOvr>
    <a:masterClrMapping/>
  </p:clrMapOvr>
  <mc:AlternateContent xmlns:mc="http://schemas.openxmlformats.org/markup-compatibility/2006" xmlns:p14="http://schemas.microsoft.com/office/powerpoint/2010/main">
    <mc:Choice Requires="p14">
      <p:transition spd="slow" p14:dur="2500" advClick="0" advTm="10000">
        <p:checker/>
      </p:transition>
    </mc:Choice>
    <mc:Fallback xmlns="">
      <p:transition spd="slow" advClick="0" advTm="10000">
        <p:checker/>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pic>
        <p:nvPicPr>
          <p:cNvPr id="12337" name="Picture 49" descr="card1"/>
          <p:cNvPicPr>
            <a:picLocks noChangeAspect="1" noChangeArrowheads="1"/>
          </p:cNvPicPr>
          <p:nvPr/>
        </p:nvPicPr>
        <p:blipFill>
          <a:blip r:embed="rId4"/>
          <a:srcRect/>
          <a:stretch>
            <a:fillRect/>
          </a:stretch>
        </p:blipFill>
        <p:spPr bwMode="auto">
          <a:xfrm>
            <a:off x="0" y="1"/>
            <a:ext cx="12192000" cy="6886575"/>
          </a:xfrm>
          <a:prstGeom prst="rect">
            <a:avLst/>
          </a:prstGeom>
          <a:noFill/>
          <a:effectLst>
            <a:outerShdw blurRad="254000" dist="35921" dir="2700000" algn="ctr" rotWithShape="0">
              <a:srgbClr val="808080">
                <a:alpha val="20000"/>
              </a:srgbClr>
            </a:outerShdw>
          </a:effectLst>
          <a:extLst>
            <a:ext uri="{909E8E84-426E-40DD-AFC4-6F175D3DCCD1}">
              <a14:hiddenFill xmlns:a14="http://schemas.microsoft.com/office/drawing/2010/main">
                <a:solidFill>
                  <a:srgbClr val="FFFFFF"/>
                </a:solidFill>
              </a14:hiddenFill>
            </a:ext>
          </a:extLst>
        </p:spPr>
      </p:pic>
      <p:pic>
        <p:nvPicPr>
          <p:cNvPr id="12338" name="Picture 50" descr="card2"/>
          <p:cNvPicPr>
            <a:picLocks noChangeAspect="1" noChangeArrowheads="1"/>
          </p:cNvPicPr>
          <p:nvPr/>
        </p:nvPicPr>
        <p:blipFill>
          <a:blip r:embed="rId5"/>
          <a:srcRect/>
          <a:stretch>
            <a:fillRect/>
          </a:stretch>
        </p:blipFill>
        <p:spPr bwMode="auto">
          <a:xfrm>
            <a:off x="0" y="1"/>
            <a:ext cx="12192000" cy="6886575"/>
          </a:xfrm>
          <a:prstGeom prst="rect">
            <a:avLst/>
          </a:prstGeom>
          <a:noFill/>
          <a:effectLst>
            <a:outerShdw blurRad="254000" dist="35921" dir="2700000" algn="ctr" rotWithShape="0">
              <a:srgbClr val="808080">
                <a:alpha val="20000"/>
              </a:srgbClr>
            </a:outerShdw>
          </a:effectLst>
          <a:extLst>
            <a:ext uri="{909E8E84-426E-40DD-AFC4-6F175D3DCCD1}">
              <a14:hiddenFill xmlns:a14="http://schemas.microsoft.com/office/drawing/2010/main">
                <a:solidFill>
                  <a:srgbClr val="FFFFFF"/>
                </a:solidFill>
              </a14:hiddenFill>
            </a:ext>
          </a:extLst>
        </p:spPr>
      </p:pic>
      <p:pic>
        <p:nvPicPr>
          <p:cNvPr id="12339" name="Picture 51" descr="card3"/>
          <p:cNvPicPr>
            <a:picLocks noChangeAspect="1" noChangeArrowheads="1"/>
          </p:cNvPicPr>
          <p:nvPr/>
        </p:nvPicPr>
        <p:blipFill>
          <a:blip r:embed="rId6"/>
          <a:srcRect/>
          <a:stretch>
            <a:fillRect/>
          </a:stretch>
        </p:blipFill>
        <p:spPr bwMode="auto">
          <a:xfrm>
            <a:off x="0" y="1"/>
            <a:ext cx="12192000" cy="6886575"/>
          </a:xfrm>
          <a:prstGeom prst="rect">
            <a:avLst/>
          </a:prstGeom>
          <a:noFill/>
          <a:effectLst>
            <a:outerShdw blurRad="254000" dist="35921" dir="2700000" algn="ctr" rotWithShape="0">
              <a:srgbClr val="808080">
                <a:alpha val="20000"/>
              </a:srgbClr>
            </a:outerShdw>
          </a:effectLst>
          <a:extLst>
            <a:ext uri="{909E8E84-426E-40DD-AFC4-6F175D3DCCD1}">
              <a14:hiddenFill xmlns:a14="http://schemas.microsoft.com/office/drawing/2010/main">
                <a:solidFill>
                  <a:srgbClr val="FFFFFF"/>
                </a:solidFill>
              </a14:hiddenFill>
            </a:ext>
          </a:extLst>
        </p:spPr>
      </p:pic>
      <p:pic>
        <p:nvPicPr>
          <p:cNvPr id="12335" name="Picture 47" descr="card5"/>
          <p:cNvPicPr>
            <a:picLocks noChangeAspect="1" noChangeArrowheads="1"/>
          </p:cNvPicPr>
          <p:nvPr/>
        </p:nvPicPr>
        <p:blipFill>
          <a:blip r:embed="rId7"/>
          <a:srcRect/>
          <a:stretch>
            <a:fillRect/>
          </a:stretch>
        </p:blipFill>
        <p:spPr bwMode="auto">
          <a:xfrm>
            <a:off x="0" y="1"/>
            <a:ext cx="12192000" cy="6886575"/>
          </a:xfrm>
          <a:prstGeom prst="rect">
            <a:avLst/>
          </a:prstGeom>
          <a:noFill/>
          <a:effectLst>
            <a:outerShdw blurRad="254000" dist="35921" dir="2700000" algn="ctr" rotWithShape="0">
              <a:srgbClr val="808080">
                <a:alpha val="20000"/>
              </a:srgbClr>
            </a:outerShdw>
          </a:effectLst>
          <a:extLst>
            <a:ext uri="{909E8E84-426E-40DD-AFC4-6F175D3DCCD1}">
              <a14:hiddenFill xmlns:a14="http://schemas.microsoft.com/office/drawing/2010/main">
                <a:solidFill>
                  <a:srgbClr val="FFFFFF"/>
                </a:solidFill>
              </a14:hiddenFill>
            </a:ext>
          </a:extLst>
        </p:spPr>
      </p:pic>
      <p:pic>
        <p:nvPicPr>
          <p:cNvPr id="12336" name="Picture 48" descr="card4"/>
          <p:cNvPicPr>
            <a:picLocks noChangeAspect="1" noChangeArrowheads="1"/>
          </p:cNvPicPr>
          <p:nvPr/>
        </p:nvPicPr>
        <p:blipFill>
          <a:blip r:embed="rId8"/>
          <a:srcRect/>
          <a:stretch>
            <a:fillRect/>
          </a:stretch>
        </p:blipFill>
        <p:spPr bwMode="auto">
          <a:xfrm>
            <a:off x="0" y="1"/>
            <a:ext cx="12192000" cy="6886575"/>
          </a:xfrm>
          <a:prstGeom prst="rect">
            <a:avLst/>
          </a:prstGeom>
          <a:noFill/>
          <a:effectLst>
            <a:outerShdw blurRad="254000" dist="35921" dir="2700000" algn="ctr" rotWithShape="0">
              <a:srgbClr val="808080">
                <a:alpha val="20000"/>
              </a:srgbClr>
            </a:outerShdw>
          </a:effectLst>
          <a:extLst>
            <a:ext uri="{909E8E84-426E-40DD-AFC4-6F175D3DCCD1}">
              <a14:hiddenFill xmlns:a14="http://schemas.microsoft.com/office/drawing/2010/main">
                <a:solidFill>
                  <a:srgbClr val="FFFFFF"/>
                </a:solidFill>
              </a14:hiddenFill>
            </a:ext>
          </a:extLst>
        </p:spPr>
      </p:pic>
      <p:sp>
        <p:nvSpPr>
          <p:cNvPr id="6154" name="AutoShape 57"/>
          <p:cNvSpPr>
            <a:spLocks noChangeArrowheads="1"/>
          </p:cNvSpPr>
          <p:nvPr/>
        </p:nvSpPr>
        <p:spPr bwMode="auto">
          <a:xfrm>
            <a:off x="704139" y="1447800"/>
            <a:ext cx="10826091" cy="4876800"/>
          </a:xfrm>
          <a:prstGeom prst="roundRect">
            <a:avLst>
              <a:gd name="adj" fmla="val 0"/>
            </a:avLst>
          </a:prstGeom>
          <a:blipFill>
            <a:blip r:embed="rId3"/>
            <a:stretch>
              <a:fillRect/>
            </a:stretch>
          </a:blipFill>
          <a:ln>
            <a:noFill/>
          </a:ln>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endParaRPr lang="zh-TW" altLang="en-US" sz="1400">
              <a:solidFill>
                <a:srgbClr val="333333"/>
              </a:solidFill>
              <a:ea typeface="新細明體" panose="02020500000000000000" pitchFamily="18" charset="-120"/>
            </a:endParaRPr>
          </a:p>
        </p:txBody>
      </p:sp>
      <p:sp>
        <p:nvSpPr>
          <p:cNvPr id="17" name="矩形 16"/>
          <p:cNvSpPr/>
          <p:nvPr/>
        </p:nvSpPr>
        <p:spPr>
          <a:xfrm>
            <a:off x="1358405" y="1590977"/>
            <a:ext cx="8318482" cy="646331"/>
          </a:xfrm>
          <a:prstGeom prst="rect">
            <a:avLst/>
          </a:prstGeom>
        </p:spPr>
        <p:txBody>
          <a:bodyPr wrap="square">
            <a:spAutoFit/>
          </a:bodyPr>
          <a:lstStyle/>
          <a:p>
            <a:pPr fontAlgn="base">
              <a:spcBef>
                <a:spcPct val="0"/>
              </a:spcBef>
              <a:spcAft>
                <a:spcPct val="0"/>
              </a:spcAft>
            </a:pPr>
            <a:r>
              <a:rPr lang="en-US" altLang="zh-TW" sz="3600" b="1" dirty="0">
                <a:solidFill>
                  <a:srgbClr val="333333">
                    <a:lumMod val="65000"/>
                    <a:lumOff val="35000"/>
                  </a:srgbClr>
                </a:solidFill>
                <a:latin typeface="Verdana" panose="020B0604030504040204" pitchFamily="34" charset="0"/>
              </a:rPr>
              <a:t>College of Life Sciences</a:t>
            </a:r>
            <a:endParaRPr lang="zh-TW" altLang="en-US" sz="3600" dirty="0">
              <a:solidFill>
                <a:srgbClr val="333333">
                  <a:lumMod val="65000"/>
                  <a:lumOff val="35000"/>
                </a:srgbClr>
              </a:solidFill>
            </a:endParaRPr>
          </a:p>
        </p:txBody>
      </p:sp>
      <p:sp>
        <p:nvSpPr>
          <p:cNvPr id="18" name="文字方塊 17"/>
          <p:cNvSpPr txBox="1"/>
          <p:nvPr/>
        </p:nvSpPr>
        <p:spPr>
          <a:xfrm>
            <a:off x="1089331" y="2568631"/>
            <a:ext cx="10634485" cy="2308324"/>
          </a:xfrm>
          <a:prstGeom prst="rect">
            <a:avLst/>
          </a:prstGeom>
          <a:noFill/>
        </p:spPr>
        <p:txBody>
          <a:bodyPr wrap="square" rtlCol="0">
            <a:spAutoFit/>
          </a:bodyPr>
          <a:lstStyle/>
          <a:p>
            <a:pPr fontAlgn="base">
              <a:spcBef>
                <a:spcPct val="0"/>
              </a:spcBef>
              <a:spcAft>
                <a:spcPct val="0"/>
              </a:spcAft>
            </a:pPr>
            <a:r>
              <a:rPr lang="en-US" altLang="zh-TW" sz="2400" dirty="0">
                <a:solidFill>
                  <a:srgbClr val="333333"/>
                </a:solidFill>
              </a:rPr>
              <a:t>The College seeks a harmonious relationship between scientific advancement and diversified biological development through engaging in cutting-edge research based on innovative biotechnology and modernized educational concepts. The ultimate goal of the College is to pursue both extraordinary practical and academic research abilities.</a:t>
            </a:r>
            <a:endParaRPr lang="zh-TW" altLang="zh-TW" sz="2400" dirty="0">
              <a:solidFill>
                <a:srgbClr val="333333"/>
              </a:solidFill>
            </a:endParaRPr>
          </a:p>
          <a:p>
            <a:pPr fontAlgn="base">
              <a:spcBef>
                <a:spcPct val="0"/>
              </a:spcBef>
              <a:spcAft>
                <a:spcPct val="0"/>
              </a:spcAft>
            </a:pPr>
            <a:endParaRPr lang="zh-TW" altLang="en-US" sz="2400" dirty="0">
              <a:solidFill>
                <a:srgbClr val="333333"/>
              </a:solidFill>
            </a:endParaRPr>
          </a:p>
        </p:txBody>
      </p:sp>
      <p:pic>
        <p:nvPicPr>
          <p:cNvPr id="19" name="圖片 18"/>
          <p:cNvPicPr>
            <a:picLocks noChangeAspect="1"/>
          </p:cNvPicPr>
          <p:nvPr/>
        </p:nvPicPr>
        <p:blipFill rotWithShape="1">
          <a:blip r:embed="rId9" cstate="print">
            <a:extLst>
              <a:ext uri="{28A0092B-C50C-407E-A947-70E740481C1C}">
                <a14:useLocalDpi xmlns:a14="http://schemas.microsoft.com/office/drawing/2010/main" val="0"/>
              </a:ext>
            </a:extLst>
          </a:blip>
          <a:srcRect l="10448" t="18441" r="950" b="13022"/>
          <a:stretch/>
        </p:blipFill>
        <p:spPr>
          <a:xfrm>
            <a:off x="691509" y="4665785"/>
            <a:ext cx="5384179" cy="1658815"/>
          </a:xfrm>
          <a:prstGeom prst="rect">
            <a:avLst/>
          </a:prstGeom>
        </p:spPr>
      </p:pic>
      <p:pic>
        <p:nvPicPr>
          <p:cNvPr id="20" name="圖片 19"/>
          <p:cNvPicPr>
            <a:picLocks noChangeAspect="1"/>
          </p:cNvPicPr>
          <p:nvPr/>
        </p:nvPicPr>
        <p:blipFill rotWithShape="1">
          <a:blip r:embed="rId10">
            <a:extLst>
              <a:ext uri="{28A0092B-C50C-407E-A947-70E740481C1C}">
                <a14:useLocalDpi xmlns:a14="http://schemas.microsoft.com/office/drawing/2010/main" val="0"/>
              </a:ext>
            </a:extLst>
          </a:blip>
          <a:srcRect l="860" t="21195" r="1290" b="21634"/>
          <a:stretch/>
        </p:blipFill>
        <p:spPr>
          <a:xfrm>
            <a:off x="6075688" y="4665785"/>
            <a:ext cx="5454542" cy="1671249"/>
          </a:xfrm>
          <a:prstGeom prst="rect">
            <a:avLst/>
          </a:prstGeom>
        </p:spPr>
      </p:pic>
      <p:sp>
        <p:nvSpPr>
          <p:cNvPr id="14" name="橢圓 13"/>
          <p:cNvSpPr/>
          <p:nvPr/>
        </p:nvSpPr>
        <p:spPr bwMode="auto">
          <a:xfrm rot="5400000">
            <a:off x="786705" y="1659703"/>
            <a:ext cx="756226" cy="590155"/>
          </a:xfrm>
          <a:prstGeom prst="ellipse">
            <a:avLst/>
          </a:prstGeom>
          <a:solidFill>
            <a:schemeClr val="accent6">
              <a:lumMod val="75000"/>
            </a:schemeClr>
          </a:solidFill>
          <a:ln w="34925" cap="flat" cmpd="sng" algn="ctr">
            <a:solidFill>
              <a:srgbClr val="FFFFFF"/>
            </a:solidFill>
            <a:prstDash val="solid"/>
            <a:round/>
            <a:headEnd type="none" w="med" len="med"/>
            <a:tailEnd type="none" w="med" len="med"/>
          </a:ln>
          <a:effectLst>
            <a:outerShdw blurRad="317500" dir="2700000" algn="ctr">
              <a:srgbClr val="000000">
                <a:alpha val="43000"/>
              </a:srgb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Tree>
    <p:extLst>
      <p:ext uri="{BB962C8B-B14F-4D97-AF65-F5344CB8AC3E}">
        <p14:creationId xmlns:p14="http://schemas.microsoft.com/office/powerpoint/2010/main" val="1406358144"/>
      </p:ext>
    </p:extLst>
  </p:cSld>
  <p:clrMapOvr>
    <a:masterClrMapping/>
  </p:clrMapOvr>
  <mc:AlternateContent xmlns:mc="http://schemas.openxmlformats.org/markup-compatibility/2006" xmlns:p14="http://schemas.microsoft.com/office/powerpoint/2010/main">
    <mc:Choice Requires="p14">
      <p:transition spd="med" p14:dur="700" advClick="0" advTm="15000">
        <p:fade/>
      </p:transition>
    </mc:Choice>
    <mc:Fallback xmlns="">
      <p:transition spd="med" advClick="0" advTm="15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4" cstate="print">
            <a:lum/>
          </a:blip>
          <a:srcRect/>
          <a:stretch>
            <a:fillRect t="-16000" b="-16000"/>
          </a:stretch>
        </a:blipFill>
        <a:effectLst/>
      </p:bgPr>
    </p:bg>
    <p:spTree>
      <p:nvGrpSpPr>
        <p:cNvPr id="1" name=""/>
        <p:cNvGrpSpPr/>
        <p:nvPr/>
      </p:nvGrpSpPr>
      <p:grpSpPr>
        <a:xfrm>
          <a:off x="0" y="0"/>
          <a:ext cx="0" cy="0"/>
          <a:chOff x="0" y="0"/>
          <a:chExt cx="0" cy="0"/>
        </a:xfrm>
      </p:grpSpPr>
      <p:pic>
        <p:nvPicPr>
          <p:cNvPr id="15" name="圖片版面配置區 14"/>
          <p:cNvPicPr>
            <a:picLocks noGrp="1" noChangeAspect="1"/>
          </p:cNvPicPr>
          <p:nvPr>
            <p:ph type="pic" sz="quarter" idx="13"/>
          </p:nvPr>
        </p:nvPicPr>
        <p:blipFill>
          <a:blip r:embed="rId4" cstate="print"/>
          <a:stretch>
            <a:fillRect/>
          </a:stretch>
        </p:blipFill>
        <p:spPr>
          <a:xfrm>
            <a:off x="868680" y="592392"/>
            <a:ext cx="9866376" cy="2286000"/>
          </a:xfrm>
        </p:spPr>
      </p:pic>
      <p:pic>
        <p:nvPicPr>
          <p:cNvPr id="12" name="圖片版面配置區 11"/>
          <p:cNvPicPr>
            <a:picLocks noGrp="1" noChangeAspect="1"/>
          </p:cNvPicPr>
          <p:nvPr>
            <p:ph type="pic" sz="quarter" idx="15"/>
          </p:nvPr>
        </p:nvPicPr>
        <p:blipFill>
          <a:blip r:embed="rId5" cstate="print">
            <a:extLst>
              <a:ext uri="{28A0092B-C50C-407E-A947-70E740481C1C}">
                <a14:useLocalDpi xmlns:a14="http://schemas.microsoft.com/office/drawing/2010/main" val="0"/>
              </a:ext>
            </a:extLst>
          </a:blip>
          <a:srcRect t="862" b="862"/>
          <a:stretch>
            <a:fillRect/>
          </a:stretch>
        </p:blipFill>
        <p:spPr>
          <a:xfrm>
            <a:off x="4259775" y="3352800"/>
            <a:ext cx="3048000" cy="2286000"/>
          </a:xfrm>
        </p:spPr>
      </p:pic>
      <p:sp>
        <p:nvSpPr>
          <p:cNvPr id="2" name="標題 1"/>
          <p:cNvSpPr>
            <a:spLocks noGrp="1"/>
          </p:cNvSpPr>
          <p:nvPr>
            <p:ph type="ctrTitle" idx="4294967295"/>
          </p:nvPr>
        </p:nvSpPr>
        <p:spPr>
          <a:xfrm>
            <a:off x="1206735" y="63246"/>
            <a:ext cx="9528321" cy="2276475"/>
          </a:xfrm>
          <a:ln>
            <a:noFill/>
          </a:ln>
        </p:spPr>
        <p:txBody>
          <a:bodyPr>
            <a:normAutofit/>
          </a:bodyPr>
          <a:lstStyle/>
          <a:p>
            <a:r>
              <a:rPr lang="en-US" altLang="zh-TW" sz="3200" dirty="0">
                <a:solidFill>
                  <a:schemeClr val="tx1"/>
                </a:solidFill>
                <a:latin typeface="Arial Unicode MS" pitchFamily="34" charset="-120"/>
                <a:ea typeface="Arial Unicode MS" pitchFamily="34" charset="-120"/>
                <a:cs typeface="Arial Unicode MS" pitchFamily="34" charset="-120"/>
              </a:rPr>
              <a:t>Taiwan is an island with 36,000 square kilometers of total land area and 23 millions of population.</a:t>
            </a:r>
            <a:endParaRPr lang="zh-TW" altLang="en-US" sz="3200" dirty="0">
              <a:solidFill>
                <a:schemeClr val="tx1"/>
              </a:solidFill>
              <a:latin typeface="Arial Unicode MS" pitchFamily="34" charset="-120"/>
              <a:ea typeface="Arial Unicode MS" pitchFamily="34" charset="-120"/>
              <a:cs typeface="Arial Unicode MS" pitchFamily="34" charset="-120"/>
            </a:endParaRPr>
          </a:p>
        </p:txBody>
      </p:sp>
      <p:pic>
        <p:nvPicPr>
          <p:cNvPr id="7" name="圖片版面配置區 11"/>
          <p:cNvPicPr>
            <a:picLocks noChangeAspect="1"/>
          </p:cNvPicPr>
          <p:nvPr/>
        </p:nvPicPr>
        <p:blipFill>
          <a:blip r:embed="rId6" cstate="print"/>
          <a:stretch>
            <a:fillRect/>
          </a:stretch>
        </p:blipFill>
        <p:spPr>
          <a:xfrm>
            <a:off x="7640007" y="3356992"/>
            <a:ext cx="3048000" cy="2266568"/>
          </a:xfrm>
          <a:prstGeom prst="rect">
            <a:avLst/>
          </a:prstGeom>
          <a:solidFill>
            <a:srgbClr val="F0F0F0"/>
          </a:solidFill>
          <a:ln w="57150">
            <a:solidFill>
              <a:schemeClr val="bg1"/>
            </a:solidFill>
          </a:ln>
          <a:effectLst>
            <a:outerShdw dist="38100" dir="2700000" algn="tl" rotWithShape="0">
              <a:prstClr val="black">
                <a:alpha val="17000"/>
              </a:prstClr>
            </a:outerShdw>
          </a:effectLst>
        </p:spPr>
      </p:pic>
      <p:pic>
        <p:nvPicPr>
          <p:cNvPr id="5" name="圖片版面配置區 4"/>
          <p:cNvPicPr>
            <a:picLocks noGrp="1" noChangeAspect="1"/>
          </p:cNvPicPr>
          <p:nvPr>
            <p:ph type="pic" sz="quarter" idx="14"/>
          </p:nvPr>
        </p:nvPicPr>
        <p:blipFill>
          <a:blip r:embed="rId7">
            <a:extLst>
              <a:ext uri="{28A0092B-C50C-407E-A947-70E740481C1C}">
                <a14:useLocalDpi xmlns:a14="http://schemas.microsoft.com/office/drawing/2010/main" val="0"/>
              </a:ext>
            </a:extLst>
          </a:blip>
          <a:srcRect l="6022" r="6022"/>
          <a:stretch>
            <a:fillRect/>
          </a:stretch>
        </p:blipFill>
        <p:spPr/>
      </p:pic>
      <p:pic>
        <p:nvPicPr>
          <p:cNvPr id="3" name="音訊 2">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366500" y="6032500"/>
            <a:ext cx="609600" cy="609600"/>
          </a:xfrm>
          <a:prstGeom prst="rect">
            <a:avLst/>
          </a:prstGeom>
        </p:spPr>
      </p:pic>
    </p:spTree>
    <p:extLst>
      <p:ext uri="{BB962C8B-B14F-4D97-AF65-F5344CB8AC3E}">
        <p14:creationId xmlns:p14="http://schemas.microsoft.com/office/powerpoint/2010/main" val="3880711585"/>
      </p:ext>
    </p:extLst>
  </p:cSld>
  <p:clrMapOvr>
    <a:masterClrMapping/>
  </p:clrMapOvr>
  <mc:AlternateContent xmlns:mc="http://schemas.openxmlformats.org/markup-compatibility/2006" xmlns:p14="http://schemas.microsoft.com/office/powerpoint/2010/main">
    <mc:Choice Requires="p14">
      <p:transition spd="slow" p14:dur="1600" advClick="0" advTm="6170">
        <p14:prism isInverted="1"/>
      </p:transition>
    </mc:Choice>
    <mc:Fallback xmlns="">
      <p:transition spd="slow" advClick="0" advTm="617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3"/>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blipFill>
          <a:blip r:embed="rId3"/>
          <a:stretch>
            <a:fillRect/>
          </a:stretch>
        </a:blipFill>
        <a:effectLst/>
      </p:bgPr>
    </p:bg>
    <p:spTree>
      <p:nvGrpSpPr>
        <p:cNvPr id="1" name=""/>
        <p:cNvGrpSpPr/>
        <p:nvPr/>
      </p:nvGrpSpPr>
      <p:grpSpPr>
        <a:xfrm>
          <a:off x="0" y="0"/>
          <a:ext cx="0" cy="0"/>
          <a:chOff x="0" y="0"/>
          <a:chExt cx="0" cy="0"/>
        </a:xfrm>
      </p:grpSpPr>
      <p:pic>
        <p:nvPicPr>
          <p:cNvPr id="32779" name="Picture 11" descr="card1"/>
          <p:cNvPicPr>
            <a:picLocks noChangeAspect="1" noChangeArrowheads="1"/>
          </p:cNvPicPr>
          <p:nvPr/>
        </p:nvPicPr>
        <p:blipFill>
          <a:blip r:embed="rId4"/>
          <a:srcRect/>
          <a:stretch>
            <a:fillRect/>
          </a:stretch>
        </p:blipFill>
        <p:spPr bwMode="auto">
          <a:xfrm>
            <a:off x="0" y="1"/>
            <a:ext cx="12192000" cy="6886575"/>
          </a:xfrm>
          <a:prstGeom prst="rect">
            <a:avLst/>
          </a:prstGeom>
          <a:noFill/>
          <a:effectLst>
            <a:outerShdw blurRad="254000" dist="35921" dir="2700000" algn="ctr" rotWithShape="0">
              <a:srgbClr val="808080">
                <a:alpha val="20000"/>
              </a:srgbClr>
            </a:outerShdw>
          </a:effectLst>
          <a:extLst>
            <a:ext uri="{909E8E84-426E-40DD-AFC4-6F175D3DCCD1}">
              <a14:hiddenFill xmlns:a14="http://schemas.microsoft.com/office/drawing/2010/main">
                <a:solidFill>
                  <a:srgbClr val="FFFFFF"/>
                </a:solidFill>
              </a14:hiddenFill>
            </a:ext>
          </a:extLst>
        </p:spPr>
      </p:pic>
      <p:pic>
        <p:nvPicPr>
          <p:cNvPr id="32781" name="Picture 13" descr="card2"/>
          <p:cNvPicPr>
            <a:picLocks noChangeAspect="1" noChangeArrowheads="1"/>
          </p:cNvPicPr>
          <p:nvPr/>
        </p:nvPicPr>
        <p:blipFill>
          <a:blip r:embed="rId5"/>
          <a:srcRect/>
          <a:stretch>
            <a:fillRect/>
          </a:stretch>
        </p:blipFill>
        <p:spPr bwMode="auto">
          <a:xfrm>
            <a:off x="0" y="1"/>
            <a:ext cx="12192000" cy="6886575"/>
          </a:xfrm>
          <a:prstGeom prst="rect">
            <a:avLst/>
          </a:prstGeom>
          <a:noFill/>
          <a:effectLst>
            <a:outerShdw blurRad="254000" dist="35921" dir="2700000" algn="ctr" rotWithShape="0">
              <a:srgbClr val="808080">
                <a:alpha val="20000"/>
              </a:srgbClr>
            </a:outerShdw>
          </a:effectLst>
          <a:extLst>
            <a:ext uri="{909E8E84-426E-40DD-AFC4-6F175D3DCCD1}">
              <a14:hiddenFill xmlns:a14="http://schemas.microsoft.com/office/drawing/2010/main">
                <a:solidFill>
                  <a:srgbClr val="FFFFFF"/>
                </a:solidFill>
              </a14:hiddenFill>
            </a:ext>
          </a:extLst>
        </p:spPr>
      </p:pic>
      <p:pic>
        <p:nvPicPr>
          <p:cNvPr id="32783" name="Picture 15" descr="card3"/>
          <p:cNvPicPr>
            <a:picLocks noChangeAspect="1" noChangeArrowheads="1"/>
          </p:cNvPicPr>
          <p:nvPr/>
        </p:nvPicPr>
        <p:blipFill>
          <a:blip r:embed="rId6"/>
          <a:srcRect/>
          <a:stretch>
            <a:fillRect/>
          </a:stretch>
        </p:blipFill>
        <p:spPr bwMode="auto">
          <a:xfrm>
            <a:off x="0" y="1"/>
            <a:ext cx="12192000" cy="6886575"/>
          </a:xfrm>
          <a:prstGeom prst="rect">
            <a:avLst/>
          </a:prstGeom>
          <a:noFill/>
          <a:effectLst>
            <a:outerShdw blurRad="254000" dist="35921" dir="2700000" algn="ctr" rotWithShape="0">
              <a:srgbClr val="808080">
                <a:alpha val="20000"/>
              </a:srgbClr>
            </a:outerShdw>
          </a:effectLst>
          <a:extLst>
            <a:ext uri="{909E8E84-426E-40DD-AFC4-6F175D3DCCD1}">
              <a14:hiddenFill xmlns:a14="http://schemas.microsoft.com/office/drawing/2010/main">
                <a:solidFill>
                  <a:srgbClr val="FFFFFF"/>
                </a:solidFill>
              </a14:hiddenFill>
            </a:ext>
          </a:extLst>
        </p:spPr>
      </p:pic>
      <p:pic>
        <p:nvPicPr>
          <p:cNvPr id="32786" name="Picture 18" descr="card4"/>
          <p:cNvPicPr>
            <a:picLocks noChangeAspect="1" noChangeArrowheads="1"/>
          </p:cNvPicPr>
          <p:nvPr/>
        </p:nvPicPr>
        <p:blipFill>
          <a:blip r:embed="rId7"/>
          <a:srcRect/>
          <a:stretch>
            <a:fillRect/>
          </a:stretch>
        </p:blipFill>
        <p:spPr bwMode="auto">
          <a:xfrm>
            <a:off x="0" y="1"/>
            <a:ext cx="12192000" cy="6886575"/>
          </a:xfrm>
          <a:prstGeom prst="rect">
            <a:avLst/>
          </a:prstGeom>
          <a:noFill/>
          <a:effectLst>
            <a:outerShdw blurRad="254000" dist="35921" dir="2700000" algn="ctr" rotWithShape="0">
              <a:srgbClr val="808080">
                <a:alpha val="20000"/>
              </a:srgbClr>
            </a:outerShdw>
          </a:effectLst>
          <a:extLst>
            <a:ext uri="{909E8E84-426E-40DD-AFC4-6F175D3DCCD1}">
              <a14:hiddenFill xmlns:a14="http://schemas.microsoft.com/office/drawing/2010/main">
                <a:solidFill>
                  <a:srgbClr val="FFFFFF"/>
                </a:solidFill>
              </a14:hiddenFill>
            </a:ext>
          </a:extLst>
        </p:spPr>
      </p:pic>
      <p:pic>
        <p:nvPicPr>
          <p:cNvPr id="32785" name="Picture 17" descr="card5"/>
          <p:cNvPicPr>
            <a:picLocks noChangeAspect="1" noChangeArrowheads="1"/>
          </p:cNvPicPr>
          <p:nvPr/>
        </p:nvPicPr>
        <p:blipFill>
          <a:blip r:embed="rId8"/>
          <a:srcRect/>
          <a:stretch>
            <a:fillRect/>
          </a:stretch>
        </p:blipFill>
        <p:spPr bwMode="auto">
          <a:xfrm>
            <a:off x="0" y="1"/>
            <a:ext cx="12192000" cy="6886575"/>
          </a:xfrm>
          <a:prstGeom prst="rect">
            <a:avLst/>
          </a:prstGeom>
          <a:noFill/>
          <a:effectLst>
            <a:outerShdw blurRad="254000" dist="35921" dir="2700000" algn="ctr" rotWithShape="0">
              <a:srgbClr val="808080">
                <a:alpha val="20000"/>
              </a:srgbClr>
            </a:outerShdw>
          </a:effectLst>
          <a:extLst>
            <a:ext uri="{909E8E84-426E-40DD-AFC4-6F175D3DCCD1}">
              <a14:hiddenFill xmlns:a14="http://schemas.microsoft.com/office/drawing/2010/main">
                <a:solidFill>
                  <a:srgbClr val="FFFFFF"/>
                </a:solidFill>
              </a14:hiddenFill>
            </a:ext>
          </a:extLst>
        </p:spPr>
      </p:pic>
      <p:sp>
        <p:nvSpPr>
          <p:cNvPr id="7180" name="AutoShape 33"/>
          <p:cNvSpPr>
            <a:spLocks noChangeArrowheads="1"/>
          </p:cNvSpPr>
          <p:nvPr/>
        </p:nvSpPr>
        <p:spPr bwMode="auto">
          <a:xfrm>
            <a:off x="704139" y="1447800"/>
            <a:ext cx="10826091" cy="4876800"/>
          </a:xfrm>
          <a:prstGeom prst="roundRect">
            <a:avLst>
              <a:gd name="adj" fmla="val 0"/>
            </a:avLst>
          </a:prstGeom>
          <a:blipFill>
            <a:blip r:embed="rId3"/>
            <a:stretch>
              <a:fillRect/>
            </a:stretch>
          </a:blipFill>
          <a:ln>
            <a:noFill/>
          </a:ln>
          <a:effec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pPr>
            <a:endParaRPr lang="zh-TW" altLang="en-US">
              <a:solidFill>
                <a:srgbClr val="333333"/>
              </a:solidFill>
              <a:ea typeface="新細明體" panose="02020500000000000000" pitchFamily="18" charset="-120"/>
            </a:endParaRPr>
          </a:p>
        </p:txBody>
      </p:sp>
      <p:sp>
        <p:nvSpPr>
          <p:cNvPr id="21" name="文字方塊 20"/>
          <p:cNvSpPr txBox="1"/>
          <p:nvPr/>
        </p:nvSpPr>
        <p:spPr>
          <a:xfrm>
            <a:off x="1666513" y="2264287"/>
            <a:ext cx="10494646" cy="2308324"/>
          </a:xfrm>
          <a:prstGeom prst="rect">
            <a:avLst/>
          </a:prstGeom>
          <a:noFill/>
        </p:spPr>
        <p:txBody>
          <a:bodyPr wrap="square" rtlCol="0">
            <a:spAutoFit/>
          </a:bodyPr>
          <a:lstStyle/>
          <a:p>
            <a:pPr fontAlgn="base">
              <a:spcBef>
                <a:spcPct val="0"/>
              </a:spcBef>
              <a:spcAft>
                <a:spcPct val="0"/>
              </a:spcAft>
            </a:pPr>
            <a:r>
              <a:rPr lang="en-US" altLang="zh-TW" sz="2400" dirty="0">
                <a:solidFill>
                  <a:srgbClr val="333333"/>
                </a:solidFill>
              </a:rPr>
              <a:t>Department of Food Science</a:t>
            </a:r>
            <a:endParaRPr lang="zh-TW" altLang="zh-TW" sz="2400" dirty="0">
              <a:solidFill>
                <a:srgbClr val="333333"/>
              </a:solidFill>
            </a:endParaRPr>
          </a:p>
          <a:p>
            <a:pPr fontAlgn="base">
              <a:spcBef>
                <a:spcPct val="0"/>
              </a:spcBef>
              <a:spcAft>
                <a:spcPct val="0"/>
              </a:spcAft>
            </a:pPr>
            <a:r>
              <a:rPr lang="en-US" altLang="zh-TW" sz="2400" dirty="0">
                <a:solidFill>
                  <a:srgbClr val="333333"/>
                </a:solidFill>
              </a:rPr>
              <a:t>Department of Aquatic Biosciences</a:t>
            </a:r>
            <a:endParaRPr lang="zh-TW" altLang="zh-TW" sz="2400" dirty="0">
              <a:solidFill>
                <a:srgbClr val="333333"/>
              </a:solidFill>
            </a:endParaRPr>
          </a:p>
          <a:p>
            <a:pPr fontAlgn="base">
              <a:spcBef>
                <a:spcPct val="0"/>
              </a:spcBef>
              <a:spcAft>
                <a:spcPct val="0"/>
              </a:spcAft>
            </a:pPr>
            <a:r>
              <a:rPr lang="en-US" altLang="zh-TW" sz="2400" dirty="0">
                <a:solidFill>
                  <a:srgbClr val="333333"/>
                </a:solidFill>
              </a:rPr>
              <a:t>Department of Biological Resources</a:t>
            </a:r>
            <a:endParaRPr lang="zh-TW" altLang="zh-TW" sz="2400" dirty="0">
              <a:solidFill>
                <a:srgbClr val="333333"/>
              </a:solidFill>
            </a:endParaRPr>
          </a:p>
          <a:p>
            <a:pPr fontAlgn="base">
              <a:spcBef>
                <a:spcPct val="0"/>
              </a:spcBef>
              <a:spcAft>
                <a:spcPct val="0"/>
              </a:spcAft>
            </a:pPr>
            <a:r>
              <a:rPr lang="en-US" altLang="zh-TW" sz="2400" dirty="0">
                <a:solidFill>
                  <a:srgbClr val="333333"/>
                </a:solidFill>
              </a:rPr>
              <a:t>Department of Biochemical Science and Technology</a:t>
            </a:r>
            <a:endParaRPr lang="zh-TW" altLang="zh-TW" sz="2400" dirty="0">
              <a:solidFill>
                <a:srgbClr val="333333"/>
              </a:solidFill>
            </a:endParaRPr>
          </a:p>
          <a:p>
            <a:pPr fontAlgn="base">
              <a:spcBef>
                <a:spcPct val="0"/>
              </a:spcBef>
              <a:spcAft>
                <a:spcPct val="0"/>
              </a:spcAft>
            </a:pPr>
            <a:r>
              <a:rPr lang="en-US" altLang="zh-TW" sz="2400" dirty="0">
                <a:solidFill>
                  <a:srgbClr val="333333"/>
                </a:solidFill>
              </a:rPr>
              <a:t>Department of Microbiology, Immunology and Biopharmaceuticals</a:t>
            </a:r>
            <a:endParaRPr lang="zh-TW" altLang="zh-TW" sz="2400" dirty="0">
              <a:solidFill>
                <a:srgbClr val="333333"/>
              </a:solidFill>
            </a:endParaRPr>
          </a:p>
          <a:p>
            <a:pPr fontAlgn="base">
              <a:spcBef>
                <a:spcPct val="0"/>
              </a:spcBef>
              <a:spcAft>
                <a:spcPct val="0"/>
              </a:spcAft>
            </a:pPr>
            <a:r>
              <a:rPr lang="en-US" altLang="zh-TW" sz="2400" dirty="0">
                <a:solidFill>
                  <a:srgbClr val="333333"/>
                </a:solidFill>
              </a:rPr>
              <a:t>Global Master Program of Life Sciences</a:t>
            </a:r>
            <a:endParaRPr lang="zh-TW" altLang="en-US" sz="2400" dirty="0">
              <a:solidFill>
                <a:srgbClr val="333333"/>
              </a:solidFill>
            </a:endParaRPr>
          </a:p>
        </p:txBody>
      </p:sp>
      <p:pic>
        <p:nvPicPr>
          <p:cNvPr id="22" name="圖片 2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04138" y="4632127"/>
            <a:ext cx="3781246" cy="1859206"/>
          </a:xfrm>
          <a:prstGeom prst="rect">
            <a:avLst/>
          </a:prstGeom>
        </p:spPr>
      </p:pic>
      <p:pic>
        <p:nvPicPr>
          <p:cNvPr id="23" name="圖片 2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756179" y="4638719"/>
            <a:ext cx="3774052" cy="1838326"/>
          </a:xfrm>
          <a:prstGeom prst="rect">
            <a:avLst/>
          </a:prstGeom>
        </p:spPr>
      </p:pic>
      <p:pic>
        <p:nvPicPr>
          <p:cNvPr id="24" name="圖片 2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485387" y="4632127"/>
            <a:ext cx="3270792" cy="1852612"/>
          </a:xfrm>
          <a:prstGeom prst="rect">
            <a:avLst/>
          </a:prstGeom>
        </p:spPr>
      </p:pic>
      <p:sp>
        <p:nvSpPr>
          <p:cNvPr id="13" name="橢圓 12"/>
          <p:cNvSpPr/>
          <p:nvPr/>
        </p:nvSpPr>
        <p:spPr bwMode="auto">
          <a:xfrm rot="5400000">
            <a:off x="853918" y="1478604"/>
            <a:ext cx="919357" cy="871759"/>
          </a:xfrm>
          <a:prstGeom prst="ellipse">
            <a:avLst/>
          </a:prstGeom>
          <a:solidFill>
            <a:schemeClr val="accent6">
              <a:lumMod val="75000"/>
              <a:alpha val="98824"/>
            </a:schemeClr>
          </a:solidFill>
          <a:ln w="34925" cap="flat" cmpd="sng" algn="ctr">
            <a:solidFill>
              <a:srgbClr val="FFFFFF"/>
            </a:solidFill>
            <a:prstDash val="solid"/>
            <a:round/>
            <a:headEnd type="none" w="med" len="med"/>
            <a:tailEnd type="none" w="med" len="med"/>
          </a:ln>
          <a:effectLst>
            <a:outerShdw blurRad="50800" dist="38100" dir="8100000" algn="tr" rotWithShape="0">
              <a:prstClr val="black">
                <a:alpha val="40000"/>
              </a:prstClr>
            </a:outerShdw>
          </a:effectLst>
          <a:scene3d>
            <a:camera prst="perspectiveFront" fov="2700000">
              <a:rot lat="19086000" lon="19067999" rev="3108000"/>
            </a:camera>
            <a:lightRig rig="threePt" dir="t">
              <a:rot lat="0" lon="0" rev="0"/>
            </a:lightRig>
          </a:scene3d>
          <a:sp3d extrusionH="38100" prstMaterial="clear">
            <a:bevelT w="260350" h="50800" prst="softRound"/>
            <a:bevelB prst="softRound"/>
          </a:sp3d>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grpSp>
        <p:nvGrpSpPr>
          <p:cNvPr id="2" name="群組 1"/>
          <p:cNvGrpSpPr/>
          <p:nvPr/>
        </p:nvGrpSpPr>
        <p:grpSpPr>
          <a:xfrm>
            <a:off x="1624763" y="1454807"/>
            <a:ext cx="8318482" cy="956949"/>
            <a:chOff x="1624763" y="1454807"/>
            <a:chExt cx="8318482" cy="956949"/>
          </a:xfrm>
        </p:grpSpPr>
        <p:sp>
          <p:nvSpPr>
            <p:cNvPr id="14" name="向下箭號 13"/>
            <p:cNvSpPr/>
            <p:nvPr/>
          </p:nvSpPr>
          <p:spPr bwMode="auto">
            <a:xfrm rot="5400000" flipV="1">
              <a:off x="4308759" y="-1229189"/>
              <a:ext cx="956949" cy="6324942"/>
            </a:xfrm>
            <a:prstGeom prst="downArrow">
              <a:avLst/>
            </a:prstGeom>
            <a:solidFill>
              <a:schemeClr val="accent3">
                <a:lumMod val="65000"/>
                <a:alpha val="32000"/>
              </a:schemeClr>
            </a:solidFill>
            <a:ln>
              <a:noFill/>
              <a:headEnd type="none" w="med" len="med"/>
              <a:tailEnd type="none" w="med" len="med"/>
            </a:ln>
            <a:scene3d>
              <a:camera prst="orthographicFront"/>
              <a:lightRig rig="threePt" dir="t"/>
            </a:scene3d>
            <a:sp3d extrusionH="76200" contourW="12700">
              <a:extrusionClr>
                <a:schemeClr val="bg1"/>
              </a:extrusionClr>
              <a:contourClr>
                <a:schemeClr val="bg1"/>
              </a:contourClr>
            </a:sp3d>
          </p:spPr>
          <p:style>
            <a:lnRef idx="2">
              <a:schemeClr val="accent3"/>
            </a:lnRef>
            <a:fillRef idx="1">
              <a:schemeClr val="lt1"/>
            </a:fillRef>
            <a:effectRef idx="0">
              <a:schemeClr val="accent3"/>
            </a:effectRef>
            <a:fontRef idx="minor">
              <a:schemeClr val="dk1"/>
            </a:fontRef>
          </p:style>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zh-TW" altLang="en-US">
                <a:solidFill>
                  <a:srgbClr val="333333"/>
                </a:solidFill>
              </a:endParaRPr>
            </a:p>
          </p:txBody>
        </p:sp>
        <p:sp>
          <p:nvSpPr>
            <p:cNvPr id="20" name="矩形 19"/>
            <p:cNvSpPr/>
            <p:nvPr/>
          </p:nvSpPr>
          <p:spPr>
            <a:xfrm>
              <a:off x="1624763" y="1635348"/>
              <a:ext cx="8318482" cy="584775"/>
            </a:xfrm>
            <a:prstGeom prst="rect">
              <a:avLst/>
            </a:prstGeom>
          </p:spPr>
          <p:txBody>
            <a:bodyPr wrap="square">
              <a:spAutoFit/>
            </a:bodyPr>
            <a:lstStyle/>
            <a:p>
              <a:pPr fontAlgn="base">
                <a:spcBef>
                  <a:spcPct val="0"/>
                </a:spcBef>
                <a:spcAft>
                  <a:spcPct val="0"/>
                </a:spcAft>
              </a:pPr>
              <a:r>
                <a:rPr lang="en-US" altLang="zh-TW" sz="3200" b="1" dirty="0">
                  <a:solidFill>
                    <a:srgbClr val="663300"/>
                  </a:solidFill>
                  <a:effectLst>
                    <a:outerShdw blurRad="38100" dist="38100" dir="2700000" algn="tl">
                      <a:srgbClr val="000000">
                        <a:alpha val="43137"/>
                      </a:srgbClr>
                    </a:outerShdw>
                  </a:effectLst>
                  <a:latin typeface="Verdana" panose="020B0604030504040204" pitchFamily="34" charset="0"/>
                </a:rPr>
                <a:t>College of Life Sciences</a:t>
              </a:r>
              <a:endParaRPr lang="zh-TW" altLang="en-US" sz="3200" dirty="0">
                <a:solidFill>
                  <a:srgbClr val="663300"/>
                </a:solidFill>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3970096690"/>
      </p:ext>
    </p:extLst>
  </p:cSld>
  <p:clrMapOvr>
    <a:masterClrMapping/>
  </p:clrMapOvr>
  <mc:AlternateContent xmlns:mc="http://schemas.openxmlformats.org/markup-compatibility/2006" xmlns:p14="http://schemas.microsoft.com/office/powerpoint/2010/main">
    <mc:Choice Requires="p14">
      <p:transition spd="med" p14:dur="700" advClick="0" advTm="9000">
        <p:fade/>
      </p:transition>
    </mc:Choice>
    <mc:Fallback xmlns="">
      <p:transition spd="med" advClick="0" advTm="900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標題 1"/>
          <p:cNvSpPr>
            <a:spLocks noGrp="1"/>
          </p:cNvSpPr>
          <p:nvPr>
            <p:ph type="title"/>
          </p:nvPr>
        </p:nvSpPr>
        <p:spPr>
          <a:xfrm>
            <a:off x="655781" y="600363"/>
            <a:ext cx="10972800" cy="775670"/>
          </a:xfrm>
        </p:spPr>
        <p:txBody>
          <a:bodyPr>
            <a:normAutofit fontScale="90000"/>
          </a:bodyPr>
          <a:lstStyle/>
          <a:p>
            <a:br>
              <a:rPr lang="zh-TW" altLang="en-US" sz="5400" dirty="0">
                <a:solidFill>
                  <a:srgbClr val="663300"/>
                </a:solidFill>
                <a:effectLst>
                  <a:outerShdw blurRad="38100" dist="38100" dir="2700000" algn="tl">
                    <a:srgbClr val="000000">
                      <a:alpha val="43137"/>
                    </a:srgbClr>
                  </a:outerShdw>
                </a:effectLst>
              </a:rPr>
            </a:br>
            <a:r>
              <a:rPr lang="en-US" altLang="zh-TW" sz="4800" b="1" dirty="0">
                <a:solidFill>
                  <a:srgbClr val="FFCC00"/>
                </a:solidFill>
                <a:effectLst>
                  <a:outerShdw blurRad="38100" dist="38100" dir="2700000" algn="tl">
                    <a:srgbClr val="000000">
                      <a:alpha val="43137"/>
                    </a:srgbClr>
                  </a:outerShdw>
                </a:effectLst>
                <a:latin typeface="Verdana" panose="020B0604030504040204" pitchFamily="34" charset="0"/>
              </a:rPr>
              <a:t>College of Veterinary Medicine</a:t>
            </a:r>
            <a:endParaRPr lang="zh-TW" altLang="en-US" dirty="0">
              <a:solidFill>
                <a:srgbClr val="FFCC00"/>
              </a:solidFill>
            </a:endParaRPr>
          </a:p>
        </p:txBody>
      </p:sp>
      <p:sp>
        <p:nvSpPr>
          <p:cNvPr id="3" name="內容版面配置區 2"/>
          <p:cNvSpPr>
            <a:spLocks noGrp="1"/>
          </p:cNvSpPr>
          <p:nvPr>
            <p:ph idx="1"/>
          </p:nvPr>
        </p:nvSpPr>
        <p:spPr>
          <a:xfrm>
            <a:off x="581890" y="1575262"/>
            <a:ext cx="10972800" cy="4389120"/>
          </a:xfrm>
        </p:spPr>
        <p:txBody>
          <a:bodyPr>
            <a:normAutofit/>
          </a:bodyPr>
          <a:lstStyle/>
          <a:p>
            <a:pPr algn="just"/>
            <a:r>
              <a:rPr lang="en-US" altLang="zh-TW" sz="2800" dirty="0"/>
              <a:t>The College of Veterinary Medicine established in 2016 offers bachelor master degree programs. The College also comprises Animal Disease Diagnostic Center and Veterinary Teaching Hospital. The mission of the College is to educate veterinary and graduate students to promote the health and well-being of people and animals.</a:t>
            </a:r>
            <a:r>
              <a:rPr lang="zh-TW" altLang="en-US" sz="2800" dirty="0"/>
              <a:t> </a:t>
            </a:r>
            <a:r>
              <a:rPr lang="en-US" altLang="zh-TW" sz="2800" dirty="0"/>
              <a:t>The College provides the knowledge and skills of diagnosis, treatment, prevention, and control of animal disease. </a:t>
            </a:r>
            <a:endParaRPr lang="zh-TW" altLang="en-US" sz="2800" dirty="0"/>
          </a:p>
        </p:txBody>
      </p:sp>
      <p:pic>
        <p:nvPicPr>
          <p:cNvPr id="4" name="圖片 3" descr="D:\My Pictures\2017\獸醫系中國農大實習\S__25411587.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04718" y="4667539"/>
            <a:ext cx="2362200" cy="1771650"/>
          </a:xfrm>
          <a:prstGeom prst="rect">
            <a:avLst/>
          </a:prstGeom>
          <a:ln>
            <a:noFill/>
          </a:ln>
          <a:effectLst>
            <a:outerShdw blurRad="190500" algn="tl" rotWithShape="0">
              <a:srgbClr val="000000">
                <a:alpha val="70000"/>
              </a:srgbClr>
            </a:outerShdw>
          </a:effectLst>
        </p:spPr>
      </p:pic>
      <p:pic>
        <p:nvPicPr>
          <p:cNvPr id="5" name="圖片 4"/>
          <p:cNvPicPr/>
          <p:nvPr/>
        </p:nvPicPr>
        <p:blipFill>
          <a:blip r:embed="rId4" cstate="print">
            <a:extLst>
              <a:ext uri="{28A0092B-C50C-407E-A947-70E740481C1C}">
                <a14:useLocalDpi xmlns:a14="http://schemas.microsoft.com/office/drawing/2010/main" val="0"/>
              </a:ext>
            </a:extLst>
          </a:blip>
          <a:stretch>
            <a:fillRect/>
          </a:stretch>
        </p:blipFill>
        <p:spPr>
          <a:xfrm>
            <a:off x="3417456" y="4667539"/>
            <a:ext cx="2456872" cy="1771649"/>
          </a:xfrm>
          <a:prstGeom prst="rect">
            <a:avLst/>
          </a:prstGeom>
          <a:ln>
            <a:noFill/>
          </a:ln>
          <a:effectLst>
            <a:outerShdw blurRad="292100" dist="139700" dir="2700000" algn="tl" rotWithShape="0">
              <a:srgbClr val="333333">
                <a:alpha val="65000"/>
              </a:srgbClr>
            </a:outerShdw>
          </a:effectLst>
        </p:spPr>
      </p:pic>
      <p:pic>
        <p:nvPicPr>
          <p:cNvPr id="6" name="圖片 5" descr="D:\學術發展組\教育部\107\學海徵件\學海築夢\獸醫東京大學報銷及成果\照片10張\東大_與外科醫生們合照.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34545" y="4667539"/>
            <a:ext cx="2473758" cy="1771650"/>
          </a:xfrm>
          <a:prstGeom prst="rect">
            <a:avLst/>
          </a:prstGeom>
          <a:noFill/>
          <a:ln>
            <a:noFill/>
          </a:ln>
        </p:spPr>
      </p:pic>
      <p:pic>
        <p:nvPicPr>
          <p:cNvPr id="8" name="圖片 7" descr="D:\學術發展組\教育部\107\學海徵件\學海築夢\獸醫東京大學報銷及成果\照片10張\日獸大_手術協助.JPG"/>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996217" y="4667539"/>
            <a:ext cx="2152073" cy="1771649"/>
          </a:xfrm>
          <a:prstGeom prst="rect">
            <a:avLst/>
          </a:prstGeom>
          <a:ln>
            <a:noFill/>
          </a:ln>
          <a:effectLst>
            <a:softEdge rad="112500"/>
          </a:effectLst>
        </p:spPr>
      </p:pic>
    </p:spTree>
    <p:extLst>
      <p:ext uri="{BB962C8B-B14F-4D97-AF65-F5344CB8AC3E}">
        <p14:creationId xmlns:p14="http://schemas.microsoft.com/office/powerpoint/2010/main" val="15585405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0">
          <a:blip r:embed="rId384"/>
          <a:srcRect/>
          <a:stretch>
            <a:fillRect/>
          </a:stretch>
        </a:blipFill>
        <a:effectLst/>
      </p:bgPr>
    </p:bg>
    <p:spTree>
      <p:nvGrpSpPr>
        <p:cNvPr id="1" name=""/>
        <p:cNvGrpSpPr/>
        <p:nvPr/>
      </p:nvGrpSpPr>
      <p:grpSpPr>
        <a:xfrm>
          <a:off x="0" y="0"/>
          <a:ext cx="0" cy="0"/>
          <a:chOff x="0" y="0"/>
          <a:chExt cx="0" cy="0"/>
        </a:xfrm>
      </p:grpSpPr>
      <p:sp>
        <p:nvSpPr>
          <p:cNvPr id="2050" name="Freeform 4"/>
          <p:cNvSpPr>
            <a:spLocks/>
          </p:cNvSpPr>
          <p:nvPr>
            <p:custDataLst>
              <p:tags r:id="rId1"/>
            </p:custDataLst>
          </p:nvPr>
        </p:nvSpPr>
        <p:spPr bwMode="auto">
          <a:xfrm>
            <a:off x="3359156" y="5394325"/>
            <a:ext cx="44449" cy="57150"/>
          </a:xfrm>
          <a:custGeom>
            <a:avLst/>
            <a:gdLst>
              <a:gd name="T0" fmla="*/ 0 w 73"/>
              <a:gd name="T1" fmla="*/ 0 h 20"/>
              <a:gd name="T2" fmla="*/ 95306818 w 73"/>
              <a:gd name="T3" fmla="*/ 2147483647 h 20"/>
              <a:gd name="T4" fmla="*/ 381018118 w 73"/>
              <a:gd name="T5" fmla="*/ 2147483647 h 20"/>
              <a:gd name="T6" fmla="*/ 761827994 w 73"/>
              <a:gd name="T7" fmla="*/ 2147483647 h 20"/>
              <a:gd name="T8" fmla="*/ 1238152559 w 73"/>
              <a:gd name="T9" fmla="*/ 2147483647 h 20"/>
              <a:gd name="T10" fmla="*/ 1523864230 w 73"/>
              <a:gd name="T11" fmla="*/ 2147483647 h 20"/>
              <a:gd name="T12" fmla="*/ 1809575901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51" name="Freeform 5"/>
          <p:cNvSpPr>
            <a:spLocks/>
          </p:cNvSpPr>
          <p:nvPr>
            <p:custDataLst>
              <p:tags r:id="rId2"/>
            </p:custDataLst>
          </p:nvPr>
        </p:nvSpPr>
        <p:spPr bwMode="auto">
          <a:xfrm>
            <a:off x="903822" y="1495425"/>
            <a:ext cx="1045633" cy="446088"/>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326425435 w 1808"/>
              <a:gd name="T45" fmla="*/ 2147483647 h 850"/>
              <a:gd name="T46" fmla="*/ 1142582985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1300831595 h 850"/>
              <a:gd name="T92" fmla="*/ 2147483647 w 1808"/>
              <a:gd name="T93" fmla="*/ 289196274 h 850"/>
              <a:gd name="T94" fmla="*/ 2147483647 w 1808"/>
              <a:gd name="T95" fmla="*/ 1445430192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52" name="Freeform 6"/>
          <p:cNvSpPr>
            <a:spLocks/>
          </p:cNvSpPr>
          <p:nvPr>
            <p:custDataLst>
              <p:tags r:id="rId3"/>
            </p:custDataLst>
          </p:nvPr>
        </p:nvSpPr>
        <p:spPr bwMode="auto">
          <a:xfrm>
            <a:off x="1517651" y="2111375"/>
            <a:ext cx="1841500" cy="769938"/>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53" name="Freeform 7"/>
          <p:cNvSpPr>
            <a:spLocks/>
          </p:cNvSpPr>
          <p:nvPr>
            <p:custDataLst>
              <p:tags r:id="rId4"/>
            </p:custDataLst>
          </p:nvPr>
        </p:nvSpPr>
        <p:spPr bwMode="auto">
          <a:xfrm>
            <a:off x="2628905" y="3662363"/>
            <a:ext cx="452967" cy="590550"/>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1789997035 w 784"/>
              <a:gd name="T67" fmla="*/ 2147483647 h 1128"/>
              <a:gd name="T68" fmla="*/ 0 w 784"/>
              <a:gd name="T69" fmla="*/ 2147483647 h 1128"/>
              <a:gd name="T70" fmla="*/ 1057700092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717570555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54" name="Freeform 8"/>
          <p:cNvSpPr>
            <a:spLocks/>
          </p:cNvSpPr>
          <p:nvPr>
            <p:custDataLst>
              <p:tags r:id="rId5"/>
            </p:custDataLst>
          </p:nvPr>
        </p:nvSpPr>
        <p:spPr bwMode="auto">
          <a:xfrm>
            <a:off x="3028955" y="4225925"/>
            <a:ext cx="349249" cy="1130300"/>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55" name="Freeform 9"/>
          <p:cNvSpPr>
            <a:spLocks/>
          </p:cNvSpPr>
          <p:nvPr>
            <p:custDataLst>
              <p:tags r:id="rId6"/>
            </p:custDataLst>
          </p:nvPr>
        </p:nvSpPr>
        <p:spPr bwMode="auto">
          <a:xfrm>
            <a:off x="2901956" y="3508376"/>
            <a:ext cx="1289049" cy="1203325"/>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1310791042 w 2226"/>
              <a:gd name="T119" fmla="*/ 2147483647 h 2292"/>
              <a:gd name="T120" fmla="*/ 1802361625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56" name="Freeform 10"/>
          <p:cNvSpPr>
            <a:spLocks/>
          </p:cNvSpPr>
          <p:nvPr>
            <p:custDataLst>
              <p:tags r:id="rId7"/>
            </p:custDataLst>
          </p:nvPr>
        </p:nvSpPr>
        <p:spPr bwMode="auto">
          <a:xfrm>
            <a:off x="5719236" y="2454282"/>
            <a:ext cx="93133" cy="49213"/>
          </a:xfrm>
          <a:custGeom>
            <a:avLst/>
            <a:gdLst>
              <a:gd name="T0" fmla="*/ 2147483647 w 161"/>
              <a:gd name="T1" fmla="*/ 0 h 93"/>
              <a:gd name="T2" fmla="*/ 2147483647 w 161"/>
              <a:gd name="T3" fmla="*/ 2147483647 h 93"/>
              <a:gd name="T4" fmla="*/ 2147483647 w 161"/>
              <a:gd name="T5" fmla="*/ 1778146070 h 93"/>
              <a:gd name="T6" fmla="*/ 2147483647 w 161"/>
              <a:gd name="T7" fmla="*/ 1185337050 h 93"/>
              <a:gd name="T8" fmla="*/ 2147483647 w 161"/>
              <a:gd name="T9" fmla="*/ 740940895 h 93"/>
              <a:gd name="T10" fmla="*/ 2147483647 w 161"/>
              <a:gd name="T11" fmla="*/ 444676483 h 93"/>
              <a:gd name="T12" fmla="*/ 2147483647 w 161"/>
              <a:gd name="T13" fmla="*/ 148132206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1714932688 w 161"/>
              <a:gd name="T63" fmla="*/ 2147483647 h 93"/>
              <a:gd name="T64" fmla="*/ 979907924 w 161"/>
              <a:gd name="T65" fmla="*/ 2147483647 h 93"/>
              <a:gd name="T66" fmla="*/ 653334786 w 161"/>
              <a:gd name="T67" fmla="*/ 2074410349 h 93"/>
              <a:gd name="T68" fmla="*/ 408263659 w 161"/>
              <a:gd name="T69" fmla="*/ 1333749651 h 93"/>
              <a:gd name="T70" fmla="*/ 245071127 w 161"/>
              <a:gd name="T71" fmla="*/ 740940895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57" name="Freeform 11"/>
          <p:cNvSpPr>
            <a:spLocks/>
          </p:cNvSpPr>
          <p:nvPr>
            <p:custDataLst>
              <p:tags r:id="rId8"/>
            </p:custDataLst>
          </p:nvPr>
        </p:nvSpPr>
        <p:spPr bwMode="auto">
          <a:xfrm>
            <a:off x="5050369" y="2328870"/>
            <a:ext cx="110067" cy="160337"/>
          </a:xfrm>
          <a:custGeom>
            <a:avLst/>
            <a:gdLst>
              <a:gd name="T0" fmla="*/ 2147483647 w 192"/>
              <a:gd name="T1" fmla="*/ 427424977 h 307"/>
              <a:gd name="T2" fmla="*/ 2147483647 w 192"/>
              <a:gd name="T3" fmla="*/ 0 h 307"/>
              <a:gd name="T4" fmla="*/ 2147483647 w 192"/>
              <a:gd name="T5" fmla="*/ 427424977 h 307"/>
              <a:gd name="T6" fmla="*/ 2147483647 w 192"/>
              <a:gd name="T7" fmla="*/ 1994466664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1748544738 w 192"/>
              <a:gd name="T41" fmla="*/ 2147483647 h 307"/>
              <a:gd name="T42" fmla="*/ 794692474 w 192"/>
              <a:gd name="T43" fmla="*/ 2147483647 h 307"/>
              <a:gd name="T44" fmla="*/ 158975395 w 192"/>
              <a:gd name="T45" fmla="*/ 2147483647 h 307"/>
              <a:gd name="T46" fmla="*/ 0 w 192"/>
              <a:gd name="T47" fmla="*/ 2147483647 h 307"/>
              <a:gd name="T48" fmla="*/ 0 w 192"/>
              <a:gd name="T49" fmla="*/ 2147483647 h 307"/>
              <a:gd name="T50" fmla="*/ 158975395 w 192"/>
              <a:gd name="T51" fmla="*/ 2147483647 h 307"/>
              <a:gd name="T52" fmla="*/ 874180360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997233332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58" name="Freeform 12"/>
          <p:cNvSpPr>
            <a:spLocks/>
          </p:cNvSpPr>
          <p:nvPr>
            <p:custDataLst>
              <p:tags r:id="rId9"/>
            </p:custDataLst>
          </p:nvPr>
        </p:nvSpPr>
        <p:spPr bwMode="auto">
          <a:xfrm>
            <a:off x="5158317" y="1814515"/>
            <a:ext cx="228600" cy="269875"/>
          </a:xfrm>
          <a:custGeom>
            <a:avLst/>
            <a:gdLst>
              <a:gd name="T0" fmla="*/ 2078389495 w 398"/>
              <a:gd name="T1" fmla="*/ 282835249 h 518"/>
              <a:gd name="T2" fmla="*/ 2147483647 w 398"/>
              <a:gd name="T3" fmla="*/ 1838428792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1758651282 w 398"/>
              <a:gd name="T105" fmla="*/ 2147483647 h 518"/>
              <a:gd name="T106" fmla="*/ 1598874577 w 398"/>
              <a:gd name="T107" fmla="*/ 2147483647 h 518"/>
              <a:gd name="T108" fmla="*/ 1119175717 w 398"/>
              <a:gd name="T109" fmla="*/ 2147483647 h 518"/>
              <a:gd name="T110" fmla="*/ 1598874577 w 398"/>
              <a:gd name="T111" fmla="*/ 2147483647 h 518"/>
              <a:gd name="T112" fmla="*/ 1518893608 w 398"/>
              <a:gd name="T113" fmla="*/ 2147483647 h 518"/>
              <a:gd name="T114" fmla="*/ 319737890 w 398"/>
              <a:gd name="T115" fmla="*/ 2147483647 h 518"/>
              <a:gd name="T116" fmla="*/ 1598874577 w 398"/>
              <a:gd name="T117" fmla="*/ 2147483647 h 518"/>
              <a:gd name="T118" fmla="*/ 239756920 w 398"/>
              <a:gd name="T119" fmla="*/ 1272758555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59" name="Freeform 13"/>
          <p:cNvSpPr>
            <a:spLocks/>
          </p:cNvSpPr>
          <p:nvPr>
            <p:custDataLst>
              <p:tags r:id="rId10"/>
            </p:custDataLst>
          </p:nvPr>
        </p:nvSpPr>
        <p:spPr bwMode="auto">
          <a:xfrm>
            <a:off x="5636685" y="2117725"/>
            <a:ext cx="226483"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351756187 w 382"/>
              <a:gd name="T21" fmla="*/ 2147483647 h 148"/>
              <a:gd name="T22" fmla="*/ 0 w 382"/>
              <a:gd name="T23" fmla="*/ 2147483647 h 148"/>
              <a:gd name="T24" fmla="*/ 351756187 w 382"/>
              <a:gd name="T25" fmla="*/ 2147483647 h 148"/>
              <a:gd name="T26" fmla="*/ 1055070796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1091888400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60" name="Freeform 14"/>
          <p:cNvSpPr>
            <a:spLocks/>
          </p:cNvSpPr>
          <p:nvPr>
            <p:custDataLst>
              <p:tags r:id="rId11"/>
            </p:custDataLst>
          </p:nvPr>
        </p:nvSpPr>
        <p:spPr bwMode="auto">
          <a:xfrm>
            <a:off x="7626352" y="1966920"/>
            <a:ext cx="1708149"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61" name="Freeform 15"/>
          <p:cNvSpPr>
            <a:spLocks/>
          </p:cNvSpPr>
          <p:nvPr>
            <p:custDataLst>
              <p:tags r:id="rId12"/>
            </p:custDataLst>
          </p:nvPr>
        </p:nvSpPr>
        <p:spPr bwMode="auto">
          <a:xfrm>
            <a:off x="5882217" y="1508125"/>
            <a:ext cx="294216"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1846335424 w 504"/>
              <a:gd name="T19" fmla="*/ 2147483647 h 524"/>
              <a:gd name="T20" fmla="*/ 1678416498 w 504"/>
              <a:gd name="T21" fmla="*/ 2147483647 h 524"/>
              <a:gd name="T22" fmla="*/ 2147483647 w 504"/>
              <a:gd name="T23" fmla="*/ 2147483647 h 524"/>
              <a:gd name="T24" fmla="*/ 2147483647 w 504"/>
              <a:gd name="T25" fmla="*/ 2147483647 h 524"/>
              <a:gd name="T26" fmla="*/ 2147483647 w 504"/>
              <a:gd name="T27" fmla="*/ 2147483647 h 524"/>
              <a:gd name="T28" fmla="*/ 839208249 w 504"/>
              <a:gd name="T29" fmla="*/ 2147483647 h 524"/>
              <a:gd name="T30" fmla="*/ 83959271 w 504"/>
              <a:gd name="T31" fmla="*/ 2147483647 h 524"/>
              <a:gd name="T32" fmla="*/ 83959271 w 504"/>
              <a:gd name="T33" fmla="*/ 2147483647 h 524"/>
              <a:gd name="T34" fmla="*/ 1426730533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1839360344 h 524"/>
              <a:gd name="T74" fmla="*/ 2147483647 w 504"/>
              <a:gd name="T75" fmla="*/ 0 h 524"/>
              <a:gd name="T76" fmla="*/ 2147483647 w 504"/>
              <a:gd name="T77" fmla="*/ 0 h 524"/>
              <a:gd name="T78" fmla="*/ 2147483647 w 504"/>
              <a:gd name="T79" fmla="*/ 1132018396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62" name="Freeform 16"/>
          <p:cNvSpPr>
            <a:spLocks/>
          </p:cNvSpPr>
          <p:nvPr>
            <p:custDataLst>
              <p:tags r:id="rId13"/>
            </p:custDataLst>
          </p:nvPr>
        </p:nvSpPr>
        <p:spPr bwMode="auto">
          <a:xfrm>
            <a:off x="5530851" y="1925640"/>
            <a:ext cx="243416"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506941396 w 438"/>
              <a:gd name="T49" fmla="*/ 2147483647 h 451"/>
              <a:gd name="T50" fmla="*/ 1086153984 w 438"/>
              <a:gd name="T51" fmla="*/ 2147483647 h 451"/>
              <a:gd name="T52" fmla="*/ 1882701361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38"/>
              <a:gd name="T151" fmla="*/ 0 h 451"/>
              <a:gd name="T152" fmla="*/ 438 w 438"/>
              <a:gd name="T153" fmla="*/ 451 h 45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63" name="Freeform 17"/>
          <p:cNvSpPr>
            <a:spLocks/>
          </p:cNvSpPr>
          <p:nvPr>
            <p:custDataLst>
              <p:tags r:id="rId14"/>
            </p:custDataLst>
          </p:nvPr>
        </p:nvSpPr>
        <p:spPr bwMode="auto">
          <a:xfrm>
            <a:off x="5564722" y="2182820"/>
            <a:ext cx="334433" cy="274637"/>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1225745239 w 578"/>
              <a:gd name="T79" fmla="*/ 2147483647 h 524"/>
              <a:gd name="T80" fmla="*/ 245186650 w 578"/>
              <a:gd name="T81" fmla="*/ 2147483647 h 524"/>
              <a:gd name="T82" fmla="*/ 81729019 w 578"/>
              <a:gd name="T83" fmla="*/ 2147483647 h 524"/>
              <a:gd name="T84" fmla="*/ 490373300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1871791270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64" name="Freeform 18"/>
          <p:cNvSpPr>
            <a:spLocks/>
          </p:cNvSpPr>
          <p:nvPr>
            <p:custDataLst>
              <p:tags r:id="rId15"/>
            </p:custDataLst>
          </p:nvPr>
        </p:nvSpPr>
        <p:spPr bwMode="auto">
          <a:xfrm>
            <a:off x="5588001" y="2351088"/>
            <a:ext cx="44451" cy="82550"/>
          </a:xfrm>
          <a:custGeom>
            <a:avLst/>
            <a:gdLst>
              <a:gd name="T0" fmla="*/ 0 w 79"/>
              <a:gd name="T1" fmla="*/ 2147483647 h 160"/>
              <a:gd name="T2" fmla="*/ 450908725 w 79"/>
              <a:gd name="T3" fmla="*/ 2147483647 h 160"/>
              <a:gd name="T4" fmla="*/ 826665820 w 79"/>
              <a:gd name="T5" fmla="*/ 2147483647 h 160"/>
              <a:gd name="T6" fmla="*/ 1202423126 w 79"/>
              <a:gd name="T7" fmla="*/ 2147483647 h 160"/>
              <a:gd name="T8" fmla="*/ 1427877382 w 79"/>
              <a:gd name="T9" fmla="*/ 2147483647 h 160"/>
              <a:gd name="T10" fmla="*/ 1953937737 w 79"/>
              <a:gd name="T11" fmla="*/ 2147483647 h 160"/>
              <a:gd name="T12" fmla="*/ 2147483647 w 79"/>
              <a:gd name="T13" fmla="*/ 2147483647 h 160"/>
              <a:gd name="T14" fmla="*/ 2147483647 w 79"/>
              <a:gd name="T15" fmla="*/ 2147483647 h 160"/>
              <a:gd name="T16" fmla="*/ 2147483647 w 79"/>
              <a:gd name="T17" fmla="*/ 1373282186 h 160"/>
              <a:gd name="T18" fmla="*/ 2147483647 w 79"/>
              <a:gd name="T19" fmla="*/ 686774205 h 160"/>
              <a:gd name="T20" fmla="*/ 2147483647 w 79"/>
              <a:gd name="T21" fmla="*/ 0 h 160"/>
              <a:gd name="T22" fmla="*/ 2147483647 w 79"/>
              <a:gd name="T23" fmla="*/ 412064291 h 160"/>
              <a:gd name="T24" fmla="*/ 2147483647 w 79"/>
              <a:gd name="T25" fmla="*/ 961483474 h 160"/>
              <a:gd name="T26" fmla="*/ 2147483647 w 79"/>
              <a:gd name="T27" fmla="*/ 1373282186 h 160"/>
              <a:gd name="T28" fmla="*/ 2147483647 w 79"/>
              <a:gd name="T29" fmla="*/ 1922700725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04240575 w 79"/>
              <a:gd name="T61" fmla="*/ 2147483647 h 160"/>
              <a:gd name="T62" fmla="*/ 1653331639 w 79"/>
              <a:gd name="T63" fmla="*/ 2147483647 h 160"/>
              <a:gd name="T64" fmla="*/ 1352725963 w 79"/>
              <a:gd name="T65" fmla="*/ 2147483647 h 160"/>
              <a:gd name="T66" fmla="*/ 1127271707 w 79"/>
              <a:gd name="T67" fmla="*/ 2147483647 h 160"/>
              <a:gd name="T68" fmla="*/ 826665820 w 79"/>
              <a:gd name="T69" fmla="*/ 2147483647 h 160"/>
              <a:gd name="T70" fmla="*/ 601211563 w 79"/>
              <a:gd name="T71" fmla="*/ 2147483647 h 160"/>
              <a:gd name="T72" fmla="*/ 300605781 w 79"/>
              <a:gd name="T73" fmla="*/ 2147483647 h 160"/>
              <a:gd name="T74" fmla="*/ 75151445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065" name="Group 19"/>
          <p:cNvGrpSpPr>
            <a:grpSpLocks/>
          </p:cNvGrpSpPr>
          <p:nvPr>
            <p:custDataLst>
              <p:tags r:id="rId16"/>
            </p:custDataLst>
          </p:nvPr>
        </p:nvGrpSpPr>
        <p:grpSpPr bwMode="auto">
          <a:xfrm>
            <a:off x="8680455" y="3411540"/>
            <a:ext cx="630767" cy="212725"/>
            <a:chOff x="4488" y="2394"/>
            <a:chExt cx="358" cy="124"/>
          </a:xfrm>
          <a:solidFill>
            <a:schemeClr val="accent5">
              <a:lumMod val="75000"/>
            </a:schemeClr>
          </a:solidFill>
        </p:grpSpPr>
        <p:sp>
          <p:nvSpPr>
            <p:cNvPr id="2596" name="Freeform 20"/>
            <p:cNvSpPr>
              <a:spLocks/>
            </p:cNvSpPr>
            <p:nvPr/>
          </p:nvSpPr>
          <p:spPr bwMode="auto">
            <a:xfrm>
              <a:off x="4675" y="2394"/>
              <a:ext cx="171" cy="124"/>
            </a:xfrm>
            <a:custGeom>
              <a:avLst/>
              <a:gdLst>
                <a:gd name="T0" fmla="*/ 16 w 512"/>
                <a:gd name="T1" fmla="*/ 5 h 408"/>
                <a:gd name="T2" fmla="*/ 14 w 512"/>
                <a:gd name="T3" fmla="*/ 5 h 408"/>
                <a:gd name="T4" fmla="*/ 14 w 512"/>
                <a:gd name="T5" fmla="*/ 6 h 408"/>
                <a:gd name="T6" fmla="*/ 13 w 512"/>
                <a:gd name="T7" fmla="*/ 6 h 408"/>
                <a:gd name="T8" fmla="*/ 13 w 512"/>
                <a:gd name="T9" fmla="*/ 7 h 408"/>
                <a:gd name="T10" fmla="*/ 12 w 512"/>
                <a:gd name="T11" fmla="*/ 9 h 408"/>
                <a:gd name="T12" fmla="*/ 11 w 512"/>
                <a:gd name="T13" fmla="*/ 9 h 408"/>
                <a:gd name="T14" fmla="*/ 11 w 512"/>
                <a:gd name="T15" fmla="*/ 10 h 408"/>
                <a:gd name="T16" fmla="*/ 10 w 512"/>
                <a:gd name="T17" fmla="*/ 10 h 408"/>
                <a:gd name="T18" fmla="*/ 10 w 512"/>
                <a:gd name="T19" fmla="*/ 10 h 408"/>
                <a:gd name="T20" fmla="*/ 9 w 512"/>
                <a:gd name="T21" fmla="*/ 11 h 408"/>
                <a:gd name="T22" fmla="*/ 8 w 512"/>
                <a:gd name="T23" fmla="*/ 10 h 408"/>
                <a:gd name="T24" fmla="*/ 7 w 512"/>
                <a:gd name="T25" fmla="*/ 10 h 408"/>
                <a:gd name="T26" fmla="*/ 6 w 512"/>
                <a:gd name="T27" fmla="*/ 10 h 408"/>
                <a:gd name="T28" fmla="*/ 5 w 512"/>
                <a:gd name="T29" fmla="*/ 11 h 408"/>
                <a:gd name="T30" fmla="*/ 4 w 512"/>
                <a:gd name="T31" fmla="*/ 11 h 408"/>
                <a:gd name="T32" fmla="*/ 2 w 512"/>
                <a:gd name="T33" fmla="*/ 12 h 408"/>
                <a:gd name="T34" fmla="*/ 2 w 512"/>
                <a:gd name="T35" fmla="*/ 11 h 408"/>
                <a:gd name="T36" fmla="*/ 1 w 512"/>
                <a:gd name="T37" fmla="*/ 10 h 408"/>
                <a:gd name="T38" fmla="*/ 0 w 512"/>
                <a:gd name="T39" fmla="*/ 10 h 408"/>
                <a:gd name="T40" fmla="*/ 0 w 512"/>
                <a:gd name="T41" fmla="*/ 9 h 408"/>
                <a:gd name="T42" fmla="*/ 1 w 512"/>
                <a:gd name="T43" fmla="*/ 10 h 408"/>
                <a:gd name="T44" fmla="*/ 2 w 512"/>
                <a:gd name="T45" fmla="*/ 9 h 408"/>
                <a:gd name="T46" fmla="*/ 2 w 512"/>
                <a:gd name="T47" fmla="*/ 9 h 408"/>
                <a:gd name="T48" fmla="*/ 3 w 512"/>
                <a:gd name="T49" fmla="*/ 9 h 408"/>
                <a:gd name="T50" fmla="*/ 3 w 512"/>
                <a:gd name="T51" fmla="*/ 8 h 408"/>
                <a:gd name="T52" fmla="*/ 3 w 512"/>
                <a:gd name="T53" fmla="*/ 8 h 408"/>
                <a:gd name="T54" fmla="*/ 4 w 512"/>
                <a:gd name="T55" fmla="*/ 7 h 408"/>
                <a:gd name="T56" fmla="*/ 5 w 512"/>
                <a:gd name="T57" fmla="*/ 7 h 408"/>
                <a:gd name="T58" fmla="*/ 6 w 512"/>
                <a:gd name="T59" fmla="*/ 7 h 408"/>
                <a:gd name="T60" fmla="*/ 7 w 512"/>
                <a:gd name="T61" fmla="*/ 6 h 408"/>
                <a:gd name="T62" fmla="*/ 8 w 512"/>
                <a:gd name="T63" fmla="*/ 6 h 408"/>
                <a:gd name="T64" fmla="*/ 8 w 512"/>
                <a:gd name="T65" fmla="*/ 5 h 408"/>
                <a:gd name="T66" fmla="*/ 8 w 512"/>
                <a:gd name="T67" fmla="*/ 5 h 408"/>
                <a:gd name="T68" fmla="*/ 8 w 512"/>
                <a:gd name="T69" fmla="*/ 4 h 408"/>
                <a:gd name="T70" fmla="*/ 9 w 512"/>
                <a:gd name="T71" fmla="*/ 4 h 408"/>
                <a:gd name="T72" fmla="*/ 9 w 512"/>
                <a:gd name="T73" fmla="*/ 4 h 408"/>
                <a:gd name="T74" fmla="*/ 9 w 512"/>
                <a:gd name="T75" fmla="*/ 4 h 408"/>
                <a:gd name="T76" fmla="*/ 9 w 512"/>
                <a:gd name="T77" fmla="*/ 5 h 408"/>
                <a:gd name="T78" fmla="*/ 9 w 512"/>
                <a:gd name="T79" fmla="*/ 5 h 408"/>
                <a:gd name="T80" fmla="*/ 10 w 512"/>
                <a:gd name="T81" fmla="*/ 6 h 408"/>
                <a:gd name="T82" fmla="*/ 11 w 512"/>
                <a:gd name="T83" fmla="*/ 6 h 408"/>
                <a:gd name="T84" fmla="*/ 12 w 512"/>
                <a:gd name="T85" fmla="*/ 6 h 408"/>
                <a:gd name="T86" fmla="*/ 12 w 512"/>
                <a:gd name="T87" fmla="*/ 5 h 408"/>
                <a:gd name="T88" fmla="*/ 12 w 512"/>
                <a:gd name="T89" fmla="*/ 5 h 408"/>
                <a:gd name="T90" fmla="*/ 11 w 512"/>
                <a:gd name="T91" fmla="*/ 4 h 408"/>
                <a:gd name="T92" fmla="*/ 12 w 512"/>
                <a:gd name="T93" fmla="*/ 3 h 408"/>
                <a:gd name="T94" fmla="*/ 13 w 512"/>
                <a:gd name="T95" fmla="*/ 2 h 408"/>
                <a:gd name="T96" fmla="*/ 14 w 512"/>
                <a:gd name="T97" fmla="*/ 1 h 408"/>
                <a:gd name="T98" fmla="*/ 15 w 512"/>
                <a:gd name="T99" fmla="*/ 0 h 408"/>
                <a:gd name="T100" fmla="*/ 15 w 512"/>
                <a:gd name="T101" fmla="*/ 1 h 408"/>
                <a:gd name="T102" fmla="*/ 15 w 512"/>
                <a:gd name="T103" fmla="*/ 2 h 408"/>
                <a:gd name="T104" fmla="*/ 16 w 512"/>
                <a:gd name="T105" fmla="*/ 2 h 408"/>
                <a:gd name="T106" fmla="*/ 18 w 512"/>
                <a:gd name="T107" fmla="*/ 3 h 408"/>
                <a:gd name="T108" fmla="*/ 19 w 512"/>
                <a:gd name="T109" fmla="*/ 4 h 408"/>
                <a:gd name="T110" fmla="*/ 19 w 512"/>
                <a:gd name="T111" fmla="*/ 4 h 408"/>
                <a:gd name="T112" fmla="*/ 18 w 512"/>
                <a:gd name="T113" fmla="*/ 4 h 408"/>
                <a:gd name="T114" fmla="*/ 17 w 512"/>
                <a:gd name="T115" fmla="*/ 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12"/>
                <a:gd name="T175" fmla="*/ 0 h 408"/>
                <a:gd name="T176" fmla="*/ 512 w 512"/>
                <a:gd name="T177" fmla="*/ 408 h 40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597" name="Freeform 21"/>
            <p:cNvSpPr>
              <a:spLocks/>
            </p:cNvSpPr>
            <p:nvPr/>
          </p:nvSpPr>
          <p:spPr bwMode="auto">
            <a:xfrm>
              <a:off x="4488" y="2420"/>
              <a:ext cx="77" cy="89"/>
            </a:xfrm>
            <a:custGeom>
              <a:avLst/>
              <a:gdLst>
                <a:gd name="T0" fmla="*/ 6 w 232"/>
                <a:gd name="T1" fmla="*/ 1 h 289"/>
                <a:gd name="T2" fmla="*/ 6 w 232"/>
                <a:gd name="T3" fmla="*/ 2 h 289"/>
                <a:gd name="T4" fmla="*/ 6 w 232"/>
                <a:gd name="T5" fmla="*/ 2 h 289"/>
                <a:gd name="T6" fmla="*/ 7 w 232"/>
                <a:gd name="T7" fmla="*/ 2 h 289"/>
                <a:gd name="T8" fmla="*/ 7 w 232"/>
                <a:gd name="T9" fmla="*/ 5 h 289"/>
                <a:gd name="T10" fmla="*/ 7 w 232"/>
                <a:gd name="T11" fmla="*/ 6 h 289"/>
                <a:gd name="T12" fmla="*/ 7 w 232"/>
                <a:gd name="T13" fmla="*/ 6 h 289"/>
                <a:gd name="T14" fmla="*/ 7 w 232"/>
                <a:gd name="T15" fmla="*/ 6 h 289"/>
                <a:gd name="T16" fmla="*/ 9 w 232"/>
                <a:gd name="T17" fmla="*/ 7 h 289"/>
                <a:gd name="T18" fmla="*/ 8 w 232"/>
                <a:gd name="T19" fmla="*/ 8 h 289"/>
                <a:gd name="T20" fmla="*/ 7 w 232"/>
                <a:gd name="T21" fmla="*/ 8 h 289"/>
                <a:gd name="T22" fmla="*/ 6 w 232"/>
                <a:gd name="T23" fmla="*/ 8 h 289"/>
                <a:gd name="T24" fmla="*/ 4 w 232"/>
                <a:gd name="T25" fmla="*/ 7 h 289"/>
                <a:gd name="T26" fmla="*/ 3 w 232"/>
                <a:gd name="T27" fmla="*/ 6 h 289"/>
                <a:gd name="T28" fmla="*/ 2 w 232"/>
                <a:gd name="T29" fmla="*/ 5 h 289"/>
                <a:gd name="T30" fmla="*/ 1 w 232"/>
                <a:gd name="T31" fmla="*/ 4 h 289"/>
                <a:gd name="T32" fmla="*/ 0 w 232"/>
                <a:gd name="T33" fmla="*/ 4 h 289"/>
                <a:gd name="T34" fmla="*/ 0 w 232"/>
                <a:gd name="T35" fmla="*/ 3 h 289"/>
                <a:gd name="T36" fmla="*/ 0 w 232"/>
                <a:gd name="T37" fmla="*/ 3 h 289"/>
                <a:gd name="T38" fmla="*/ 0 w 232"/>
                <a:gd name="T39" fmla="*/ 3 h 289"/>
                <a:gd name="T40" fmla="*/ 0 w 232"/>
                <a:gd name="T41" fmla="*/ 3 h 289"/>
                <a:gd name="T42" fmla="*/ 0 w 232"/>
                <a:gd name="T43" fmla="*/ 2 h 289"/>
                <a:gd name="T44" fmla="*/ 0 w 232"/>
                <a:gd name="T45" fmla="*/ 2 h 289"/>
                <a:gd name="T46" fmla="*/ 0 w 232"/>
                <a:gd name="T47" fmla="*/ 1 h 289"/>
                <a:gd name="T48" fmla="*/ 0 w 232"/>
                <a:gd name="T49" fmla="*/ 0 h 289"/>
                <a:gd name="T50" fmla="*/ 1 w 232"/>
                <a:gd name="T51" fmla="*/ 0 h 289"/>
                <a:gd name="T52" fmla="*/ 2 w 232"/>
                <a:gd name="T53" fmla="*/ 0 h 289"/>
                <a:gd name="T54" fmla="*/ 2 w 232"/>
                <a:gd name="T55" fmla="*/ 1 h 289"/>
                <a:gd name="T56" fmla="*/ 3 w 232"/>
                <a:gd name="T57" fmla="*/ 1 h 289"/>
                <a:gd name="T58" fmla="*/ 3 w 232"/>
                <a:gd name="T59" fmla="*/ 1 h 289"/>
                <a:gd name="T60" fmla="*/ 3 w 232"/>
                <a:gd name="T61" fmla="*/ 1 h 289"/>
                <a:gd name="T62" fmla="*/ 4 w 232"/>
                <a:gd name="T63" fmla="*/ 1 h 289"/>
                <a:gd name="T64" fmla="*/ 4 w 232"/>
                <a:gd name="T65" fmla="*/ 1 h 289"/>
                <a:gd name="T66" fmla="*/ 5 w 232"/>
                <a:gd name="T67" fmla="*/ 0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2"/>
                <a:gd name="T103" fmla="*/ 0 h 289"/>
                <a:gd name="T104" fmla="*/ 232 w 232"/>
                <a:gd name="T105" fmla="*/ 289 h 289"/>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066" name="Freeform 22"/>
          <p:cNvSpPr>
            <a:spLocks/>
          </p:cNvSpPr>
          <p:nvPr>
            <p:custDataLst>
              <p:tags r:id="rId17"/>
            </p:custDataLst>
          </p:nvPr>
        </p:nvSpPr>
        <p:spPr bwMode="auto">
          <a:xfrm>
            <a:off x="6043085" y="1287467"/>
            <a:ext cx="4087283" cy="107473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67" name="Freeform 23"/>
          <p:cNvSpPr>
            <a:spLocks/>
          </p:cNvSpPr>
          <p:nvPr>
            <p:custDataLst>
              <p:tags r:id="rId18"/>
            </p:custDataLst>
          </p:nvPr>
        </p:nvSpPr>
        <p:spPr bwMode="auto">
          <a:xfrm>
            <a:off x="5060956" y="2274888"/>
            <a:ext cx="374649" cy="247650"/>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1392504600 w 647"/>
              <a:gd name="T91" fmla="*/ 2147483647 h 470"/>
              <a:gd name="T92" fmla="*/ 0 w 647"/>
              <a:gd name="T93" fmla="*/ 2147483647 h 470"/>
              <a:gd name="T94" fmla="*/ 1884021901 w 647"/>
              <a:gd name="T95" fmla="*/ 2147483647 h 470"/>
              <a:gd name="T96" fmla="*/ 2147483647 w 647"/>
              <a:gd name="T97" fmla="*/ 2147483647 h 470"/>
              <a:gd name="T98" fmla="*/ 2147483647 w 647"/>
              <a:gd name="T99" fmla="*/ 585263980 h 470"/>
              <a:gd name="T100" fmla="*/ 2147483647 w 647"/>
              <a:gd name="T101" fmla="*/ 0 h 470"/>
              <a:gd name="T102" fmla="*/ 2147483647 w 647"/>
              <a:gd name="T103" fmla="*/ 1023933688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68" name="Freeform 24"/>
          <p:cNvSpPr>
            <a:spLocks/>
          </p:cNvSpPr>
          <p:nvPr>
            <p:custDataLst>
              <p:tags r:id="rId19"/>
            </p:custDataLst>
          </p:nvPr>
        </p:nvSpPr>
        <p:spPr bwMode="auto">
          <a:xfrm>
            <a:off x="8570385" y="3013082"/>
            <a:ext cx="277283" cy="455613"/>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1882298749 w 479"/>
              <a:gd name="T75" fmla="*/ 2147483647 h 868"/>
              <a:gd name="T76" fmla="*/ 81806353 w 479"/>
              <a:gd name="T77" fmla="*/ 2147483647 h 868"/>
              <a:gd name="T78" fmla="*/ 900246212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69" name="Freeform 25"/>
          <p:cNvSpPr>
            <a:spLocks/>
          </p:cNvSpPr>
          <p:nvPr>
            <p:custDataLst>
              <p:tags r:id="rId20"/>
            </p:custDataLst>
          </p:nvPr>
        </p:nvSpPr>
        <p:spPr bwMode="auto">
          <a:xfrm>
            <a:off x="3382438" y="5400675"/>
            <a:ext cx="31751" cy="57150"/>
          </a:xfrm>
          <a:custGeom>
            <a:avLst/>
            <a:gdLst>
              <a:gd name="T0" fmla="*/ 0 w 53"/>
              <a:gd name="T1" fmla="*/ 2147483647 h 19"/>
              <a:gd name="T2" fmla="*/ 634887870 w 53"/>
              <a:gd name="T3" fmla="*/ 2147483647 h 19"/>
              <a:gd name="T4" fmla="*/ 1269775740 w 53"/>
              <a:gd name="T5" fmla="*/ 2147483647 h 19"/>
              <a:gd name="T6" fmla="*/ 1995506360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1995506360 w 53"/>
              <a:gd name="T27" fmla="*/ 0 h 19"/>
              <a:gd name="T28" fmla="*/ 1269775740 w 53"/>
              <a:gd name="T29" fmla="*/ 2147483647 h 19"/>
              <a:gd name="T30" fmla="*/ 634887870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3094" name="Line 26" descr="Horizontal dunkel"/>
          <p:cNvSpPr>
            <a:spLocks noChangeShapeType="1"/>
          </p:cNvSpPr>
          <p:nvPr>
            <p:custDataLst>
              <p:tags r:id="rId21"/>
            </p:custDataLst>
          </p:nvPr>
        </p:nvSpPr>
        <p:spPr bwMode="auto">
          <a:xfrm>
            <a:off x="1331389" y="2322520"/>
            <a:ext cx="4233"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TW" altLang="en-US">
              <a:solidFill>
                <a:srgbClr val="000000"/>
              </a:solidFill>
            </a:endParaRPr>
          </a:p>
        </p:txBody>
      </p:sp>
      <p:sp>
        <p:nvSpPr>
          <p:cNvPr id="2071" name="Freeform 27"/>
          <p:cNvSpPr>
            <a:spLocks/>
          </p:cNvSpPr>
          <p:nvPr>
            <p:custDataLst>
              <p:tags r:id="rId22"/>
            </p:custDataLst>
          </p:nvPr>
        </p:nvSpPr>
        <p:spPr bwMode="auto">
          <a:xfrm>
            <a:off x="1335622" y="2319338"/>
            <a:ext cx="4233" cy="55562"/>
          </a:xfrm>
          <a:custGeom>
            <a:avLst/>
            <a:gdLst>
              <a:gd name="T0" fmla="*/ 0 w 6"/>
              <a:gd name="T1" fmla="*/ 2147483647 h 24"/>
              <a:gd name="T2" fmla="*/ 0 w 6"/>
              <a:gd name="T3" fmla="*/ 2147483647 h 24"/>
              <a:gd name="T4" fmla="*/ 148129115 w 6"/>
              <a:gd name="T5" fmla="*/ 2147483647 h 24"/>
              <a:gd name="T6" fmla="*/ 444667737 w 6"/>
              <a:gd name="T7" fmla="*/ 2147483647 h 24"/>
              <a:gd name="T8" fmla="*/ 889055015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72" name="Freeform 28"/>
          <p:cNvSpPr>
            <a:spLocks/>
          </p:cNvSpPr>
          <p:nvPr>
            <p:custDataLst>
              <p:tags r:id="rId23"/>
            </p:custDataLst>
          </p:nvPr>
        </p:nvSpPr>
        <p:spPr bwMode="auto">
          <a:xfrm>
            <a:off x="1303871" y="2373313"/>
            <a:ext cx="31751" cy="57150"/>
          </a:xfrm>
          <a:custGeom>
            <a:avLst/>
            <a:gdLst>
              <a:gd name="T0" fmla="*/ 0 w 47"/>
              <a:gd name="T1" fmla="*/ 2147483647 h 67"/>
              <a:gd name="T2" fmla="*/ 0 w 47"/>
              <a:gd name="T3" fmla="*/ 2147483647 h 67"/>
              <a:gd name="T4" fmla="*/ 260040979 w 47"/>
              <a:gd name="T5" fmla="*/ 2147483647 h 67"/>
              <a:gd name="T6" fmla="*/ 390190191 w 47"/>
              <a:gd name="T7" fmla="*/ 2147483647 h 67"/>
              <a:gd name="T8" fmla="*/ 650231234 w 47"/>
              <a:gd name="T9" fmla="*/ 2147483647 h 67"/>
              <a:gd name="T10" fmla="*/ 1170570194 w 47"/>
              <a:gd name="T11" fmla="*/ 2147483647 h 67"/>
              <a:gd name="T12" fmla="*/ 1820800668 w 47"/>
              <a:gd name="T13" fmla="*/ 2147483647 h 67"/>
              <a:gd name="T14" fmla="*/ 2147483647 w 47"/>
              <a:gd name="T15" fmla="*/ 2147483647 h 67"/>
              <a:gd name="T16" fmla="*/ 2147483647 w 47"/>
              <a:gd name="T17" fmla="*/ 0 h 67"/>
              <a:gd name="T18" fmla="*/ 2147483647 w 47"/>
              <a:gd name="T19" fmla="*/ 1241257771 h 67"/>
              <a:gd name="T20" fmla="*/ 2147483647 w 47"/>
              <a:gd name="T21" fmla="*/ 2147483647 h 67"/>
              <a:gd name="T22" fmla="*/ 2147483647 w 47"/>
              <a:gd name="T23" fmla="*/ 2147483647 h 67"/>
              <a:gd name="T24" fmla="*/ 1430611110 w 47"/>
              <a:gd name="T25" fmla="*/ 2147483647 h 67"/>
              <a:gd name="T26" fmla="*/ 780379876 w 47"/>
              <a:gd name="T27" fmla="*/ 2147483647 h 67"/>
              <a:gd name="T28" fmla="*/ 390190191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73" name="Freeform 29"/>
          <p:cNvSpPr>
            <a:spLocks/>
          </p:cNvSpPr>
          <p:nvPr>
            <p:custDataLst>
              <p:tags r:id="rId24"/>
            </p:custDataLst>
          </p:nvPr>
        </p:nvSpPr>
        <p:spPr bwMode="auto">
          <a:xfrm>
            <a:off x="3071284" y="2368550"/>
            <a:ext cx="65616" cy="57150"/>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1951126087 w 112"/>
              <a:gd name="T37" fmla="*/ 2147483647 h 36"/>
              <a:gd name="T38" fmla="*/ 1442203403 w 112"/>
              <a:gd name="T39" fmla="*/ 2147483647 h 36"/>
              <a:gd name="T40" fmla="*/ 848332263 w 112"/>
              <a:gd name="T41" fmla="*/ 2147483647 h 36"/>
              <a:gd name="T42" fmla="*/ 508922464 w 112"/>
              <a:gd name="T43" fmla="*/ 2147483647 h 36"/>
              <a:gd name="T44" fmla="*/ 84755811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74" name="Freeform 30"/>
          <p:cNvSpPr>
            <a:spLocks/>
          </p:cNvSpPr>
          <p:nvPr>
            <p:custDataLst>
              <p:tags r:id="rId25"/>
            </p:custDataLst>
          </p:nvPr>
        </p:nvSpPr>
        <p:spPr bwMode="auto">
          <a:xfrm>
            <a:off x="6722535" y="1925645"/>
            <a:ext cx="1166284" cy="452437"/>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1658195124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1873097563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75" name="Freeform 31"/>
          <p:cNvSpPr>
            <a:spLocks/>
          </p:cNvSpPr>
          <p:nvPr>
            <p:custDataLst>
              <p:tags r:id="rId26"/>
            </p:custDataLst>
          </p:nvPr>
        </p:nvSpPr>
        <p:spPr bwMode="auto">
          <a:xfrm>
            <a:off x="7029451" y="2228850"/>
            <a:ext cx="546100" cy="249238"/>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906166023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76" name="Freeform 32"/>
          <p:cNvSpPr>
            <a:spLocks/>
          </p:cNvSpPr>
          <p:nvPr>
            <p:custDataLst>
              <p:tags r:id="rId27"/>
            </p:custDataLst>
          </p:nvPr>
        </p:nvSpPr>
        <p:spPr bwMode="auto">
          <a:xfrm>
            <a:off x="5439838" y="3232157"/>
            <a:ext cx="395817" cy="288925"/>
          </a:xfrm>
          <a:custGeom>
            <a:avLst/>
            <a:gdLst>
              <a:gd name="T0" fmla="*/ 519674862 w 671"/>
              <a:gd name="T1" fmla="*/ 2147483647 h 549"/>
              <a:gd name="T2" fmla="*/ 692703898 w 671"/>
              <a:gd name="T3" fmla="*/ 2147483647 h 549"/>
              <a:gd name="T4" fmla="*/ 1472118306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1020340289 h 549"/>
              <a:gd name="T24" fmla="*/ 2147483647 w 671"/>
              <a:gd name="T25" fmla="*/ 0 h 549"/>
              <a:gd name="T26" fmla="*/ 2147483647 w 671"/>
              <a:gd name="T27" fmla="*/ 728696155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77" name="Freeform 33"/>
          <p:cNvSpPr>
            <a:spLocks/>
          </p:cNvSpPr>
          <p:nvPr>
            <p:custDataLst>
              <p:tags r:id="rId28"/>
            </p:custDataLst>
          </p:nvPr>
        </p:nvSpPr>
        <p:spPr bwMode="auto">
          <a:xfrm>
            <a:off x="6563784" y="3097213"/>
            <a:ext cx="203200" cy="169862"/>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1620097864 w 358"/>
              <a:gd name="T61" fmla="*/ 2147483647 h 327"/>
              <a:gd name="T62" fmla="*/ 1311482010 w 358"/>
              <a:gd name="T63" fmla="*/ 2147483647 h 327"/>
              <a:gd name="T64" fmla="*/ 1234282496 w 358"/>
              <a:gd name="T65" fmla="*/ 2147483647 h 327"/>
              <a:gd name="T66" fmla="*/ 1542899202 w 358"/>
              <a:gd name="T67" fmla="*/ 2147483647 h 327"/>
              <a:gd name="T68" fmla="*/ 1697116030 w 358"/>
              <a:gd name="T69" fmla="*/ 2147483647 h 327"/>
              <a:gd name="T70" fmla="*/ 1542899202 w 358"/>
              <a:gd name="T71" fmla="*/ 2147483647 h 327"/>
              <a:gd name="T72" fmla="*/ 1157083835 w 358"/>
              <a:gd name="T73" fmla="*/ 2147483647 h 327"/>
              <a:gd name="T74" fmla="*/ 540032834 w 358"/>
              <a:gd name="T75" fmla="*/ 2147483647 h 327"/>
              <a:gd name="T76" fmla="*/ 0 w 358"/>
              <a:gd name="T77" fmla="*/ 2147483647 h 327"/>
              <a:gd name="T78" fmla="*/ 0 w 358"/>
              <a:gd name="T79" fmla="*/ 2147483647 h 327"/>
              <a:gd name="T80" fmla="*/ 385634127 w 358"/>
              <a:gd name="T81" fmla="*/ 2147483647 h 327"/>
              <a:gd name="T82" fmla="*/ 848648689 w 358"/>
              <a:gd name="T83" fmla="*/ 2147483647 h 327"/>
              <a:gd name="T84" fmla="*/ 1542899202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78" name="Freeform 34"/>
          <p:cNvSpPr>
            <a:spLocks/>
          </p:cNvSpPr>
          <p:nvPr>
            <p:custDataLst>
              <p:tags r:id="rId29"/>
            </p:custDataLst>
          </p:nvPr>
        </p:nvSpPr>
        <p:spPr bwMode="auto">
          <a:xfrm>
            <a:off x="5846238" y="2101850"/>
            <a:ext cx="167217" cy="57150"/>
          </a:xfrm>
          <a:custGeom>
            <a:avLst/>
            <a:gdLst>
              <a:gd name="T0" fmla="*/ 2147483647 w 292"/>
              <a:gd name="T1" fmla="*/ 0 h 99"/>
              <a:gd name="T2" fmla="*/ 2147483647 w 292"/>
              <a:gd name="T3" fmla="*/ 0 h 99"/>
              <a:gd name="T4" fmla="*/ 2147483647 w 292"/>
              <a:gd name="T5" fmla="*/ 192281477 h 99"/>
              <a:gd name="T6" fmla="*/ 2147483647 w 292"/>
              <a:gd name="T7" fmla="*/ 1154356619 h 99"/>
              <a:gd name="T8" fmla="*/ 2147483647 w 292"/>
              <a:gd name="T9" fmla="*/ 1346637735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1584574124 w 292"/>
              <a:gd name="T31" fmla="*/ 2147483647 h 99"/>
              <a:gd name="T32" fmla="*/ 554508838 w 292"/>
              <a:gd name="T33" fmla="*/ 2147483647 h 99"/>
              <a:gd name="T34" fmla="*/ 79136456 w 292"/>
              <a:gd name="T35" fmla="*/ 2147483647 h 99"/>
              <a:gd name="T36" fmla="*/ 0 w 292"/>
              <a:gd name="T37" fmla="*/ 2147483647 h 99"/>
              <a:gd name="T38" fmla="*/ 79136456 w 292"/>
              <a:gd name="T39" fmla="*/ 2147483647 h 99"/>
              <a:gd name="T40" fmla="*/ 237594078 w 292"/>
              <a:gd name="T41" fmla="*/ 2147483647 h 99"/>
              <a:gd name="T42" fmla="*/ 712965950 w 292"/>
              <a:gd name="T43" fmla="*/ 2147483647 h 99"/>
              <a:gd name="T44" fmla="*/ 1188337929 w 292"/>
              <a:gd name="T45" fmla="*/ 2147483647 h 99"/>
              <a:gd name="T46" fmla="*/ 1980625206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16098170 h 99"/>
              <a:gd name="T60" fmla="*/ 2147483647 w 292"/>
              <a:gd name="T61" fmla="*/ 1154356619 h 99"/>
              <a:gd name="T62" fmla="*/ 2147483647 w 292"/>
              <a:gd name="T63" fmla="*/ 1922814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079" name="Freeform 35"/>
          <p:cNvSpPr>
            <a:spLocks/>
          </p:cNvSpPr>
          <p:nvPr>
            <p:custDataLst>
              <p:tags r:id="rId30"/>
            </p:custDataLst>
          </p:nvPr>
        </p:nvSpPr>
        <p:spPr bwMode="auto">
          <a:xfrm>
            <a:off x="6997700" y="2822575"/>
            <a:ext cx="25400" cy="57150"/>
          </a:xfrm>
          <a:custGeom>
            <a:avLst/>
            <a:gdLst>
              <a:gd name="T0" fmla="*/ 2147483647 w 43"/>
              <a:gd name="T1" fmla="*/ 2147483647 h 93"/>
              <a:gd name="T2" fmla="*/ 2147483647 w 43"/>
              <a:gd name="T3" fmla="*/ 2147483647 h 93"/>
              <a:gd name="T4" fmla="*/ 2147483647 w 43"/>
              <a:gd name="T5" fmla="*/ 2147483647 h 93"/>
              <a:gd name="T6" fmla="*/ 1825895335 w 43"/>
              <a:gd name="T7" fmla="*/ 2147483647 h 93"/>
              <a:gd name="T8" fmla="*/ 1565053081 w 43"/>
              <a:gd name="T9" fmla="*/ 2147483647 h 93"/>
              <a:gd name="T10" fmla="*/ 1304211713 w 43"/>
              <a:gd name="T11" fmla="*/ 2147483647 h 93"/>
              <a:gd name="T12" fmla="*/ 1217263999 w 43"/>
              <a:gd name="T13" fmla="*/ 2147483647 h 93"/>
              <a:gd name="T14" fmla="*/ 1130316286 w 43"/>
              <a:gd name="T15" fmla="*/ 2147483647 h 93"/>
              <a:gd name="T16" fmla="*/ 956421745 w 43"/>
              <a:gd name="T17" fmla="*/ 2147483647 h 93"/>
              <a:gd name="T18" fmla="*/ 956421745 w 43"/>
              <a:gd name="T19" fmla="*/ 2147483647 h 93"/>
              <a:gd name="T20" fmla="*/ 782526983 w 43"/>
              <a:gd name="T21" fmla="*/ 2147483647 h 93"/>
              <a:gd name="T22" fmla="*/ 521684729 w 43"/>
              <a:gd name="T23" fmla="*/ 2147483647 h 93"/>
              <a:gd name="T24" fmla="*/ 347789635 w 43"/>
              <a:gd name="T25" fmla="*/ 2147483647 h 93"/>
              <a:gd name="T26" fmla="*/ 173895039 w 43"/>
              <a:gd name="T27" fmla="*/ 2147483647 h 93"/>
              <a:gd name="T28" fmla="*/ 0 w 43"/>
              <a:gd name="T29" fmla="*/ 2147483647 h 93"/>
              <a:gd name="T30" fmla="*/ 173895039 w 43"/>
              <a:gd name="T31" fmla="*/ 2147483647 h 93"/>
              <a:gd name="T32" fmla="*/ 434737348 w 43"/>
              <a:gd name="T33" fmla="*/ 2147483647 h 93"/>
              <a:gd name="T34" fmla="*/ 521684729 w 43"/>
              <a:gd name="T35" fmla="*/ 2147483647 h 93"/>
              <a:gd name="T36" fmla="*/ 608632000 w 43"/>
              <a:gd name="T37" fmla="*/ 2147483647 h 93"/>
              <a:gd name="T38" fmla="*/ 695579270 w 43"/>
              <a:gd name="T39" fmla="*/ 2147483647 h 93"/>
              <a:gd name="T40" fmla="*/ 782526983 w 43"/>
              <a:gd name="T41" fmla="*/ 2147483647 h 93"/>
              <a:gd name="T42" fmla="*/ 956421745 w 43"/>
              <a:gd name="T43" fmla="*/ 2147483647 h 93"/>
              <a:gd name="T44" fmla="*/ 1217263999 w 43"/>
              <a:gd name="T45" fmla="*/ 2147483647 h 93"/>
              <a:gd name="T46" fmla="*/ 1391158540 w 43"/>
              <a:gd name="T47" fmla="*/ 2147483647 h 93"/>
              <a:gd name="T48" fmla="*/ 1738948507 w 43"/>
              <a:gd name="T49" fmla="*/ 1392321642 h 93"/>
              <a:gd name="T50" fmla="*/ 1913040193 w 43"/>
              <a:gd name="T51" fmla="*/ 928214940 h 93"/>
              <a:gd name="T52" fmla="*/ 2147483647 w 43"/>
              <a:gd name="T53" fmla="*/ 464107163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80" name="Freeform 36"/>
          <p:cNvSpPr>
            <a:spLocks/>
          </p:cNvSpPr>
          <p:nvPr>
            <p:custDataLst>
              <p:tags r:id="rId31"/>
            </p:custDataLst>
          </p:nvPr>
        </p:nvSpPr>
        <p:spPr bwMode="auto">
          <a:xfrm>
            <a:off x="7156456" y="2827338"/>
            <a:ext cx="19049" cy="57150"/>
          </a:xfrm>
          <a:custGeom>
            <a:avLst/>
            <a:gdLst>
              <a:gd name="T0" fmla="*/ 1822648328 w 40"/>
              <a:gd name="T1" fmla="*/ 2147483647 h 56"/>
              <a:gd name="T2" fmla="*/ 1685890359 w 40"/>
              <a:gd name="T3" fmla="*/ 2147483647 h 56"/>
              <a:gd name="T4" fmla="*/ 1503714034 w 40"/>
              <a:gd name="T5" fmla="*/ 2147483647 h 56"/>
              <a:gd name="T6" fmla="*/ 1275866831 w 40"/>
              <a:gd name="T7" fmla="*/ 2147483647 h 56"/>
              <a:gd name="T8" fmla="*/ 1048019985 w 40"/>
              <a:gd name="T9" fmla="*/ 2147483647 h 56"/>
              <a:gd name="T10" fmla="*/ 501238309 w 40"/>
              <a:gd name="T11" fmla="*/ 2147483647 h 56"/>
              <a:gd name="T12" fmla="*/ 0 w 40"/>
              <a:gd name="T13" fmla="*/ 2147483647 h 56"/>
              <a:gd name="T14" fmla="*/ 592326114 w 40"/>
              <a:gd name="T15" fmla="*/ 2147483647 h 56"/>
              <a:gd name="T16" fmla="*/ 911388456 w 40"/>
              <a:gd name="T17" fmla="*/ 0 h 56"/>
              <a:gd name="T18" fmla="*/ 1275866831 w 40"/>
              <a:gd name="T19" fmla="*/ 2147483647 h 56"/>
              <a:gd name="T20" fmla="*/ 1594802197 w 40"/>
              <a:gd name="T21" fmla="*/ 2147483647 h 56"/>
              <a:gd name="T22" fmla="*/ 1685890359 w 40"/>
              <a:gd name="T23" fmla="*/ 2147483647 h 56"/>
              <a:gd name="T24" fmla="*/ 1777105676 w 40"/>
              <a:gd name="T25" fmla="*/ 2147483647 h 56"/>
              <a:gd name="T26" fmla="*/ 1777105676 w 40"/>
              <a:gd name="T27" fmla="*/ 2147483647 h 56"/>
              <a:gd name="T28" fmla="*/ 1822648328 w 40"/>
              <a:gd name="T29" fmla="*/ 2147483647 h 56"/>
              <a:gd name="T30" fmla="*/ 1822648328 w 40"/>
              <a:gd name="T31" fmla="*/ 2147483647 h 56"/>
              <a:gd name="T32" fmla="*/ 1822648328 w 40"/>
              <a:gd name="T33" fmla="*/ 2147483647 h 56"/>
              <a:gd name="T34" fmla="*/ 1822648328 w 40"/>
              <a:gd name="T35" fmla="*/ 2147483647 h 56"/>
              <a:gd name="T36" fmla="*/ 1822648328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81" name="Freeform 37"/>
          <p:cNvSpPr>
            <a:spLocks/>
          </p:cNvSpPr>
          <p:nvPr>
            <p:custDataLst>
              <p:tags r:id="rId32"/>
            </p:custDataLst>
          </p:nvPr>
        </p:nvSpPr>
        <p:spPr bwMode="auto">
          <a:xfrm>
            <a:off x="9139769" y="3487738"/>
            <a:ext cx="59267" cy="57150"/>
          </a:xfrm>
          <a:custGeom>
            <a:avLst/>
            <a:gdLst>
              <a:gd name="T0" fmla="*/ 0 w 106"/>
              <a:gd name="T1" fmla="*/ 2147483647 h 71"/>
              <a:gd name="T2" fmla="*/ 884855412 w 106"/>
              <a:gd name="T3" fmla="*/ 2147483647 h 71"/>
              <a:gd name="T4" fmla="*/ 1769710824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1990924152 w 106"/>
              <a:gd name="T55" fmla="*/ 2147483647 h 71"/>
              <a:gd name="T56" fmla="*/ 1769710824 w 106"/>
              <a:gd name="T57" fmla="*/ 2147483647 h 71"/>
              <a:gd name="T58" fmla="*/ 1548497075 w 106"/>
              <a:gd name="T59" fmla="*/ 2147483647 h 71"/>
              <a:gd name="T60" fmla="*/ 1474817448 w 106"/>
              <a:gd name="T61" fmla="*/ 2147483647 h 71"/>
              <a:gd name="T62" fmla="*/ 1400962536 w 106"/>
              <a:gd name="T63" fmla="*/ 2147483647 h 71"/>
              <a:gd name="T64" fmla="*/ 1327282908 w 106"/>
              <a:gd name="T65" fmla="*/ 2147483647 h 71"/>
              <a:gd name="T66" fmla="*/ 1327282908 w 106"/>
              <a:gd name="T67" fmla="*/ 2147483647 h 71"/>
              <a:gd name="T68" fmla="*/ 1400962536 w 106"/>
              <a:gd name="T69" fmla="*/ 2147483647 h 71"/>
              <a:gd name="T70" fmla="*/ 1474817448 w 106"/>
              <a:gd name="T71" fmla="*/ 2147483647 h 71"/>
              <a:gd name="T72" fmla="*/ 1548497075 w 106"/>
              <a:gd name="T73" fmla="*/ 2147483647 h 71"/>
              <a:gd name="T74" fmla="*/ 1474817448 w 106"/>
              <a:gd name="T75" fmla="*/ 2147483647 h 71"/>
              <a:gd name="T76" fmla="*/ 1400962536 w 106"/>
              <a:gd name="T77" fmla="*/ 2147483647 h 71"/>
              <a:gd name="T78" fmla="*/ 1400962536 w 106"/>
              <a:gd name="T79" fmla="*/ 2147483647 h 71"/>
              <a:gd name="T80" fmla="*/ 1400962536 w 106"/>
              <a:gd name="T81" fmla="*/ 2147483647 h 71"/>
              <a:gd name="T82" fmla="*/ 1474817448 w 106"/>
              <a:gd name="T83" fmla="*/ 2147483647 h 71"/>
              <a:gd name="T84" fmla="*/ 1548497075 w 106"/>
              <a:gd name="T85" fmla="*/ 2147483647 h 71"/>
              <a:gd name="T86" fmla="*/ 1696031615 w 106"/>
              <a:gd name="T87" fmla="*/ 2147483647 h 71"/>
              <a:gd name="T88" fmla="*/ 1990924152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082" name="Group 38"/>
          <p:cNvGrpSpPr>
            <a:grpSpLocks/>
          </p:cNvGrpSpPr>
          <p:nvPr>
            <p:custDataLst>
              <p:tags r:id="rId33"/>
            </p:custDataLst>
          </p:nvPr>
        </p:nvGrpSpPr>
        <p:grpSpPr bwMode="auto">
          <a:xfrm>
            <a:off x="3608922" y="5295907"/>
            <a:ext cx="86783" cy="55563"/>
            <a:chOff x="1654" y="3671"/>
            <a:chExt cx="49" cy="17"/>
          </a:xfrm>
          <a:solidFill>
            <a:schemeClr val="accent5">
              <a:lumMod val="75000"/>
            </a:schemeClr>
          </a:solidFill>
        </p:grpSpPr>
        <p:sp>
          <p:nvSpPr>
            <p:cNvPr id="2594" name="Freeform 39"/>
            <p:cNvSpPr>
              <a:spLocks/>
            </p:cNvSpPr>
            <p:nvPr/>
          </p:nvSpPr>
          <p:spPr bwMode="auto">
            <a:xfrm>
              <a:off x="1654" y="3672"/>
              <a:ext cx="20" cy="14"/>
            </a:xfrm>
            <a:custGeom>
              <a:avLst/>
              <a:gdLst>
                <a:gd name="T0" fmla="*/ 1 w 59"/>
                <a:gd name="T1" fmla="*/ 2 h 43"/>
                <a:gd name="T2" fmla="*/ 2 w 59"/>
                <a:gd name="T3" fmla="*/ 1 h 43"/>
                <a:gd name="T4" fmla="*/ 2 w 59"/>
                <a:gd name="T5" fmla="*/ 1 h 43"/>
                <a:gd name="T6" fmla="*/ 2 w 59"/>
                <a:gd name="T7" fmla="*/ 0 h 43"/>
                <a:gd name="T8" fmla="*/ 2 w 59"/>
                <a:gd name="T9" fmla="*/ 0 h 43"/>
                <a:gd name="T10" fmla="*/ 2 w 59"/>
                <a:gd name="T11" fmla="*/ 0 h 43"/>
                <a:gd name="T12" fmla="*/ 2 w 59"/>
                <a:gd name="T13" fmla="*/ 0 h 43"/>
                <a:gd name="T14" fmla="*/ 1 w 59"/>
                <a:gd name="T15" fmla="*/ 0 h 43"/>
                <a:gd name="T16" fmla="*/ 1 w 59"/>
                <a:gd name="T17" fmla="*/ 0 h 43"/>
                <a:gd name="T18" fmla="*/ 1 w 59"/>
                <a:gd name="T19" fmla="*/ 0 h 43"/>
                <a:gd name="T20" fmla="*/ 1 w 59"/>
                <a:gd name="T21" fmla="*/ 0 h 43"/>
                <a:gd name="T22" fmla="*/ 1 w 59"/>
                <a:gd name="T23" fmla="*/ 0 h 43"/>
                <a:gd name="T24" fmla="*/ 1 w 59"/>
                <a:gd name="T25" fmla="*/ 0 h 43"/>
                <a:gd name="T26" fmla="*/ 0 w 59"/>
                <a:gd name="T27" fmla="*/ 1 h 43"/>
                <a:gd name="T28" fmla="*/ 0 w 59"/>
                <a:gd name="T29" fmla="*/ 1 h 43"/>
                <a:gd name="T30" fmla="*/ 0 w 59"/>
                <a:gd name="T31" fmla="*/ 1 h 43"/>
                <a:gd name="T32" fmla="*/ 0 w 59"/>
                <a:gd name="T33" fmla="*/ 1 h 43"/>
                <a:gd name="T34" fmla="*/ 0 w 59"/>
                <a:gd name="T35" fmla="*/ 1 h 43"/>
                <a:gd name="T36" fmla="*/ 1 w 59"/>
                <a:gd name="T37" fmla="*/ 1 h 43"/>
                <a:gd name="T38" fmla="*/ 1 w 59"/>
                <a:gd name="T39" fmla="*/ 2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9"/>
                <a:gd name="T61" fmla="*/ 0 h 43"/>
                <a:gd name="T62" fmla="*/ 59 w 59"/>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95" name="Freeform 40"/>
            <p:cNvSpPr>
              <a:spLocks/>
            </p:cNvSpPr>
            <p:nvPr/>
          </p:nvSpPr>
          <p:spPr bwMode="auto">
            <a:xfrm>
              <a:off x="1681" y="3671"/>
              <a:ext cx="22" cy="17"/>
            </a:xfrm>
            <a:custGeom>
              <a:avLst/>
              <a:gdLst>
                <a:gd name="T0" fmla="*/ 0 w 67"/>
                <a:gd name="T1" fmla="*/ 0 h 51"/>
                <a:gd name="T2" fmla="*/ 1 w 67"/>
                <a:gd name="T3" fmla="*/ 0 h 51"/>
                <a:gd name="T4" fmla="*/ 1 w 67"/>
                <a:gd name="T5" fmla="*/ 0 h 51"/>
                <a:gd name="T6" fmla="*/ 2 w 67"/>
                <a:gd name="T7" fmla="*/ 0 h 51"/>
                <a:gd name="T8" fmla="*/ 2 w 67"/>
                <a:gd name="T9" fmla="*/ 0 h 51"/>
                <a:gd name="T10" fmla="*/ 2 w 67"/>
                <a:gd name="T11" fmla="*/ 0 h 51"/>
                <a:gd name="T12" fmla="*/ 2 w 67"/>
                <a:gd name="T13" fmla="*/ 0 h 51"/>
                <a:gd name="T14" fmla="*/ 2 w 67"/>
                <a:gd name="T15" fmla="*/ 0 h 51"/>
                <a:gd name="T16" fmla="*/ 2 w 67"/>
                <a:gd name="T17" fmla="*/ 1 h 51"/>
                <a:gd name="T18" fmla="*/ 2 w 67"/>
                <a:gd name="T19" fmla="*/ 1 h 51"/>
                <a:gd name="T20" fmla="*/ 1 w 67"/>
                <a:gd name="T21" fmla="*/ 1 h 51"/>
                <a:gd name="T22" fmla="*/ 1 w 67"/>
                <a:gd name="T23" fmla="*/ 1 h 51"/>
                <a:gd name="T24" fmla="*/ 1 w 67"/>
                <a:gd name="T25" fmla="*/ 1 h 51"/>
                <a:gd name="T26" fmla="*/ 1 w 67"/>
                <a:gd name="T27" fmla="*/ 1 h 51"/>
                <a:gd name="T28" fmla="*/ 1 w 67"/>
                <a:gd name="T29" fmla="*/ 1 h 51"/>
                <a:gd name="T30" fmla="*/ 1 w 67"/>
                <a:gd name="T31" fmla="*/ 1 h 51"/>
                <a:gd name="T32" fmla="*/ 1 w 67"/>
                <a:gd name="T33" fmla="*/ 1 h 51"/>
                <a:gd name="T34" fmla="*/ 1 w 67"/>
                <a:gd name="T35" fmla="*/ 2 h 51"/>
                <a:gd name="T36" fmla="*/ 1 w 67"/>
                <a:gd name="T37" fmla="*/ 2 h 51"/>
                <a:gd name="T38" fmla="*/ 0 w 67"/>
                <a:gd name="T39" fmla="*/ 2 h 51"/>
                <a:gd name="T40" fmla="*/ 0 w 67"/>
                <a:gd name="T41" fmla="*/ 2 h 51"/>
                <a:gd name="T42" fmla="*/ 0 w 67"/>
                <a:gd name="T43" fmla="*/ 0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7"/>
                <a:gd name="T67" fmla="*/ 0 h 51"/>
                <a:gd name="T68" fmla="*/ 67 w 67"/>
                <a:gd name="T69" fmla="*/ 51 h 5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083" name="Freeform 41"/>
          <p:cNvSpPr>
            <a:spLocks/>
          </p:cNvSpPr>
          <p:nvPr>
            <p:custDataLst>
              <p:tags r:id="rId34"/>
            </p:custDataLst>
          </p:nvPr>
        </p:nvSpPr>
        <p:spPr bwMode="auto">
          <a:xfrm>
            <a:off x="3139020" y="3090870"/>
            <a:ext cx="42333" cy="58737"/>
          </a:xfrm>
          <a:custGeom>
            <a:avLst/>
            <a:gdLst>
              <a:gd name="T0" fmla="*/ 0 w 80"/>
              <a:gd name="T1" fmla="*/ 2147483647 h 34"/>
              <a:gd name="T2" fmla="*/ 62531229 w 80"/>
              <a:gd name="T3" fmla="*/ 2147483647 h 34"/>
              <a:gd name="T4" fmla="*/ 125062855 w 80"/>
              <a:gd name="T5" fmla="*/ 2147483647 h 34"/>
              <a:gd name="T6" fmla="*/ 250125710 w 80"/>
              <a:gd name="T7" fmla="*/ 2147483647 h 34"/>
              <a:gd name="T8" fmla="*/ 437562260 w 80"/>
              <a:gd name="T9" fmla="*/ 2147483647 h 34"/>
              <a:gd name="T10" fmla="*/ 812592720 w 80"/>
              <a:gd name="T11" fmla="*/ 2147483647 h 34"/>
              <a:gd name="T12" fmla="*/ 1375217785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25435470 w 80"/>
              <a:gd name="T47" fmla="*/ 2147483647 h 34"/>
              <a:gd name="T48" fmla="*/ 1312686184 w 80"/>
              <a:gd name="T49" fmla="*/ 2147483647 h 34"/>
              <a:gd name="T50" fmla="*/ 812592720 w 80"/>
              <a:gd name="T51" fmla="*/ 2147483647 h 34"/>
              <a:gd name="T52" fmla="*/ 437562260 w 80"/>
              <a:gd name="T53" fmla="*/ 2147483647 h 34"/>
              <a:gd name="T54" fmla="*/ 250125710 w 80"/>
              <a:gd name="T55" fmla="*/ 2147483647 h 34"/>
              <a:gd name="T56" fmla="*/ 125062855 w 80"/>
              <a:gd name="T57" fmla="*/ 2147483647 h 34"/>
              <a:gd name="T58" fmla="*/ 62531229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84" name="Freeform 42"/>
          <p:cNvSpPr>
            <a:spLocks/>
          </p:cNvSpPr>
          <p:nvPr>
            <p:custDataLst>
              <p:tags r:id="rId35"/>
            </p:custDataLst>
          </p:nvPr>
        </p:nvSpPr>
        <p:spPr bwMode="auto">
          <a:xfrm>
            <a:off x="3213100" y="3097220"/>
            <a:ext cx="2117" cy="58737"/>
          </a:xfrm>
          <a:custGeom>
            <a:avLst/>
            <a:gdLst>
              <a:gd name="T0" fmla="*/ 0 w 7"/>
              <a:gd name="T1" fmla="*/ 0 h 13"/>
              <a:gd name="T2" fmla="*/ 81725065 w 7"/>
              <a:gd name="T3" fmla="*/ 2147483647 h 13"/>
              <a:gd name="T4" fmla="*/ 81725065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85" name="Freeform 43"/>
          <p:cNvSpPr>
            <a:spLocks/>
          </p:cNvSpPr>
          <p:nvPr>
            <p:custDataLst>
              <p:tags r:id="rId36"/>
            </p:custDataLst>
          </p:nvPr>
        </p:nvSpPr>
        <p:spPr bwMode="auto">
          <a:xfrm>
            <a:off x="3230033" y="3098800"/>
            <a:ext cx="8467" cy="58738"/>
          </a:xfrm>
          <a:custGeom>
            <a:avLst/>
            <a:gdLst>
              <a:gd name="T0" fmla="*/ 0 w 20"/>
              <a:gd name="T1" fmla="*/ 0 h 6"/>
              <a:gd name="T2" fmla="*/ 224092446 w 20"/>
              <a:gd name="T3" fmla="*/ 2147483647 h 6"/>
              <a:gd name="T4" fmla="*/ 640119602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86" name="Freeform 44"/>
          <p:cNvSpPr>
            <a:spLocks/>
          </p:cNvSpPr>
          <p:nvPr>
            <p:custDataLst>
              <p:tags r:id="rId37"/>
            </p:custDataLst>
          </p:nvPr>
        </p:nvSpPr>
        <p:spPr bwMode="auto">
          <a:xfrm>
            <a:off x="3249089" y="3089275"/>
            <a:ext cx="10583" cy="57150"/>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87" name="Freeform 45"/>
          <p:cNvSpPr>
            <a:spLocks/>
          </p:cNvSpPr>
          <p:nvPr>
            <p:custDataLst>
              <p:tags r:id="rId38"/>
            </p:custDataLst>
          </p:nvPr>
        </p:nvSpPr>
        <p:spPr bwMode="auto">
          <a:xfrm>
            <a:off x="3221572" y="3081345"/>
            <a:ext cx="14817" cy="58737"/>
          </a:xfrm>
          <a:custGeom>
            <a:avLst/>
            <a:gdLst>
              <a:gd name="T0" fmla="*/ 0 w 27"/>
              <a:gd name="T1" fmla="*/ 0 h 7"/>
              <a:gd name="T2" fmla="*/ 0 w 27"/>
              <a:gd name="T3" fmla="*/ 2147483647 h 7"/>
              <a:gd name="T4" fmla="*/ 139423298 w 27"/>
              <a:gd name="T5" fmla="*/ 2147483647 h 7"/>
              <a:gd name="T6" fmla="*/ 488065741 w 27"/>
              <a:gd name="T7" fmla="*/ 2147483647 h 7"/>
              <a:gd name="T8" fmla="*/ 697285194 w 27"/>
              <a:gd name="T9" fmla="*/ 2147483647 h 7"/>
              <a:gd name="T10" fmla="*/ 1045927688 w 27"/>
              <a:gd name="T11" fmla="*/ 2147483647 h 7"/>
              <a:gd name="T12" fmla="*/ 1324774182 w 27"/>
              <a:gd name="T13" fmla="*/ 2147483647 h 7"/>
              <a:gd name="T14" fmla="*/ 1603789429 w 27"/>
              <a:gd name="T15" fmla="*/ 2147483647 h 7"/>
              <a:gd name="T16" fmla="*/ 1882636334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88" name="Freeform 46"/>
          <p:cNvSpPr>
            <a:spLocks/>
          </p:cNvSpPr>
          <p:nvPr>
            <p:custDataLst>
              <p:tags r:id="rId39"/>
            </p:custDataLst>
          </p:nvPr>
        </p:nvSpPr>
        <p:spPr bwMode="auto">
          <a:xfrm>
            <a:off x="3287189" y="3109920"/>
            <a:ext cx="19049" cy="60325"/>
          </a:xfrm>
          <a:custGeom>
            <a:avLst/>
            <a:gdLst>
              <a:gd name="T0" fmla="*/ 0 w 27"/>
              <a:gd name="T1" fmla="*/ 0 h 6"/>
              <a:gd name="T2" fmla="*/ 1629866320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3113" name="Line 47"/>
          <p:cNvSpPr>
            <a:spLocks noChangeShapeType="1"/>
          </p:cNvSpPr>
          <p:nvPr>
            <p:custDataLst>
              <p:tags r:id="rId40"/>
            </p:custDataLst>
          </p:nvPr>
        </p:nvSpPr>
        <p:spPr bwMode="auto">
          <a:xfrm flipH="1" flipV="1">
            <a:off x="3297769" y="3106745"/>
            <a:ext cx="8467"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TW" altLang="en-US">
              <a:solidFill>
                <a:srgbClr val="000000"/>
              </a:solidFill>
            </a:endParaRPr>
          </a:p>
        </p:txBody>
      </p:sp>
      <p:sp>
        <p:nvSpPr>
          <p:cNvPr id="3114" name="Line 48"/>
          <p:cNvSpPr>
            <a:spLocks noChangeShapeType="1"/>
          </p:cNvSpPr>
          <p:nvPr>
            <p:custDataLst>
              <p:tags r:id="rId41"/>
            </p:custDataLst>
          </p:nvPr>
        </p:nvSpPr>
        <p:spPr bwMode="auto">
          <a:xfrm flipH="1">
            <a:off x="3297769" y="3132138"/>
            <a:ext cx="8467"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TW" altLang="en-US">
              <a:solidFill>
                <a:srgbClr val="000000"/>
              </a:solidFill>
            </a:endParaRPr>
          </a:p>
        </p:txBody>
      </p:sp>
      <p:sp>
        <p:nvSpPr>
          <p:cNvPr id="2091" name="Freeform 49"/>
          <p:cNvSpPr>
            <a:spLocks/>
          </p:cNvSpPr>
          <p:nvPr>
            <p:custDataLst>
              <p:tags r:id="rId42"/>
            </p:custDataLst>
          </p:nvPr>
        </p:nvSpPr>
        <p:spPr bwMode="auto">
          <a:xfrm>
            <a:off x="3297767" y="3127375"/>
            <a:ext cx="14817" cy="58738"/>
          </a:xfrm>
          <a:custGeom>
            <a:avLst/>
            <a:gdLst>
              <a:gd name="T0" fmla="*/ 0 w 20"/>
              <a:gd name="T1" fmla="*/ 2147483647 h 24"/>
              <a:gd name="T2" fmla="*/ 343017756 w 20"/>
              <a:gd name="T3" fmla="*/ 2147483647 h 24"/>
              <a:gd name="T4" fmla="*/ 1029362069 w 20"/>
              <a:gd name="T5" fmla="*/ 2147483647 h 24"/>
              <a:gd name="T6" fmla="*/ 1544043521 w 20"/>
              <a:gd name="T7" fmla="*/ 2147483647 h 24"/>
              <a:gd name="T8" fmla="*/ 2058724138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92" name="Freeform 50"/>
          <p:cNvSpPr>
            <a:spLocks/>
          </p:cNvSpPr>
          <p:nvPr>
            <p:custDataLst>
              <p:tags r:id="rId43"/>
            </p:custDataLst>
          </p:nvPr>
        </p:nvSpPr>
        <p:spPr bwMode="auto">
          <a:xfrm>
            <a:off x="3306235" y="3155957"/>
            <a:ext cx="23284" cy="55563"/>
          </a:xfrm>
          <a:custGeom>
            <a:avLst/>
            <a:gdLst>
              <a:gd name="T0" fmla="*/ 1926349519 w 33"/>
              <a:gd name="T1" fmla="*/ 2147483647 h 25"/>
              <a:gd name="T2" fmla="*/ 0 w 33"/>
              <a:gd name="T3" fmla="*/ 2147483647 h 25"/>
              <a:gd name="T4" fmla="*/ 1481936483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1926349519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93" name="Freeform 51"/>
          <p:cNvSpPr>
            <a:spLocks/>
          </p:cNvSpPr>
          <p:nvPr>
            <p:custDataLst>
              <p:tags r:id="rId44"/>
            </p:custDataLst>
          </p:nvPr>
        </p:nvSpPr>
        <p:spPr bwMode="auto">
          <a:xfrm>
            <a:off x="3314705" y="3203575"/>
            <a:ext cx="21167" cy="57150"/>
          </a:xfrm>
          <a:custGeom>
            <a:avLst/>
            <a:gdLst>
              <a:gd name="T0" fmla="*/ 0 w 40"/>
              <a:gd name="T1" fmla="*/ 0 h 18"/>
              <a:gd name="T2" fmla="*/ 187594059 w 40"/>
              <a:gd name="T3" fmla="*/ 2147483647 h 18"/>
              <a:gd name="T4" fmla="*/ 375030559 w 40"/>
              <a:gd name="T5" fmla="*/ 2147483647 h 18"/>
              <a:gd name="T6" fmla="*/ 625156269 w 40"/>
              <a:gd name="T7" fmla="*/ 2147483647 h 18"/>
              <a:gd name="T8" fmla="*/ 937655327 w 40"/>
              <a:gd name="T9" fmla="*/ 2147483647 h 18"/>
              <a:gd name="T10" fmla="*/ 1687874600 w 40"/>
              <a:gd name="T11" fmla="*/ 2147483647 h 18"/>
              <a:gd name="T12" fmla="*/ 2147483647 w 40"/>
              <a:gd name="T13" fmla="*/ 2147483647 h 18"/>
              <a:gd name="T14" fmla="*/ 2147483647 w 40"/>
              <a:gd name="T15" fmla="*/ 0 h 18"/>
              <a:gd name="T16" fmla="*/ 1875310653 w 40"/>
              <a:gd name="T17" fmla="*/ 0 h 18"/>
              <a:gd name="T18" fmla="*/ 1250312539 w 40"/>
              <a:gd name="T19" fmla="*/ 0 h 18"/>
              <a:gd name="T20" fmla="*/ 6251562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94" name="Freeform 52"/>
          <p:cNvSpPr>
            <a:spLocks/>
          </p:cNvSpPr>
          <p:nvPr>
            <p:custDataLst>
              <p:tags r:id="rId45"/>
            </p:custDataLst>
          </p:nvPr>
        </p:nvSpPr>
        <p:spPr bwMode="auto">
          <a:xfrm>
            <a:off x="3327405" y="3228975"/>
            <a:ext cx="4233" cy="57150"/>
          </a:xfrm>
          <a:custGeom>
            <a:avLst/>
            <a:gdLst>
              <a:gd name="T0" fmla="*/ 96224150 w 11"/>
              <a:gd name="T1" fmla="*/ 2147483647 h 32"/>
              <a:gd name="T2" fmla="*/ 144294500 w 11"/>
              <a:gd name="T3" fmla="*/ 2147483647 h 32"/>
              <a:gd name="T4" fmla="*/ 192364885 w 11"/>
              <a:gd name="T5" fmla="*/ 2147483647 h 32"/>
              <a:gd name="T6" fmla="*/ 216441768 w 11"/>
              <a:gd name="T7" fmla="*/ 2147483647 h 32"/>
              <a:gd name="T8" fmla="*/ 240435523 w 11"/>
              <a:gd name="T9" fmla="*/ 2147483647 h 32"/>
              <a:gd name="T10" fmla="*/ 264512117 w 11"/>
              <a:gd name="T11" fmla="*/ 2147483647 h 32"/>
              <a:gd name="T12" fmla="*/ 264512117 w 11"/>
              <a:gd name="T13" fmla="*/ 0 h 32"/>
              <a:gd name="T14" fmla="*/ 144294500 w 11"/>
              <a:gd name="T15" fmla="*/ 2147483647 h 32"/>
              <a:gd name="T16" fmla="*/ 72147250 w 11"/>
              <a:gd name="T17" fmla="*/ 2147483647 h 32"/>
              <a:gd name="T18" fmla="*/ 24076892 w 11"/>
              <a:gd name="T19" fmla="*/ 2147483647 h 32"/>
              <a:gd name="T20" fmla="*/ 0 w 11"/>
              <a:gd name="T21" fmla="*/ 2147483647 h 32"/>
              <a:gd name="T22" fmla="*/ 0 w 11"/>
              <a:gd name="T23" fmla="*/ 2147483647 h 32"/>
              <a:gd name="T24" fmla="*/ 24076892 w 11"/>
              <a:gd name="T25" fmla="*/ 2147483647 h 32"/>
              <a:gd name="T26" fmla="*/ 48070367 w 11"/>
              <a:gd name="T27" fmla="*/ 2147483647 h 32"/>
              <a:gd name="T28" fmla="*/ 96224150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95" name="Freeform 53"/>
          <p:cNvSpPr>
            <a:spLocks/>
          </p:cNvSpPr>
          <p:nvPr>
            <p:custDataLst>
              <p:tags r:id="rId46"/>
            </p:custDataLst>
          </p:nvPr>
        </p:nvSpPr>
        <p:spPr bwMode="auto">
          <a:xfrm>
            <a:off x="3357036" y="3259138"/>
            <a:ext cx="2117" cy="55562"/>
          </a:xfrm>
          <a:custGeom>
            <a:avLst/>
            <a:gdLst>
              <a:gd name="T0" fmla="*/ 0 w 14"/>
              <a:gd name="T1" fmla="*/ 0 h 24"/>
              <a:gd name="T2" fmla="*/ 0 w 14"/>
              <a:gd name="T3" fmla="*/ 2147483647 h 24"/>
              <a:gd name="T4" fmla="*/ 20431323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96" name="Freeform 54"/>
          <p:cNvSpPr>
            <a:spLocks/>
          </p:cNvSpPr>
          <p:nvPr>
            <p:custDataLst>
              <p:tags r:id="rId47"/>
            </p:custDataLst>
          </p:nvPr>
        </p:nvSpPr>
        <p:spPr bwMode="auto">
          <a:xfrm>
            <a:off x="3306238" y="3271845"/>
            <a:ext cx="21167" cy="58737"/>
          </a:xfrm>
          <a:custGeom>
            <a:avLst/>
            <a:gdLst>
              <a:gd name="T0" fmla="*/ 0 w 27"/>
              <a:gd name="T1" fmla="*/ 2147483647 h 18"/>
              <a:gd name="T2" fmla="*/ 1422903482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032718504 w 27"/>
              <a:gd name="T17" fmla="*/ 2147483647 h 18"/>
              <a:gd name="T18" fmla="*/ 1016359252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97" name="Freeform 55"/>
          <p:cNvSpPr>
            <a:spLocks/>
          </p:cNvSpPr>
          <p:nvPr>
            <p:custDataLst>
              <p:tags r:id="rId48"/>
            </p:custDataLst>
          </p:nvPr>
        </p:nvSpPr>
        <p:spPr bwMode="auto">
          <a:xfrm>
            <a:off x="3287184" y="3336925"/>
            <a:ext cx="31749" cy="57150"/>
          </a:xfrm>
          <a:custGeom>
            <a:avLst/>
            <a:gdLst>
              <a:gd name="T0" fmla="*/ 0 w 47"/>
              <a:gd name="T1" fmla="*/ 2147483647 h 49"/>
              <a:gd name="T2" fmla="*/ 130138142 w 47"/>
              <a:gd name="T3" fmla="*/ 2147483647 h 49"/>
              <a:gd name="T4" fmla="*/ 260019419 w 47"/>
              <a:gd name="T5" fmla="*/ 2147483647 h 49"/>
              <a:gd name="T6" fmla="*/ 520295198 w 47"/>
              <a:gd name="T7" fmla="*/ 2147483647 h 49"/>
              <a:gd name="T8" fmla="*/ 780314174 w 47"/>
              <a:gd name="T9" fmla="*/ 2147483647 h 49"/>
              <a:gd name="T10" fmla="*/ 1560628347 w 47"/>
              <a:gd name="T11" fmla="*/ 2147483647 h 49"/>
              <a:gd name="T12" fmla="*/ 182064719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1170471387 w 47"/>
              <a:gd name="T39" fmla="*/ 2147483647 h 49"/>
              <a:gd name="T40" fmla="*/ 650176569 w 47"/>
              <a:gd name="T41" fmla="*/ 2147483647 h 49"/>
              <a:gd name="T42" fmla="*/ 260019419 w 47"/>
              <a:gd name="T43" fmla="*/ 2147483647 h 49"/>
              <a:gd name="T44" fmla="*/ 130138142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98" name="Freeform 56"/>
          <p:cNvSpPr>
            <a:spLocks/>
          </p:cNvSpPr>
          <p:nvPr>
            <p:custDataLst>
              <p:tags r:id="rId49"/>
            </p:custDataLst>
          </p:nvPr>
        </p:nvSpPr>
        <p:spPr bwMode="auto">
          <a:xfrm>
            <a:off x="3312584" y="3313113"/>
            <a:ext cx="16933" cy="57150"/>
          </a:xfrm>
          <a:custGeom>
            <a:avLst/>
            <a:gdLst>
              <a:gd name="T0" fmla="*/ 0 w 26"/>
              <a:gd name="T1" fmla="*/ 0 h 9"/>
              <a:gd name="T2" fmla="*/ 0 w 26"/>
              <a:gd name="T3" fmla="*/ 2147483647 h 9"/>
              <a:gd name="T4" fmla="*/ 349541143 w 26"/>
              <a:gd name="T5" fmla="*/ 2147483647 h 9"/>
              <a:gd name="T6" fmla="*/ 699321143 w 26"/>
              <a:gd name="T7" fmla="*/ 2147483647 h 9"/>
              <a:gd name="T8" fmla="*/ 1281969374 w 26"/>
              <a:gd name="T9" fmla="*/ 2147483647 h 9"/>
              <a:gd name="T10" fmla="*/ 1748183306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099" name="Freeform 57"/>
          <p:cNvSpPr>
            <a:spLocks/>
          </p:cNvSpPr>
          <p:nvPr>
            <p:custDataLst>
              <p:tags r:id="rId50"/>
            </p:custDataLst>
          </p:nvPr>
        </p:nvSpPr>
        <p:spPr bwMode="auto">
          <a:xfrm>
            <a:off x="2622555" y="2984500"/>
            <a:ext cx="21167" cy="57150"/>
          </a:xfrm>
          <a:custGeom>
            <a:avLst/>
            <a:gdLst>
              <a:gd name="T0" fmla="*/ 0 w 39"/>
              <a:gd name="T1" fmla="*/ 0 h 18"/>
              <a:gd name="T2" fmla="*/ 0 w 39"/>
              <a:gd name="T3" fmla="*/ 2147483647 h 18"/>
              <a:gd name="T4" fmla="*/ 404616652 w 39"/>
              <a:gd name="T5" fmla="*/ 2147483647 h 18"/>
              <a:gd name="T6" fmla="*/ 876834929 w 39"/>
              <a:gd name="T7" fmla="*/ 2147483647 h 18"/>
              <a:gd name="T8" fmla="*/ 1551196525 w 39"/>
              <a:gd name="T9" fmla="*/ 2147483647 h 18"/>
              <a:gd name="T10" fmla="*/ 202341449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1955813075 w 39"/>
              <a:gd name="T21" fmla="*/ 2147483647 h 18"/>
              <a:gd name="T22" fmla="*/ 1281451886 w 39"/>
              <a:gd name="T23" fmla="*/ 2147483647 h 18"/>
              <a:gd name="T24" fmla="*/ 67452706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100" name="Group 58"/>
          <p:cNvGrpSpPr>
            <a:grpSpLocks/>
          </p:cNvGrpSpPr>
          <p:nvPr>
            <p:custDataLst>
              <p:tags r:id="rId51"/>
            </p:custDataLst>
          </p:nvPr>
        </p:nvGrpSpPr>
        <p:grpSpPr bwMode="auto">
          <a:xfrm>
            <a:off x="2789767" y="2817813"/>
            <a:ext cx="175684" cy="195262"/>
            <a:chOff x="1199" y="2121"/>
            <a:chExt cx="97" cy="123"/>
          </a:xfrm>
          <a:solidFill>
            <a:schemeClr val="accent5">
              <a:lumMod val="75000"/>
            </a:schemeClr>
          </a:solidFill>
        </p:grpSpPr>
        <p:sp>
          <p:nvSpPr>
            <p:cNvPr id="2584" name="Freeform 59"/>
            <p:cNvSpPr>
              <a:spLocks/>
            </p:cNvSpPr>
            <p:nvPr/>
          </p:nvSpPr>
          <p:spPr bwMode="auto">
            <a:xfrm>
              <a:off x="1274" y="2236"/>
              <a:ext cx="16" cy="8"/>
            </a:xfrm>
            <a:custGeom>
              <a:avLst/>
              <a:gdLst>
                <a:gd name="T0" fmla="*/ 0 w 52"/>
                <a:gd name="T1" fmla="*/ 1 h 25"/>
                <a:gd name="T2" fmla="*/ 0 w 52"/>
                <a:gd name="T3" fmla="*/ 1 h 25"/>
                <a:gd name="T4" fmla="*/ 1 w 52"/>
                <a:gd name="T5" fmla="*/ 1 h 25"/>
                <a:gd name="T6" fmla="*/ 1 w 52"/>
                <a:gd name="T7" fmla="*/ 1 h 25"/>
                <a:gd name="T8" fmla="*/ 1 w 52"/>
                <a:gd name="T9" fmla="*/ 1 h 25"/>
                <a:gd name="T10" fmla="*/ 1 w 52"/>
                <a:gd name="T11" fmla="*/ 1 h 25"/>
                <a:gd name="T12" fmla="*/ 1 w 52"/>
                <a:gd name="T13" fmla="*/ 0 h 25"/>
                <a:gd name="T14" fmla="*/ 2 w 52"/>
                <a:gd name="T15" fmla="*/ 0 h 25"/>
                <a:gd name="T16" fmla="*/ 2 w 52"/>
                <a:gd name="T17" fmla="*/ 0 h 25"/>
                <a:gd name="T18" fmla="*/ 1 w 52"/>
                <a:gd name="T19" fmla="*/ 0 h 25"/>
                <a:gd name="T20" fmla="*/ 1 w 52"/>
                <a:gd name="T21" fmla="*/ 0 h 25"/>
                <a:gd name="T22" fmla="*/ 1 w 52"/>
                <a:gd name="T23" fmla="*/ 0 h 25"/>
                <a:gd name="T24" fmla="*/ 1 w 52"/>
                <a:gd name="T25" fmla="*/ 0 h 25"/>
                <a:gd name="T26" fmla="*/ 0 w 52"/>
                <a:gd name="T27" fmla="*/ 0 h 25"/>
                <a:gd name="T28" fmla="*/ 0 w 52"/>
                <a:gd name="T29" fmla="*/ 0 h 25"/>
                <a:gd name="T30" fmla="*/ 0 w 52"/>
                <a:gd name="T31" fmla="*/ 1 h 25"/>
                <a:gd name="T32" fmla="*/ 0 w 52"/>
                <a:gd name="T33" fmla="*/ 1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5"/>
                <a:gd name="T53" fmla="*/ 52 w 52"/>
                <a:gd name="T54" fmla="*/ 25 h 2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85" name="Freeform 60"/>
            <p:cNvSpPr>
              <a:spLocks/>
            </p:cNvSpPr>
            <p:nvPr/>
          </p:nvSpPr>
          <p:spPr bwMode="auto">
            <a:xfrm>
              <a:off x="1199" y="2131"/>
              <a:ext cx="11" cy="4"/>
            </a:xfrm>
            <a:custGeom>
              <a:avLst/>
              <a:gdLst>
                <a:gd name="T0" fmla="*/ 0 w 33"/>
                <a:gd name="T1" fmla="*/ 0 h 13"/>
                <a:gd name="T2" fmla="*/ 0 w 33"/>
                <a:gd name="T3" fmla="*/ 0 h 13"/>
                <a:gd name="T4" fmla="*/ 0 w 33"/>
                <a:gd name="T5" fmla="*/ 0 h 13"/>
                <a:gd name="T6" fmla="*/ 0 w 33"/>
                <a:gd name="T7" fmla="*/ 0 h 13"/>
                <a:gd name="T8" fmla="*/ 1 w 33"/>
                <a:gd name="T9" fmla="*/ 0 h 13"/>
                <a:gd name="T10" fmla="*/ 1 w 33"/>
                <a:gd name="T11" fmla="*/ 0 h 13"/>
                <a:gd name="T12" fmla="*/ 1 w 33"/>
                <a:gd name="T13" fmla="*/ 0 h 13"/>
                <a:gd name="T14" fmla="*/ 1 w 33"/>
                <a:gd name="T15" fmla="*/ 0 h 13"/>
                <a:gd name="T16" fmla="*/ 1 w 33"/>
                <a:gd name="T17" fmla="*/ 0 h 13"/>
                <a:gd name="T18" fmla="*/ 0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3"/>
                <a:gd name="T35" fmla="*/ 33 w 33"/>
                <a:gd name="T36" fmla="*/ 13 h 1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86" name="Freeform 61"/>
            <p:cNvSpPr>
              <a:spLocks/>
            </p:cNvSpPr>
            <p:nvPr/>
          </p:nvSpPr>
          <p:spPr bwMode="auto">
            <a:xfrm>
              <a:off x="1210" y="2121"/>
              <a:ext cx="20" cy="28"/>
            </a:xfrm>
            <a:custGeom>
              <a:avLst/>
              <a:gdLst>
                <a:gd name="T0" fmla="*/ 1 w 67"/>
                <a:gd name="T1" fmla="*/ 1 h 86"/>
                <a:gd name="T2" fmla="*/ 0 w 67"/>
                <a:gd name="T3" fmla="*/ 0 h 86"/>
                <a:gd name="T4" fmla="*/ 1 w 67"/>
                <a:gd name="T5" fmla="*/ 0 h 86"/>
                <a:gd name="T6" fmla="*/ 1 w 67"/>
                <a:gd name="T7" fmla="*/ 0 h 86"/>
                <a:gd name="T8" fmla="*/ 1 w 67"/>
                <a:gd name="T9" fmla="*/ 0 h 86"/>
                <a:gd name="T10" fmla="*/ 1 w 67"/>
                <a:gd name="T11" fmla="*/ 0 h 86"/>
                <a:gd name="T12" fmla="*/ 1 w 67"/>
                <a:gd name="T13" fmla="*/ 1 h 86"/>
                <a:gd name="T14" fmla="*/ 1 w 67"/>
                <a:gd name="T15" fmla="*/ 1 h 86"/>
                <a:gd name="T16" fmla="*/ 1 w 67"/>
                <a:gd name="T17" fmla="*/ 1 h 86"/>
                <a:gd name="T18" fmla="*/ 1 w 67"/>
                <a:gd name="T19" fmla="*/ 1 h 86"/>
                <a:gd name="T20" fmla="*/ 2 w 67"/>
                <a:gd name="T21" fmla="*/ 1 h 86"/>
                <a:gd name="T22" fmla="*/ 2 w 67"/>
                <a:gd name="T23" fmla="*/ 2 h 86"/>
                <a:gd name="T24" fmla="*/ 2 w 67"/>
                <a:gd name="T25" fmla="*/ 2 h 86"/>
                <a:gd name="T26" fmla="*/ 2 w 67"/>
                <a:gd name="T27" fmla="*/ 2 h 86"/>
                <a:gd name="T28" fmla="*/ 2 w 67"/>
                <a:gd name="T29" fmla="*/ 2 h 86"/>
                <a:gd name="T30" fmla="*/ 2 w 67"/>
                <a:gd name="T31" fmla="*/ 3 h 86"/>
                <a:gd name="T32" fmla="*/ 1 w 67"/>
                <a:gd name="T33" fmla="*/ 3 h 86"/>
                <a:gd name="T34" fmla="*/ 1 w 67"/>
                <a:gd name="T35" fmla="*/ 2 h 86"/>
                <a:gd name="T36" fmla="*/ 1 w 67"/>
                <a:gd name="T37" fmla="*/ 2 h 86"/>
                <a:gd name="T38" fmla="*/ 1 w 67"/>
                <a:gd name="T39" fmla="*/ 2 h 86"/>
                <a:gd name="T40" fmla="*/ 1 w 67"/>
                <a:gd name="T41" fmla="*/ 1 h 86"/>
                <a:gd name="T42" fmla="*/ 1 w 67"/>
                <a:gd name="T43" fmla="*/ 1 h 86"/>
                <a:gd name="T44" fmla="*/ 1 w 67"/>
                <a:gd name="T45" fmla="*/ 1 h 86"/>
                <a:gd name="T46" fmla="*/ 1 w 67"/>
                <a:gd name="T47" fmla="*/ 1 h 86"/>
                <a:gd name="T48" fmla="*/ 1 w 67"/>
                <a:gd name="T49" fmla="*/ 1 h 86"/>
                <a:gd name="T50" fmla="*/ 1 w 67"/>
                <a:gd name="T51" fmla="*/ 1 h 86"/>
                <a:gd name="T52" fmla="*/ 1 w 67"/>
                <a:gd name="T53" fmla="*/ 1 h 86"/>
                <a:gd name="T54" fmla="*/ 1 w 67"/>
                <a:gd name="T55" fmla="*/ 1 h 86"/>
                <a:gd name="T56" fmla="*/ 1 w 67"/>
                <a:gd name="T57" fmla="*/ 1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67"/>
                <a:gd name="T88" fmla="*/ 0 h 86"/>
                <a:gd name="T89" fmla="*/ 67 w 67"/>
                <a:gd name="T90" fmla="*/ 86 h 8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87" name="Freeform 62"/>
            <p:cNvSpPr>
              <a:spLocks/>
            </p:cNvSpPr>
            <p:nvPr/>
          </p:nvSpPr>
          <p:spPr bwMode="auto">
            <a:xfrm>
              <a:off x="1201" y="2159"/>
              <a:ext cx="16" cy="28"/>
            </a:xfrm>
            <a:custGeom>
              <a:avLst/>
              <a:gdLst>
                <a:gd name="T0" fmla="*/ 1 w 49"/>
                <a:gd name="T1" fmla="*/ 0 h 86"/>
                <a:gd name="T2" fmla="*/ 1 w 49"/>
                <a:gd name="T3" fmla="*/ 0 h 86"/>
                <a:gd name="T4" fmla="*/ 1 w 49"/>
                <a:gd name="T5" fmla="*/ 0 h 86"/>
                <a:gd name="T6" fmla="*/ 0 w 49"/>
                <a:gd name="T7" fmla="*/ 0 h 86"/>
                <a:gd name="T8" fmla="*/ 0 w 49"/>
                <a:gd name="T9" fmla="*/ 0 h 86"/>
                <a:gd name="T10" fmla="*/ 0 w 49"/>
                <a:gd name="T11" fmla="*/ 1 h 86"/>
                <a:gd name="T12" fmla="*/ 0 w 49"/>
                <a:gd name="T13" fmla="*/ 1 h 86"/>
                <a:gd name="T14" fmla="*/ 0 w 49"/>
                <a:gd name="T15" fmla="*/ 1 h 86"/>
                <a:gd name="T16" fmla="*/ 0 w 49"/>
                <a:gd name="T17" fmla="*/ 2 h 86"/>
                <a:gd name="T18" fmla="*/ 0 w 49"/>
                <a:gd name="T19" fmla="*/ 2 h 86"/>
                <a:gd name="T20" fmla="*/ 0 w 49"/>
                <a:gd name="T21" fmla="*/ 2 h 86"/>
                <a:gd name="T22" fmla="*/ 0 w 49"/>
                <a:gd name="T23" fmla="*/ 2 h 86"/>
                <a:gd name="T24" fmla="*/ 1 w 49"/>
                <a:gd name="T25" fmla="*/ 3 h 86"/>
                <a:gd name="T26" fmla="*/ 1 w 49"/>
                <a:gd name="T27" fmla="*/ 3 h 86"/>
                <a:gd name="T28" fmla="*/ 1 w 49"/>
                <a:gd name="T29" fmla="*/ 3 h 86"/>
                <a:gd name="T30" fmla="*/ 1 w 49"/>
                <a:gd name="T31" fmla="*/ 3 h 86"/>
                <a:gd name="T32" fmla="*/ 1 w 49"/>
                <a:gd name="T33" fmla="*/ 2 h 86"/>
                <a:gd name="T34" fmla="*/ 2 w 49"/>
                <a:gd name="T35" fmla="*/ 2 h 86"/>
                <a:gd name="T36" fmla="*/ 2 w 49"/>
                <a:gd name="T37" fmla="*/ 2 h 86"/>
                <a:gd name="T38" fmla="*/ 2 w 49"/>
                <a:gd name="T39" fmla="*/ 1 h 86"/>
                <a:gd name="T40" fmla="*/ 2 w 49"/>
                <a:gd name="T41" fmla="*/ 1 h 86"/>
                <a:gd name="T42" fmla="*/ 2 w 49"/>
                <a:gd name="T43" fmla="*/ 1 h 86"/>
                <a:gd name="T44" fmla="*/ 2 w 49"/>
                <a:gd name="T45" fmla="*/ 1 h 86"/>
                <a:gd name="T46" fmla="*/ 2 w 49"/>
                <a:gd name="T47" fmla="*/ 1 h 86"/>
                <a:gd name="T48" fmla="*/ 1 w 49"/>
                <a:gd name="T49" fmla="*/ 1 h 86"/>
                <a:gd name="T50" fmla="*/ 1 w 49"/>
                <a:gd name="T51" fmla="*/ 0 h 86"/>
                <a:gd name="T52" fmla="*/ 1 w 49"/>
                <a:gd name="T53" fmla="*/ 0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88" name="Freeform 63"/>
            <p:cNvSpPr>
              <a:spLocks/>
            </p:cNvSpPr>
            <p:nvPr/>
          </p:nvSpPr>
          <p:spPr bwMode="auto">
            <a:xfrm>
              <a:off x="1226" y="2161"/>
              <a:ext cx="2" cy="4"/>
            </a:xfrm>
            <a:custGeom>
              <a:avLst/>
              <a:gdLst>
                <a:gd name="T0" fmla="*/ 0 w 6"/>
                <a:gd name="T1" fmla="*/ 0 h 12"/>
                <a:gd name="T2" fmla="*/ 0 w 6"/>
                <a:gd name="T3" fmla="*/ 0 h 12"/>
                <a:gd name="T4" fmla="*/ 0 w 6"/>
                <a:gd name="T5" fmla="*/ 0 h 12"/>
                <a:gd name="T6" fmla="*/ 0 w 6"/>
                <a:gd name="T7" fmla="*/ 0 h 12"/>
                <a:gd name="T8" fmla="*/ 0 w 6"/>
                <a:gd name="T9" fmla="*/ 0 h 12"/>
                <a:gd name="T10" fmla="*/ 0 w 6"/>
                <a:gd name="T11" fmla="*/ 0 h 12"/>
                <a:gd name="T12" fmla="*/ 0 w 6"/>
                <a:gd name="T13" fmla="*/ 0 h 12"/>
                <a:gd name="T14" fmla="*/ 0 w 6"/>
                <a:gd name="T15" fmla="*/ 0 h 12"/>
                <a:gd name="T16" fmla="*/ 0 60000 65536"/>
                <a:gd name="T17" fmla="*/ 0 60000 65536"/>
                <a:gd name="T18" fmla="*/ 0 60000 65536"/>
                <a:gd name="T19" fmla="*/ 0 60000 65536"/>
                <a:gd name="T20" fmla="*/ 0 60000 65536"/>
                <a:gd name="T21" fmla="*/ 0 60000 65536"/>
                <a:gd name="T22" fmla="*/ 0 60000 65536"/>
                <a:gd name="T23" fmla="*/ 0 60000 65536"/>
                <a:gd name="T24" fmla="*/ 0 w 6"/>
                <a:gd name="T25" fmla="*/ 0 h 12"/>
                <a:gd name="T26" fmla="*/ 6 w 6"/>
                <a:gd name="T27" fmla="*/ 12 h 1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 h="12">
                  <a:moveTo>
                    <a:pt x="0" y="12"/>
                  </a:moveTo>
                  <a:lnTo>
                    <a:pt x="6" y="0"/>
                  </a:lnTo>
                  <a:lnTo>
                    <a:pt x="4" y="0"/>
                  </a:lnTo>
                  <a:lnTo>
                    <a:pt x="2" y="2"/>
                  </a:lnTo>
                  <a:lnTo>
                    <a:pt x="1" y="4"/>
                  </a:lnTo>
                  <a:lnTo>
                    <a:pt x="0" y="6"/>
                  </a:lnTo>
                  <a:lnTo>
                    <a:pt x="0" y="10"/>
                  </a:lnTo>
                  <a:lnTo>
                    <a:pt x="0" y="12"/>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89" name="Freeform 64"/>
            <p:cNvSpPr>
              <a:spLocks/>
            </p:cNvSpPr>
            <p:nvPr/>
          </p:nvSpPr>
          <p:spPr bwMode="auto">
            <a:xfrm>
              <a:off x="1230" y="2154"/>
              <a:ext cx="13" cy="15"/>
            </a:xfrm>
            <a:custGeom>
              <a:avLst/>
              <a:gdLst>
                <a:gd name="T0" fmla="*/ 0 w 39"/>
                <a:gd name="T1" fmla="*/ 0 h 48"/>
                <a:gd name="T2" fmla="*/ 0 w 39"/>
                <a:gd name="T3" fmla="*/ 0 h 48"/>
                <a:gd name="T4" fmla="*/ 1 w 39"/>
                <a:gd name="T5" fmla="*/ 1 h 48"/>
                <a:gd name="T6" fmla="*/ 1 w 39"/>
                <a:gd name="T7" fmla="*/ 1 h 48"/>
                <a:gd name="T8" fmla="*/ 1 w 39"/>
                <a:gd name="T9" fmla="*/ 1 h 48"/>
                <a:gd name="T10" fmla="*/ 1 w 39"/>
                <a:gd name="T11" fmla="*/ 1 h 48"/>
                <a:gd name="T12" fmla="*/ 1 w 39"/>
                <a:gd name="T13" fmla="*/ 2 h 48"/>
                <a:gd name="T14" fmla="*/ 1 w 39"/>
                <a:gd name="T15" fmla="*/ 1 h 48"/>
                <a:gd name="T16" fmla="*/ 0 w 39"/>
                <a:gd name="T17" fmla="*/ 1 h 48"/>
                <a:gd name="T18" fmla="*/ 0 w 39"/>
                <a:gd name="T19" fmla="*/ 1 h 48"/>
                <a:gd name="T20" fmla="*/ 0 w 39"/>
                <a:gd name="T21" fmla="*/ 1 h 48"/>
                <a:gd name="T22" fmla="*/ 0 w 39"/>
                <a:gd name="T23" fmla="*/ 0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48"/>
                <a:gd name="T41" fmla="*/ 39 w 39"/>
                <a:gd name="T42" fmla="*/ 48 h 4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90" name="Freeform 65"/>
            <p:cNvSpPr>
              <a:spLocks/>
            </p:cNvSpPr>
            <p:nvPr/>
          </p:nvSpPr>
          <p:spPr bwMode="auto">
            <a:xfrm>
              <a:off x="1247" y="2167"/>
              <a:ext cx="6" cy="14"/>
            </a:xfrm>
            <a:custGeom>
              <a:avLst/>
              <a:gdLst>
                <a:gd name="T0" fmla="*/ 0 w 16"/>
                <a:gd name="T1" fmla="*/ 0 h 43"/>
                <a:gd name="T2" fmla="*/ 1 w 16"/>
                <a:gd name="T3" fmla="*/ 0 h 43"/>
                <a:gd name="T4" fmla="*/ 1 w 16"/>
                <a:gd name="T5" fmla="*/ 1 h 43"/>
                <a:gd name="T6" fmla="*/ 1 w 16"/>
                <a:gd name="T7" fmla="*/ 1 h 43"/>
                <a:gd name="T8" fmla="*/ 1 w 16"/>
                <a:gd name="T9" fmla="*/ 1 h 43"/>
                <a:gd name="T10" fmla="*/ 1 w 16"/>
                <a:gd name="T11" fmla="*/ 1 h 43"/>
                <a:gd name="T12" fmla="*/ 1 w 16"/>
                <a:gd name="T13" fmla="*/ 1 h 43"/>
                <a:gd name="T14" fmla="*/ 0 w 16"/>
                <a:gd name="T15" fmla="*/ 1 h 43"/>
                <a:gd name="T16" fmla="*/ 0 w 16"/>
                <a:gd name="T17" fmla="*/ 2 h 43"/>
                <a:gd name="T18" fmla="*/ 0 w 16"/>
                <a:gd name="T19" fmla="*/ 1 h 43"/>
                <a:gd name="T20" fmla="*/ 0 w 16"/>
                <a:gd name="T21" fmla="*/ 1 h 43"/>
                <a:gd name="T22" fmla="*/ 0 w 16"/>
                <a:gd name="T23" fmla="*/ 0 h 43"/>
                <a:gd name="T24" fmla="*/ 0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
                <a:gd name="T40" fmla="*/ 0 h 43"/>
                <a:gd name="T41" fmla="*/ 16 w 16"/>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91" name="Freeform 66"/>
            <p:cNvSpPr>
              <a:spLocks/>
            </p:cNvSpPr>
            <p:nvPr/>
          </p:nvSpPr>
          <p:spPr bwMode="auto">
            <a:xfrm>
              <a:off x="1248" y="2190"/>
              <a:ext cx="8" cy="12"/>
            </a:xfrm>
            <a:custGeom>
              <a:avLst/>
              <a:gdLst>
                <a:gd name="T0" fmla="*/ 1 w 24"/>
                <a:gd name="T1" fmla="*/ 1 h 37"/>
                <a:gd name="T2" fmla="*/ 1 w 24"/>
                <a:gd name="T3" fmla="*/ 1 h 37"/>
                <a:gd name="T4" fmla="*/ 1 w 24"/>
                <a:gd name="T5" fmla="*/ 1 h 37"/>
                <a:gd name="T6" fmla="*/ 0 w 24"/>
                <a:gd name="T7" fmla="*/ 0 h 37"/>
                <a:gd name="T8" fmla="*/ 0 w 24"/>
                <a:gd name="T9" fmla="*/ 0 h 37"/>
                <a:gd name="T10" fmla="*/ 0 w 24"/>
                <a:gd name="T11" fmla="*/ 0 h 37"/>
                <a:gd name="T12" fmla="*/ 0 w 24"/>
                <a:gd name="T13" fmla="*/ 1 h 37"/>
                <a:gd name="T14" fmla="*/ 0 w 24"/>
                <a:gd name="T15" fmla="*/ 1 h 37"/>
                <a:gd name="T16" fmla="*/ 0 w 24"/>
                <a:gd name="T17" fmla="*/ 1 h 37"/>
                <a:gd name="T18" fmla="*/ 0 w 24"/>
                <a:gd name="T19" fmla="*/ 1 h 37"/>
                <a:gd name="T20" fmla="*/ 0 w 24"/>
                <a:gd name="T21" fmla="*/ 1 h 37"/>
                <a:gd name="T22" fmla="*/ 0 w 24"/>
                <a:gd name="T23" fmla="*/ 1 h 37"/>
                <a:gd name="T24" fmla="*/ 0 w 24"/>
                <a:gd name="T25" fmla="*/ 1 h 37"/>
                <a:gd name="T26" fmla="*/ 1 w 24"/>
                <a:gd name="T27" fmla="*/ 1 h 37"/>
                <a:gd name="T28" fmla="*/ 1 w 24"/>
                <a:gd name="T29" fmla="*/ 1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
                <a:gd name="T46" fmla="*/ 0 h 37"/>
                <a:gd name="T47" fmla="*/ 24 w 24"/>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92" name="Freeform 67"/>
            <p:cNvSpPr>
              <a:spLocks/>
            </p:cNvSpPr>
            <p:nvPr/>
          </p:nvSpPr>
          <p:spPr bwMode="auto">
            <a:xfrm>
              <a:off x="1265" y="2204"/>
              <a:ext cx="11" cy="17"/>
            </a:xfrm>
            <a:custGeom>
              <a:avLst/>
              <a:gdLst>
                <a:gd name="T0" fmla="*/ 1 w 34"/>
                <a:gd name="T1" fmla="*/ 0 h 55"/>
                <a:gd name="T2" fmla="*/ 1 w 34"/>
                <a:gd name="T3" fmla="*/ 0 h 55"/>
                <a:gd name="T4" fmla="*/ 1 w 34"/>
                <a:gd name="T5" fmla="*/ 1 h 55"/>
                <a:gd name="T6" fmla="*/ 1 w 34"/>
                <a:gd name="T7" fmla="*/ 1 h 55"/>
                <a:gd name="T8" fmla="*/ 1 w 34"/>
                <a:gd name="T9" fmla="*/ 1 h 55"/>
                <a:gd name="T10" fmla="*/ 1 w 34"/>
                <a:gd name="T11" fmla="*/ 1 h 55"/>
                <a:gd name="T12" fmla="*/ 1 w 34"/>
                <a:gd name="T13" fmla="*/ 2 h 55"/>
                <a:gd name="T14" fmla="*/ 1 w 34"/>
                <a:gd name="T15" fmla="*/ 2 h 55"/>
                <a:gd name="T16" fmla="*/ 1 w 34"/>
                <a:gd name="T17" fmla="*/ 2 h 55"/>
                <a:gd name="T18" fmla="*/ 0 w 34"/>
                <a:gd name="T19" fmla="*/ 2 h 55"/>
                <a:gd name="T20" fmla="*/ 0 w 34"/>
                <a:gd name="T21" fmla="*/ 2 h 55"/>
                <a:gd name="T22" fmla="*/ 0 w 34"/>
                <a:gd name="T23" fmla="*/ 1 h 55"/>
                <a:gd name="T24" fmla="*/ 1 w 34"/>
                <a:gd name="T25" fmla="*/ 1 h 55"/>
                <a:gd name="T26" fmla="*/ 1 w 34"/>
                <a:gd name="T27" fmla="*/ 1 h 55"/>
                <a:gd name="T28" fmla="*/ 1 w 34"/>
                <a:gd name="T29" fmla="*/ 0 h 55"/>
                <a:gd name="T30" fmla="*/ 1 w 34"/>
                <a:gd name="T31" fmla="*/ 0 h 55"/>
                <a:gd name="T32" fmla="*/ 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
                <a:gd name="T52" fmla="*/ 0 h 55"/>
                <a:gd name="T53" fmla="*/ 34 w 34"/>
                <a:gd name="T54" fmla="*/ 55 h 5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93" name="Freeform 68"/>
            <p:cNvSpPr>
              <a:spLocks/>
            </p:cNvSpPr>
            <p:nvPr/>
          </p:nvSpPr>
          <p:spPr bwMode="auto">
            <a:xfrm>
              <a:off x="1285" y="2215"/>
              <a:ext cx="11" cy="4"/>
            </a:xfrm>
            <a:custGeom>
              <a:avLst/>
              <a:gdLst>
                <a:gd name="T0" fmla="*/ 0 w 33"/>
                <a:gd name="T1" fmla="*/ 0 h 12"/>
                <a:gd name="T2" fmla="*/ 0 w 33"/>
                <a:gd name="T3" fmla="*/ 0 h 12"/>
                <a:gd name="T4" fmla="*/ 0 w 33"/>
                <a:gd name="T5" fmla="*/ 0 h 12"/>
                <a:gd name="T6" fmla="*/ 0 w 33"/>
                <a:gd name="T7" fmla="*/ 0 h 12"/>
                <a:gd name="T8" fmla="*/ 1 w 33"/>
                <a:gd name="T9" fmla="*/ 0 h 12"/>
                <a:gd name="T10" fmla="*/ 1 w 33"/>
                <a:gd name="T11" fmla="*/ 0 h 12"/>
                <a:gd name="T12" fmla="*/ 1 w 33"/>
                <a:gd name="T13" fmla="*/ 0 h 12"/>
                <a:gd name="T14" fmla="*/ 1 w 33"/>
                <a:gd name="T15" fmla="*/ 0 h 12"/>
                <a:gd name="T16" fmla="*/ 1 w 33"/>
                <a:gd name="T17" fmla="*/ 0 h 12"/>
                <a:gd name="T18" fmla="*/ 0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12"/>
                <a:gd name="T35" fmla="*/ 33 w 33"/>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101" name="Freeform 69"/>
          <p:cNvSpPr>
            <a:spLocks/>
          </p:cNvSpPr>
          <p:nvPr>
            <p:custDataLst>
              <p:tags r:id="rId52"/>
            </p:custDataLst>
          </p:nvPr>
        </p:nvSpPr>
        <p:spPr bwMode="auto">
          <a:xfrm>
            <a:off x="10541000" y="4244975"/>
            <a:ext cx="16933" cy="57150"/>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114043301 w 33"/>
              <a:gd name="T13" fmla="*/ 2147483647 h 62"/>
              <a:gd name="T14" fmla="*/ 227938821 w 33"/>
              <a:gd name="T15" fmla="*/ 2147483647 h 62"/>
              <a:gd name="T16" fmla="*/ 456025424 w 33"/>
              <a:gd name="T17" fmla="*/ 2147483647 h 62"/>
              <a:gd name="T18" fmla="*/ 798007787 w 33"/>
              <a:gd name="T19" fmla="*/ 2147483647 h 62"/>
              <a:gd name="T20" fmla="*/ 1139989573 w 33"/>
              <a:gd name="T21" fmla="*/ 0 h 62"/>
              <a:gd name="T22" fmla="*/ 1481971936 w 33"/>
              <a:gd name="T23" fmla="*/ 2147483647 h 62"/>
              <a:gd name="T24" fmla="*/ 1880976118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02" name="Freeform 70"/>
          <p:cNvSpPr>
            <a:spLocks/>
          </p:cNvSpPr>
          <p:nvPr>
            <p:custDataLst>
              <p:tags r:id="rId53"/>
            </p:custDataLst>
          </p:nvPr>
        </p:nvSpPr>
        <p:spPr bwMode="auto">
          <a:xfrm>
            <a:off x="10553703" y="4335470"/>
            <a:ext cx="12700" cy="58737"/>
          </a:xfrm>
          <a:custGeom>
            <a:avLst/>
            <a:gdLst>
              <a:gd name="T0" fmla="*/ 0 w 26"/>
              <a:gd name="T1" fmla="*/ 2147483647 h 18"/>
              <a:gd name="T2" fmla="*/ 0 w 26"/>
              <a:gd name="T3" fmla="*/ 0 h 18"/>
              <a:gd name="T4" fmla="*/ 1278345112 w 26"/>
              <a:gd name="T5" fmla="*/ 0 h 18"/>
              <a:gd name="T6" fmla="*/ 294992552 w 26"/>
              <a:gd name="T7" fmla="*/ 2147483647 h 18"/>
              <a:gd name="T8" fmla="*/ 294992552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03" name="Freeform 71"/>
          <p:cNvSpPr>
            <a:spLocks/>
          </p:cNvSpPr>
          <p:nvPr>
            <p:custDataLst>
              <p:tags r:id="rId54"/>
            </p:custDataLst>
          </p:nvPr>
        </p:nvSpPr>
        <p:spPr bwMode="auto">
          <a:xfrm>
            <a:off x="10706100" y="4244982"/>
            <a:ext cx="103717" cy="13017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1694832701 w 180"/>
              <a:gd name="T45" fmla="*/ 2147483647 h 240"/>
              <a:gd name="T46" fmla="*/ 1210567993 w 180"/>
              <a:gd name="T47" fmla="*/ 2147483647 h 240"/>
              <a:gd name="T48" fmla="*/ 807169717 w 180"/>
              <a:gd name="T49" fmla="*/ 2147483647 h 240"/>
              <a:gd name="T50" fmla="*/ 484264492 w 180"/>
              <a:gd name="T51" fmla="*/ 2147483647 h 240"/>
              <a:gd name="T52" fmla="*/ 322905333 w 180"/>
              <a:gd name="T53" fmla="*/ 2147483647 h 240"/>
              <a:gd name="T54" fmla="*/ 80679552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807169717 w 180"/>
              <a:gd name="T67" fmla="*/ 1276504946 h 240"/>
              <a:gd name="T68" fmla="*/ 1533472786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04" name="Freeform 72"/>
          <p:cNvSpPr>
            <a:spLocks/>
          </p:cNvSpPr>
          <p:nvPr>
            <p:custDataLst>
              <p:tags r:id="rId55"/>
            </p:custDataLst>
          </p:nvPr>
        </p:nvSpPr>
        <p:spPr bwMode="auto">
          <a:xfrm>
            <a:off x="10706101" y="4217988"/>
            <a:ext cx="19051" cy="57150"/>
          </a:xfrm>
          <a:custGeom>
            <a:avLst/>
            <a:gdLst>
              <a:gd name="T0" fmla="*/ 0 w 27"/>
              <a:gd name="T1" fmla="*/ 0 h 30"/>
              <a:gd name="T2" fmla="*/ 148139596 w 27"/>
              <a:gd name="T3" fmla="*/ 2147483647 h 30"/>
              <a:gd name="T4" fmla="*/ 444698660 w 27"/>
              <a:gd name="T5" fmla="*/ 2147483647 h 30"/>
              <a:gd name="T6" fmla="*/ 592838322 w 27"/>
              <a:gd name="T7" fmla="*/ 2147483647 h 30"/>
              <a:gd name="T8" fmla="*/ 592838322 w 27"/>
              <a:gd name="T9" fmla="*/ 2147483647 h 30"/>
              <a:gd name="T10" fmla="*/ 444698660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1630094704 w 27"/>
              <a:gd name="T23" fmla="*/ 2147483647 h 30"/>
              <a:gd name="T24" fmla="*/ 1037256911 w 27"/>
              <a:gd name="T25" fmla="*/ 2147483647 h 30"/>
              <a:gd name="T26" fmla="*/ 592838322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105" name="Group 73"/>
          <p:cNvGrpSpPr>
            <a:grpSpLocks/>
          </p:cNvGrpSpPr>
          <p:nvPr>
            <p:custDataLst>
              <p:tags r:id="rId56"/>
            </p:custDataLst>
          </p:nvPr>
        </p:nvGrpSpPr>
        <p:grpSpPr bwMode="auto">
          <a:xfrm>
            <a:off x="10293351" y="4738688"/>
            <a:ext cx="611716" cy="404812"/>
            <a:chOff x="5372" y="3323"/>
            <a:chExt cx="341" cy="253"/>
          </a:xfrm>
          <a:solidFill>
            <a:schemeClr val="accent5">
              <a:lumMod val="75000"/>
            </a:schemeClr>
          </a:solidFill>
        </p:grpSpPr>
        <p:sp>
          <p:nvSpPr>
            <p:cNvPr id="2581" name="Freeform 74"/>
            <p:cNvSpPr>
              <a:spLocks/>
            </p:cNvSpPr>
            <p:nvPr/>
          </p:nvSpPr>
          <p:spPr bwMode="auto">
            <a:xfrm>
              <a:off x="5372" y="3565"/>
              <a:ext cx="16" cy="11"/>
            </a:xfrm>
            <a:custGeom>
              <a:avLst/>
              <a:gdLst>
                <a:gd name="T0" fmla="*/ 0 w 53"/>
                <a:gd name="T1" fmla="*/ 1 h 33"/>
                <a:gd name="T2" fmla="*/ 0 w 53"/>
                <a:gd name="T3" fmla="*/ 1 h 33"/>
                <a:gd name="T4" fmla="*/ 0 w 53"/>
                <a:gd name="T5" fmla="*/ 1 h 33"/>
                <a:gd name="T6" fmla="*/ 1 w 53"/>
                <a:gd name="T7" fmla="*/ 1 h 33"/>
                <a:gd name="T8" fmla="*/ 1 w 53"/>
                <a:gd name="T9" fmla="*/ 0 h 33"/>
                <a:gd name="T10" fmla="*/ 1 w 53"/>
                <a:gd name="T11" fmla="*/ 0 h 33"/>
                <a:gd name="T12" fmla="*/ 1 w 53"/>
                <a:gd name="T13" fmla="*/ 0 h 33"/>
                <a:gd name="T14" fmla="*/ 1 w 53"/>
                <a:gd name="T15" fmla="*/ 0 h 33"/>
                <a:gd name="T16" fmla="*/ 2 w 53"/>
                <a:gd name="T17" fmla="*/ 0 h 33"/>
                <a:gd name="T18" fmla="*/ 2 w 53"/>
                <a:gd name="T19" fmla="*/ 1 h 33"/>
                <a:gd name="T20" fmla="*/ 1 w 53"/>
                <a:gd name="T21" fmla="*/ 1 h 33"/>
                <a:gd name="T22" fmla="*/ 1 w 53"/>
                <a:gd name="T23" fmla="*/ 1 h 33"/>
                <a:gd name="T24" fmla="*/ 1 w 53"/>
                <a:gd name="T25" fmla="*/ 1 h 33"/>
                <a:gd name="T26" fmla="*/ 1 w 53"/>
                <a:gd name="T27" fmla="*/ 1 h 33"/>
                <a:gd name="T28" fmla="*/ 0 w 53"/>
                <a:gd name="T29" fmla="*/ 1 h 33"/>
                <a:gd name="T30" fmla="*/ 0 w 53"/>
                <a:gd name="T31" fmla="*/ 1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33"/>
                <a:gd name="T50" fmla="*/ 53 w 53"/>
                <a:gd name="T51" fmla="*/ 33 h 3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582" name="Freeform 75"/>
            <p:cNvSpPr>
              <a:spLocks/>
            </p:cNvSpPr>
            <p:nvPr/>
          </p:nvSpPr>
          <p:spPr bwMode="auto">
            <a:xfrm>
              <a:off x="5379" y="3446"/>
              <a:ext cx="202" cy="117"/>
            </a:xfrm>
            <a:custGeom>
              <a:avLst/>
              <a:gdLst>
                <a:gd name="T0" fmla="*/ 1 w 631"/>
                <a:gd name="T1" fmla="*/ 10 h 358"/>
                <a:gd name="T2" fmla="*/ 2 w 631"/>
                <a:gd name="T3" fmla="*/ 10 h 358"/>
                <a:gd name="T4" fmla="*/ 2 w 631"/>
                <a:gd name="T5" fmla="*/ 10 h 358"/>
                <a:gd name="T6" fmla="*/ 3 w 631"/>
                <a:gd name="T7" fmla="*/ 9 h 358"/>
                <a:gd name="T8" fmla="*/ 3 w 631"/>
                <a:gd name="T9" fmla="*/ 9 h 358"/>
                <a:gd name="T10" fmla="*/ 4 w 631"/>
                <a:gd name="T11" fmla="*/ 9 h 358"/>
                <a:gd name="T12" fmla="*/ 4 w 631"/>
                <a:gd name="T13" fmla="*/ 8 h 358"/>
                <a:gd name="T14" fmla="*/ 5 w 631"/>
                <a:gd name="T15" fmla="*/ 8 h 358"/>
                <a:gd name="T16" fmla="*/ 6 w 631"/>
                <a:gd name="T17" fmla="*/ 7 h 358"/>
                <a:gd name="T18" fmla="*/ 7 w 631"/>
                <a:gd name="T19" fmla="*/ 7 h 358"/>
                <a:gd name="T20" fmla="*/ 9 w 631"/>
                <a:gd name="T21" fmla="*/ 6 h 358"/>
                <a:gd name="T22" fmla="*/ 11 w 631"/>
                <a:gd name="T23" fmla="*/ 5 h 358"/>
                <a:gd name="T24" fmla="*/ 12 w 631"/>
                <a:gd name="T25" fmla="*/ 5 h 358"/>
                <a:gd name="T26" fmla="*/ 13 w 631"/>
                <a:gd name="T27" fmla="*/ 5 h 358"/>
                <a:gd name="T28" fmla="*/ 13 w 631"/>
                <a:gd name="T29" fmla="*/ 5 h 358"/>
                <a:gd name="T30" fmla="*/ 14 w 631"/>
                <a:gd name="T31" fmla="*/ 4 h 358"/>
                <a:gd name="T32" fmla="*/ 15 w 631"/>
                <a:gd name="T33" fmla="*/ 3 h 358"/>
                <a:gd name="T34" fmla="*/ 16 w 631"/>
                <a:gd name="T35" fmla="*/ 2 h 358"/>
                <a:gd name="T36" fmla="*/ 17 w 631"/>
                <a:gd name="T37" fmla="*/ 2 h 358"/>
                <a:gd name="T38" fmla="*/ 18 w 631"/>
                <a:gd name="T39" fmla="*/ 1 h 358"/>
                <a:gd name="T40" fmla="*/ 19 w 631"/>
                <a:gd name="T41" fmla="*/ 0 h 358"/>
                <a:gd name="T42" fmla="*/ 20 w 631"/>
                <a:gd name="T43" fmla="*/ 0 h 358"/>
                <a:gd name="T44" fmla="*/ 20 w 631"/>
                <a:gd name="T45" fmla="*/ 1 h 358"/>
                <a:gd name="T46" fmla="*/ 20 w 631"/>
                <a:gd name="T47" fmla="*/ 1 h 358"/>
                <a:gd name="T48" fmla="*/ 20 w 631"/>
                <a:gd name="T49" fmla="*/ 2 h 358"/>
                <a:gd name="T50" fmla="*/ 20 w 631"/>
                <a:gd name="T51" fmla="*/ 3 h 358"/>
                <a:gd name="T52" fmla="*/ 19 w 631"/>
                <a:gd name="T53" fmla="*/ 4 h 358"/>
                <a:gd name="T54" fmla="*/ 17 w 631"/>
                <a:gd name="T55" fmla="*/ 5 h 358"/>
                <a:gd name="T56" fmla="*/ 16 w 631"/>
                <a:gd name="T57" fmla="*/ 6 h 358"/>
                <a:gd name="T58" fmla="*/ 14 w 631"/>
                <a:gd name="T59" fmla="*/ 6 h 358"/>
                <a:gd name="T60" fmla="*/ 14 w 631"/>
                <a:gd name="T61" fmla="*/ 7 h 358"/>
                <a:gd name="T62" fmla="*/ 14 w 631"/>
                <a:gd name="T63" fmla="*/ 7 h 358"/>
                <a:gd name="T64" fmla="*/ 13 w 631"/>
                <a:gd name="T65" fmla="*/ 7 h 358"/>
                <a:gd name="T66" fmla="*/ 12 w 631"/>
                <a:gd name="T67" fmla="*/ 8 h 358"/>
                <a:gd name="T68" fmla="*/ 12 w 631"/>
                <a:gd name="T69" fmla="*/ 8 h 358"/>
                <a:gd name="T70" fmla="*/ 11 w 631"/>
                <a:gd name="T71" fmla="*/ 7 h 358"/>
                <a:gd name="T72" fmla="*/ 10 w 631"/>
                <a:gd name="T73" fmla="*/ 8 h 358"/>
                <a:gd name="T74" fmla="*/ 9 w 631"/>
                <a:gd name="T75" fmla="*/ 10 h 358"/>
                <a:gd name="T76" fmla="*/ 7 w 631"/>
                <a:gd name="T77" fmla="*/ 11 h 358"/>
                <a:gd name="T78" fmla="*/ 5 w 631"/>
                <a:gd name="T79" fmla="*/ 12 h 358"/>
                <a:gd name="T80" fmla="*/ 4 w 631"/>
                <a:gd name="T81" fmla="*/ 12 h 358"/>
                <a:gd name="T82" fmla="*/ 2 w 631"/>
                <a:gd name="T83" fmla="*/ 12 h 358"/>
                <a:gd name="T84" fmla="*/ 2 w 631"/>
                <a:gd name="T85" fmla="*/ 12 h 358"/>
                <a:gd name="T86" fmla="*/ 1 w 631"/>
                <a:gd name="T87" fmla="*/ 12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1"/>
                <a:gd name="T133" fmla="*/ 0 h 358"/>
                <a:gd name="T134" fmla="*/ 631 w 631"/>
                <a:gd name="T135" fmla="*/ 358 h 35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583" name="Freeform 76"/>
            <p:cNvSpPr>
              <a:spLocks/>
            </p:cNvSpPr>
            <p:nvPr/>
          </p:nvSpPr>
          <p:spPr bwMode="auto">
            <a:xfrm>
              <a:off x="5597" y="3323"/>
              <a:ext cx="116" cy="141"/>
            </a:xfrm>
            <a:custGeom>
              <a:avLst/>
              <a:gdLst>
                <a:gd name="T0" fmla="*/ 2 w 359"/>
                <a:gd name="T1" fmla="*/ 10 h 431"/>
                <a:gd name="T2" fmla="*/ 3 w 359"/>
                <a:gd name="T3" fmla="*/ 9 h 431"/>
                <a:gd name="T4" fmla="*/ 5 w 359"/>
                <a:gd name="T5" fmla="*/ 7 h 431"/>
                <a:gd name="T6" fmla="*/ 6 w 359"/>
                <a:gd name="T7" fmla="*/ 6 h 431"/>
                <a:gd name="T8" fmla="*/ 6 w 359"/>
                <a:gd name="T9" fmla="*/ 5 h 431"/>
                <a:gd name="T10" fmla="*/ 6 w 359"/>
                <a:gd name="T11" fmla="*/ 5 h 431"/>
                <a:gd name="T12" fmla="*/ 6 w 359"/>
                <a:gd name="T13" fmla="*/ 4 h 431"/>
                <a:gd name="T14" fmla="*/ 6 w 359"/>
                <a:gd name="T15" fmla="*/ 3 h 431"/>
                <a:gd name="T16" fmla="*/ 6 w 359"/>
                <a:gd name="T17" fmla="*/ 1 h 431"/>
                <a:gd name="T18" fmla="*/ 6 w 359"/>
                <a:gd name="T19" fmla="*/ 0 h 431"/>
                <a:gd name="T20" fmla="*/ 6 w 359"/>
                <a:gd name="T21" fmla="*/ 0 h 431"/>
                <a:gd name="T22" fmla="*/ 7 w 359"/>
                <a:gd name="T23" fmla="*/ 1 h 431"/>
                <a:gd name="T24" fmla="*/ 8 w 359"/>
                <a:gd name="T25" fmla="*/ 2 h 431"/>
                <a:gd name="T26" fmla="*/ 8 w 359"/>
                <a:gd name="T27" fmla="*/ 3 h 431"/>
                <a:gd name="T28" fmla="*/ 8 w 359"/>
                <a:gd name="T29" fmla="*/ 3 h 431"/>
                <a:gd name="T30" fmla="*/ 8 w 359"/>
                <a:gd name="T31" fmla="*/ 4 h 431"/>
                <a:gd name="T32" fmla="*/ 7 w 359"/>
                <a:gd name="T33" fmla="*/ 4 h 431"/>
                <a:gd name="T34" fmla="*/ 7 w 359"/>
                <a:gd name="T35" fmla="*/ 5 h 431"/>
                <a:gd name="T36" fmla="*/ 7 w 359"/>
                <a:gd name="T37" fmla="*/ 5 h 431"/>
                <a:gd name="T38" fmla="*/ 7 w 359"/>
                <a:gd name="T39" fmla="*/ 6 h 431"/>
                <a:gd name="T40" fmla="*/ 8 w 359"/>
                <a:gd name="T41" fmla="*/ 6 h 431"/>
                <a:gd name="T42" fmla="*/ 8 w 359"/>
                <a:gd name="T43" fmla="*/ 5 h 431"/>
                <a:gd name="T44" fmla="*/ 8 w 359"/>
                <a:gd name="T45" fmla="*/ 5 h 431"/>
                <a:gd name="T46" fmla="*/ 9 w 359"/>
                <a:gd name="T47" fmla="*/ 7 h 431"/>
                <a:gd name="T48" fmla="*/ 9 w 359"/>
                <a:gd name="T49" fmla="*/ 7 h 431"/>
                <a:gd name="T50" fmla="*/ 10 w 359"/>
                <a:gd name="T51" fmla="*/ 8 h 431"/>
                <a:gd name="T52" fmla="*/ 10 w 359"/>
                <a:gd name="T53" fmla="*/ 8 h 431"/>
                <a:gd name="T54" fmla="*/ 11 w 359"/>
                <a:gd name="T55" fmla="*/ 7 h 431"/>
                <a:gd name="T56" fmla="*/ 12 w 359"/>
                <a:gd name="T57" fmla="*/ 7 h 431"/>
                <a:gd name="T58" fmla="*/ 12 w 359"/>
                <a:gd name="T59" fmla="*/ 7 h 431"/>
                <a:gd name="T60" fmla="*/ 12 w 359"/>
                <a:gd name="T61" fmla="*/ 9 h 431"/>
                <a:gd name="T62" fmla="*/ 11 w 359"/>
                <a:gd name="T63" fmla="*/ 9 h 431"/>
                <a:gd name="T64" fmla="*/ 10 w 359"/>
                <a:gd name="T65" fmla="*/ 9 h 431"/>
                <a:gd name="T66" fmla="*/ 8 w 359"/>
                <a:gd name="T67" fmla="*/ 10 h 431"/>
                <a:gd name="T68" fmla="*/ 7 w 359"/>
                <a:gd name="T69" fmla="*/ 10 h 431"/>
                <a:gd name="T70" fmla="*/ 6 w 359"/>
                <a:gd name="T71" fmla="*/ 11 h 431"/>
                <a:gd name="T72" fmla="*/ 6 w 359"/>
                <a:gd name="T73" fmla="*/ 12 h 431"/>
                <a:gd name="T74" fmla="*/ 5 w 359"/>
                <a:gd name="T75" fmla="*/ 12 h 431"/>
                <a:gd name="T76" fmla="*/ 4 w 359"/>
                <a:gd name="T77" fmla="*/ 14 h 431"/>
                <a:gd name="T78" fmla="*/ 2 w 359"/>
                <a:gd name="T79" fmla="*/ 15 h 431"/>
                <a:gd name="T80" fmla="*/ 1 w 359"/>
                <a:gd name="T81" fmla="*/ 15 h 431"/>
                <a:gd name="T82" fmla="*/ 0 w 359"/>
                <a:gd name="T83" fmla="*/ 15 h 431"/>
                <a:gd name="T84" fmla="*/ 0 w 359"/>
                <a:gd name="T85" fmla="*/ 14 h 431"/>
                <a:gd name="T86" fmla="*/ 0 w 359"/>
                <a:gd name="T87" fmla="*/ 14 h 431"/>
                <a:gd name="T88" fmla="*/ 0 w 359"/>
                <a:gd name="T89" fmla="*/ 14 h 431"/>
                <a:gd name="T90" fmla="*/ 2 w 359"/>
                <a:gd name="T91" fmla="*/ 13 h 431"/>
                <a:gd name="T92" fmla="*/ 3 w 359"/>
                <a:gd name="T93" fmla="*/ 12 h 431"/>
                <a:gd name="T94" fmla="*/ 2 w 359"/>
                <a:gd name="T95" fmla="*/ 12 h 431"/>
                <a:gd name="T96" fmla="*/ 2 w 359"/>
                <a:gd name="T97" fmla="*/ 11 h 431"/>
                <a:gd name="T98" fmla="*/ 2 w 359"/>
                <a:gd name="T99" fmla="*/ 11 h 431"/>
                <a:gd name="T100" fmla="*/ 1 w 359"/>
                <a:gd name="T101" fmla="*/ 11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59"/>
                <a:gd name="T154" fmla="*/ 0 h 431"/>
                <a:gd name="T155" fmla="*/ 359 w 359"/>
                <a:gd name="T156" fmla="*/ 431 h 43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106" name="Freeform 77"/>
          <p:cNvSpPr>
            <a:spLocks/>
          </p:cNvSpPr>
          <p:nvPr>
            <p:custDataLst>
              <p:tags r:id="rId57"/>
            </p:custDataLst>
          </p:nvPr>
        </p:nvSpPr>
        <p:spPr bwMode="auto">
          <a:xfrm>
            <a:off x="9817103" y="3395663"/>
            <a:ext cx="12700" cy="57150"/>
          </a:xfrm>
          <a:custGeom>
            <a:avLst/>
            <a:gdLst>
              <a:gd name="T0" fmla="*/ 0 w 21"/>
              <a:gd name="T1" fmla="*/ 2147483647 h 62"/>
              <a:gd name="T2" fmla="*/ 93399877 w 21"/>
              <a:gd name="T3" fmla="*/ 2147483647 h 62"/>
              <a:gd name="T4" fmla="*/ 279994644 w 21"/>
              <a:gd name="T5" fmla="*/ 2147483647 h 62"/>
              <a:gd name="T6" fmla="*/ 373189024 w 21"/>
              <a:gd name="T7" fmla="*/ 2147483647 h 62"/>
              <a:gd name="T8" fmla="*/ 559783366 w 21"/>
              <a:gd name="T9" fmla="*/ 2147483647 h 62"/>
              <a:gd name="T10" fmla="*/ 839777897 w 21"/>
              <a:gd name="T11" fmla="*/ 2147483647 h 62"/>
              <a:gd name="T12" fmla="*/ 1399766731 w 21"/>
              <a:gd name="T13" fmla="*/ 0 h 62"/>
              <a:gd name="T14" fmla="*/ 1399766731 w 21"/>
              <a:gd name="T15" fmla="*/ 2147483647 h 62"/>
              <a:gd name="T16" fmla="*/ 1679554886 w 21"/>
              <a:gd name="T17" fmla="*/ 2147483647 h 62"/>
              <a:gd name="T18" fmla="*/ 1866149568 w 21"/>
              <a:gd name="T19" fmla="*/ 2147483647 h 62"/>
              <a:gd name="T20" fmla="*/ 1959550324 w 21"/>
              <a:gd name="T21" fmla="*/ 2147483647 h 62"/>
              <a:gd name="T22" fmla="*/ 933177745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07" name="Freeform 78"/>
          <p:cNvSpPr>
            <a:spLocks/>
          </p:cNvSpPr>
          <p:nvPr>
            <p:custDataLst>
              <p:tags r:id="rId58"/>
            </p:custDataLst>
          </p:nvPr>
        </p:nvSpPr>
        <p:spPr bwMode="auto">
          <a:xfrm>
            <a:off x="10786533" y="4297363"/>
            <a:ext cx="19051" cy="57150"/>
          </a:xfrm>
          <a:custGeom>
            <a:avLst/>
            <a:gdLst>
              <a:gd name="T0" fmla="*/ 0 w 33"/>
              <a:gd name="T1" fmla="*/ 0 h 24"/>
              <a:gd name="T2" fmla="*/ 405856622 w 33"/>
              <a:gd name="T3" fmla="*/ 2147483647 h 24"/>
              <a:gd name="T4" fmla="*/ 811713677 w 33"/>
              <a:gd name="T5" fmla="*/ 2147483647 h 24"/>
              <a:gd name="T6" fmla="*/ 892885067 w 33"/>
              <a:gd name="T7" fmla="*/ 2147483647 h 24"/>
              <a:gd name="T8" fmla="*/ 974056240 w 33"/>
              <a:gd name="T9" fmla="*/ 2147483647 h 24"/>
              <a:gd name="T10" fmla="*/ 1055227629 w 33"/>
              <a:gd name="T11" fmla="*/ 2147483647 h 24"/>
              <a:gd name="T12" fmla="*/ 1055227629 w 33"/>
              <a:gd name="T13" fmla="*/ 2147483647 h 24"/>
              <a:gd name="T14" fmla="*/ 2147483647 w 33"/>
              <a:gd name="T15" fmla="*/ 0 h 24"/>
              <a:gd name="T16" fmla="*/ 1947925436 w 33"/>
              <a:gd name="T17" fmla="*/ 0 h 24"/>
              <a:gd name="T18" fmla="*/ 1298741797 w 33"/>
              <a:gd name="T19" fmla="*/ 0 h 24"/>
              <a:gd name="T20" fmla="*/ 730542288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08" name="Freeform 79"/>
          <p:cNvSpPr>
            <a:spLocks/>
          </p:cNvSpPr>
          <p:nvPr>
            <p:custDataLst>
              <p:tags r:id="rId59"/>
            </p:custDataLst>
          </p:nvPr>
        </p:nvSpPr>
        <p:spPr bwMode="auto">
          <a:xfrm>
            <a:off x="10816167" y="4306895"/>
            <a:ext cx="23284" cy="58737"/>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889105744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09" name="Freeform 80"/>
          <p:cNvSpPr>
            <a:spLocks/>
          </p:cNvSpPr>
          <p:nvPr>
            <p:custDataLst>
              <p:tags r:id="rId60"/>
            </p:custDataLst>
          </p:nvPr>
        </p:nvSpPr>
        <p:spPr bwMode="auto">
          <a:xfrm>
            <a:off x="9901768" y="3384557"/>
            <a:ext cx="2117" cy="55563"/>
          </a:xfrm>
          <a:custGeom>
            <a:avLst/>
            <a:gdLst>
              <a:gd name="T0" fmla="*/ 0 w 7"/>
              <a:gd name="T1" fmla="*/ 0 h 55563"/>
              <a:gd name="T2" fmla="*/ 81725065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10" name="Freeform 81"/>
          <p:cNvSpPr>
            <a:spLocks/>
          </p:cNvSpPr>
          <p:nvPr>
            <p:custDataLst>
              <p:tags r:id="rId61"/>
            </p:custDataLst>
          </p:nvPr>
        </p:nvSpPr>
        <p:spPr bwMode="auto">
          <a:xfrm>
            <a:off x="9980085" y="3328988"/>
            <a:ext cx="8467" cy="57150"/>
          </a:xfrm>
          <a:custGeom>
            <a:avLst/>
            <a:gdLst>
              <a:gd name="T0" fmla="*/ 1000186832 w 16"/>
              <a:gd name="T1" fmla="*/ 0 h 25"/>
              <a:gd name="T2" fmla="*/ 1000186832 w 16"/>
              <a:gd name="T3" fmla="*/ 2147483647 h 25"/>
              <a:gd name="T4" fmla="*/ 875124436 w 16"/>
              <a:gd name="T5" fmla="*/ 2147483647 h 25"/>
              <a:gd name="T6" fmla="*/ 812592642 w 16"/>
              <a:gd name="T7" fmla="*/ 2147483647 h 25"/>
              <a:gd name="T8" fmla="*/ 687687408 w 16"/>
              <a:gd name="T9" fmla="*/ 2147483647 h 25"/>
              <a:gd name="T10" fmla="*/ 437562218 w 16"/>
              <a:gd name="T11" fmla="*/ 2147483647 h 25"/>
              <a:gd name="T12" fmla="*/ 187594041 w 16"/>
              <a:gd name="T13" fmla="*/ 2147483647 h 25"/>
              <a:gd name="T14" fmla="*/ 62531223 w 16"/>
              <a:gd name="T15" fmla="*/ 2147483647 h 25"/>
              <a:gd name="T16" fmla="*/ 0 w 16"/>
              <a:gd name="T17" fmla="*/ 2147483647 h 25"/>
              <a:gd name="T18" fmla="*/ 62531223 w 16"/>
              <a:gd name="T19" fmla="*/ 2147483647 h 25"/>
              <a:gd name="T20" fmla="*/ 125062843 w 16"/>
              <a:gd name="T21" fmla="*/ 2147483647 h 25"/>
              <a:gd name="T22" fmla="*/ 250125686 w 16"/>
              <a:gd name="T23" fmla="*/ 2147483647 h 25"/>
              <a:gd name="T24" fmla="*/ 437562218 w 16"/>
              <a:gd name="T25" fmla="*/ 2147483647 h 25"/>
              <a:gd name="T26" fmla="*/ 687687408 w 16"/>
              <a:gd name="T27" fmla="*/ 2147483647 h 25"/>
              <a:gd name="T28" fmla="*/ 1000186832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11" name="Freeform 82"/>
          <p:cNvSpPr>
            <a:spLocks/>
          </p:cNvSpPr>
          <p:nvPr>
            <p:custDataLst>
              <p:tags r:id="rId62"/>
            </p:custDataLst>
          </p:nvPr>
        </p:nvSpPr>
        <p:spPr bwMode="auto">
          <a:xfrm>
            <a:off x="10130371" y="3217863"/>
            <a:ext cx="6351" cy="57150"/>
          </a:xfrm>
          <a:custGeom>
            <a:avLst/>
            <a:gdLst>
              <a:gd name="T0" fmla="*/ 0 w 14"/>
              <a:gd name="T1" fmla="*/ 0 h 18"/>
              <a:gd name="T2" fmla="*/ 118176504 w 14"/>
              <a:gd name="T3" fmla="*/ 2147483647 h 18"/>
              <a:gd name="T4" fmla="*/ 196883740 w 14"/>
              <a:gd name="T5" fmla="*/ 2147483647 h 18"/>
              <a:gd name="T6" fmla="*/ 275706265 w 14"/>
              <a:gd name="T7" fmla="*/ 2147483647 h 18"/>
              <a:gd name="T8" fmla="*/ 354413458 w 14"/>
              <a:gd name="T9" fmla="*/ 2147483647 h 18"/>
              <a:gd name="T10" fmla="*/ 511943601 w 14"/>
              <a:gd name="T11" fmla="*/ 2147483647 h 18"/>
              <a:gd name="T12" fmla="*/ 55129719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12" name="Freeform 83"/>
          <p:cNvSpPr>
            <a:spLocks/>
          </p:cNvSpPr>
          <p:nvPr>
            <p:custDataLst>
              <p:tags r:id="rId63"/>
            </p:custDataLst>
          </p:nvPr>
        </p:nvSpPr>
        <p:spPr bwMode="auto">
          <a:xfrm>
            <a:off x="10333567" y="3916363"/>
            <a:ext cx="35984" cy="58737"/>
          </a:xfrm>
          <a:custGeom>
            <a:avLst/>
            <a:gdLst>
              <a:gd name="T0" fmla="*/ 0 w 67"/>
              <a:gd name="T1" fmla="*/ 0 h 74"/>
              <a:gd name="T2" fmla="*/ 65387891 w 67"/>
              <a:gd name="T3" fmla="*/ 2147483647 h 74"/>
              <a:gd name="T4" fmla="*/ 196001318 w 67"/>
              <a:gd name="T5" fmla="*/ 2147483647 h 74"/>
              <a:gd name="T6" fmla="*/ 457552531 w 67"/>
              <a:gd name="T7" fmla="*/ 2147483647 h 74"/>
              <a:gd name="T8" fmla="*/ 784329128 w 67"/>
              <a:gd name="T9" fmla="*/ 2147483647 h 74"/>
              <a:gd name="T10" fmla="*/ 1111105524 w 67"/>
              <a:gd name="T11" fmla="*/ 2147483647 h 74"/>
              <a:gd name="T12" fmla="*/ 1503269987 w 67"/>
              <a:gd name="T13" fmla="*/ 2147483647 h 74"/>
              <a:gd name="T14" fmla="*/ 1830047390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1111105524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13" name="Freeform 84"/>
          <p:cNvSpPr>
            <a:spLocks/>
          </p:cNvSpPr>
          <p:nvPr>
            <p:custDataLst>
              <p:tags r:id="rId64"/>
            </p:custDataLst>
          </p:nvPr>
        </p:nvSpPr>
        <p:spPr bwMode="auto">
          <a:xfrm>
            <a:off x="10418236" y="3930650"/>
            <a:ext cx="16933" cy="57150"/>
          </a:xfrm>
          <a:custGeom>
            <a:avLst/>
            <a:gdLst>
              <a:gd name="T0" fmla="*/ 0 w 34"/>
              <a:gd name="T1" fmla="*/ 0 h 38"/>
              <a:gd name="T2" fmla="*/ 104224418 w 34"/>
              <a:gd name="T3" fmla="*/ 2147483647 h 38"/>
              <a:gd name="T4" fmla="*/ 208449209 w 34"/>
              <a:gd name="T5" fmla="*/ 2147483647 h 38"/>
              <a:gd name="T6" fmla="*/ 260631244 w 34"/>
              <a:gd name="T7" fmla="*/ 2147483647 h 38"/>
              <a:gd name="T8" fmla="*/ 312673580 w 34"/>
              <a:gd name="T9" fmla="*/ 2147483647 h 38"/>
              <a:gd name="T10" fmla="*/ 521122788 w 34"/>
              <a:gd name="T11" fmla="*/ 2147483647 h 38"/>
              <a:gd name="T12" fmla="*/ 677529568 w 34"/>
              <a:gd name="T13" fmla="*/ 2147483647 h 38"/>
              <a:gd name="T14" fmla="*/ 833796835 w 34"/>
              <a:gd name="T15" fmla="*/ 2147483647 h 38"/>
              <a:gd name="T16" fmla="*/ 1042385276 w 34"/>
              <a:gd name="T17" fmla="*/ 2147483647 h 38"/>
              <a:gd name="T18" fmla="*/ 1198651983 w 34"/>
              <a:gd name="T19" fmla="*/ 2147483647 h 38"/>
              <a:gd name="T20" fmla="*/ 1355059136 w 34"/>
              <a:gd name="T21" fmla="*/ 2147483647 h 38"/>
              <a:gd name="T22" fmla="*/ 1459283507 w 34"/>
              <a:gd name="T23" fmla="*/ 2147483647 h 38"/>
              <a:gd name="T24" fmla="*/ 1667732622 w 34"/>
              <a:gd name="T25" fmla="*/ 2147483647 h 38"/>
              <a:gd name="T26" fmla="*/ 1719775705 w 34"/>
              <a:gd name="T27" fmla="*/ 2147483647 h 38"/>
              <a:gd name="T28" fmla="*/ 1771957740 w 34"/>
              <a:gd name="T29" fmla="*/ 2147483647 h 38"/>
              <a:gd name="T30" fmla="*/ 1615550587 w 34"/>
              <a:gd name="T31" fmla="*/ 2147483647 h 38"/>
              <a:gd name="T32" fmla="*/ 1459283507 w 34"/>
              <a:gd name="T33" fmla="*/ 2147483647 h 38"/>
              <a:gd name="T34" fmla="*/ 1355059136 w 34"/>
              <a:gd name="T35" fmla="*/ 2147483647 h 38"/>
              <a:gd name="T36" fmla="*/ 1250834018 w 34"/>
              <a:gd name="T37" fmla="*/ 2147483647 h 38"/>
              <a:gd name="T38" fmla="*/ 990203241 w 34"/>
              <a:gd name="T39" fmla="*/ 2147483647 h 38"/>
              <a:gd name="T40" fmla="*/ 677529568 w 34"/>
              <a:gd name="T41" fmla="*/ 0 h 38"/>
              <a:gd name="T42" fmla="*/ 312673580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14" name="Freeform 85"/>
          <p:cNvSpPr>
            <a:spLocks/>
          </p:cNvSpPr>
          <p:nvPr>
            <p:custDataLst>
              <p:tags r:id="rId65"/>
            </p:custDataLst>
          </p:nvPr>
        </p:nvSpPr>
        <p:spPr bwMode="auto">
          <a:xfrm>
            <a:off x="10227733" y="3706813"/>
            <a:ext cx="33867" cy="55562"/>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1210851678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15" name="Freeform 86"/>
          <p:cNvSpPr>
            <a:spLocks/>
          </p:cNvSpPr>
          <p:nvPr>
            <p:custDataLst>
              <p:tags r:id="rId66"/>
            </p:custDataLst>
          </p:nvPr>
        </p:nvSpPr>
        <p:spPr bwMode="auto">
          <a:xfrm>
            <a:off x="10151538" y="3681413"/>
            <a:ext cx="14817" cy="57150"/>
          </a:xfrm>
          <a:custGeom>
            <a:avLst/>
            <a:gdLst>
              <a:gd name="T0" fmla="*/ 0 w 26"/>
              <a:gd name="T1" fmla="*/ 0 h 12"/>
              <a:gd name="T2" fmla="*/ 312400550 w 26"/>
              <a:gd name="T3" fmla="*/ 2147483647 h 12"/>
              <a:gd name="T4" fmla="*/ 859010499 w 26"/>
              <a:gd name="T5" fmla="*/ 2147483647 h 12"/>
              <a:gd name="T6" fmla="*/ 1093220110 w 26"/>
              <a:gd name="T7" fmla="*/ 2147483647 h 12"/>
              <a:gd name="T8" fmla="*/ 1405620126 w 26"/>
              <a:gd name="T9" fmla="*/ 2147483647 h 12"/>
              <a:gd name="T10" fmla="*/ 1717838060 w 26"/>
              <a:gd name="T11" fmla="*/ 2147483647 h 12"/>
              <a:gd name="T12" fmla="*/ 2030239358 w 26"/>
              <a:gd name="T13" fmla="*/ 2147483647 h 12"/>
              <a:gd name="T14" fmla="*/ 1639829952 w 26"/>
              <a:gd name="T15" fmla="*/ 2147483647 h 12"/>
              <a:gd name="T16" fmla="*/ 1015211148 w 26"/>
              <a:gd name="T17" fmla="*/ 2147483647 h 12"/>
              <a:gd name="T18" fmla="*/ 390409513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16" name="Freeform 87"/>
          <p:cNvSpPr>
            <a:spLocks/>
          </p:cNvSpPr>
          <p:nvPr>
            <p:custDataLst>
              <p:tags r:id="rId67"/>
            </p:custDataLst>
          </p:nvPr>
        </p:nvSpPr>
        <p:spPr bwMode="auto">
          <a:xfrm>
            <a:off x="10418236" y="4013200"/>
            <a:ext cx="42333" cy="57150"/>
          </a:xfrm>
          <a:custGeom>
            <a:avLst/>
            <a:gdLst>
              <a:gd name="T0" fmla="*/ 0 w 73"/>
              <a:gd name="T1" fmla="*/ 0 h 57150"/>
              <a:gd name="T2" fmla="*/ 1645549185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17" name="Freeform 88"/>
          <p:cNvSpPr>
            <a:spLocks/>
          </p:cNvSpPr>
          <p:nvPr>
            <p:custDataLst>
              <p:tags r:id="rId68"/>
            </p:custDataLst>
          </p:nvPr>
        </p:nvSpPr>
        <p:spPr bwMode="auto">
          <a:xfrm>
            <a:off x="10358972" y="4002088"/>
            <a:ext cx="29633" cy="57150"/>
          </a:xfrm>
          <a:custGeom>
            <a:avLst/>
            <a:gdLst>
              <a:gd name="T0" fmla="*/ 0 w 53"/>
              <a:gd name="T1" fmla="*/ 0 h 3"/>
              <a:gd name="T2" fmla="*/ 1032389951 w 53"/>
              <a:gd name="T3" fmla="*/ 0 h 3"/>
              <a:gd name="T4" fmla="*/ 1990924152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3142" name="Line 89"/>
          <p:cNvSpPr>
            <a:spLocks noChangeShapeType="1"/>
          </p:cNvSpPr>
          <p:nvPr>
            <p:custDataLst>
              <p:tags r:id="rId69"/>
            </p:custDataLst>
          </p:nvPr>
        </p:nvSpPr>
        <p:spPr bwMode="auto">
          <a:xfrm>
            <a:off x="10403419" y="3987800"/>
            <a:ext cx="27516"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TW" altLang="en-US">
              <a:solidFill>
                <a:srgbClr val="000000"/>
              </a:solidFill>
            </a:endParaRPr>
          </a:p>
        </p:txBody>
      </p:sp>
      <p:sp>
        <p:nvSpPr>
          <p:cNvPr id="2119" name="Freeform 90"/>
          <p:cNvSpPr>
            <a:spLocks/>
          </p:cNvSpPr>
          <p:nvPr>
            <p:custDataLst>
              <p:tags r:id="rId70"/>
            </p:custDataLst>
          </p:nvPr>
        </p:nvSpPr>
        <p:spPr bwMode="auto">
          <a:xfrm>
            <a:off x="10430936" y="3994150"/>
            <a:ext cx="2117" cy="57150"/>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20" name="Freeform 91"/>
          <p:cNvSpPr>
            <a:spLocks/>
          </p:cNvSpPr>
          <p:nvPr>
            <p:custDataLst>
              <p:tags r:id="rId71"/>
            </p:custDataLst>
          </p:nvPr>
        </p:nvSpPr>
        <p:spPr bwMode="auto">
          <a:xfrm>
            <a:off x="10369556" y="3987800"/>
            <a:ext cx="19049" cy="58738"/>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21" name="Freeform 92"/>
          <p:cNvSpPr>
            <a:spLocks/>
          </p:cNvSpPr>
          <p:nvPr>
            <p:custDataLst>
              <p:tags r:id="rId72"/>
            </p:custDataLst>
          </p:nvPr>
        </p:nvSpPr>
        <p:spPr bwMode="auto">
          <a:xfrm>
            <a:off x="10361085" y="3968750"/>
            <a:ext cx="8467" cy="60325"/>
          </a:xfrm>
          <a:custGeom>
            <a:avLst/>
            <a:gdLst>
              <a:gd name="T0" fmla="*/ 640119602 w 20"/>
              <a:gd name="T1" fmla="*/ 0 h 25"/>
              <a:gd name="T2" fmla="*/ 0 w 20"/>
              <a:gd name="T3" fmla="*/ 2147483647 h 25"/>
              <a:gd name="T4" fmla="*/ 128023928 w 20"/>
              <a:gd name="T5" fmla="*/ 2147483647 h 25"/>
              <a:gd name="T6" fmla="*/ 320059960 w 20"/>
              <a:gd name="T7" fmla="*/ 2147483647 h 25"/>
              <a:gd name="T8" fmla="*/ 448083928 w 20"/>
              <a:gd name="T9" fmla="*/ 2147483647 h 25"/>
              <a:gd name="T10" fmla="*/ 640119602 w 20"/>
              <a:gd name="T11" fmla="*/ 2147483647 h 25"/>
              <a:gd name="T12" fmla="*/ 640119602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22" name="Freeform 93"/>
          <p:cNvSpPr>
            <a:spLocks/>
          </p:cNvSpPr>
          <p:nvPr>
            <p:custDataLst>
              <p:tags r:id="rId73"/>
            </p:custDataLst>
          </p:nvPr>
        </p:nvSpPr>
        <p:spPr bwMode="auto">
          <a:xfrm>
            <a:off x="10469036" y="3695700"/>
            <a:ext cx="2117" cy="57150"/>
          </a:xfrm>
          <a:custGeom>
            <a:avLst/>
            <a:gdLst>
              <a:gd name="T0" fmla="*/ 0 w 6"/>
              <a:gd name="T1" fmla="*/ 2147483647 h 24"/>
              <a:gd name="T2" fmla="*/ 0 w 6"/>
              <a:gd name="T3" fmla="*/ 0 h 24"/>
              <a:gd name="T4" fmla="*/ 111237016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123" name="Group 94"/>
          <p:cNvGrpSpPr>
            <a:grpSpLocks/>
          </p:cNvGrpSpPr>
          <p:nvPr>
            <p:custDataLst>
              <p:tags r:id="rId74"/>
            </p:custDataLst>
          </p:nvPr>
        </p:nvGrpSpPr>
        <p:grpSpPr bwMode="auto">
          <a:xfrm>
            <a:off x="10301817" y="3367088"/>
            <a:ext cx="218016" cy="114300"/>
            <a:chOff x="5379" y="2466"/>
            <a:chExt cx="122" cy="71"/>
          </a:xfrm>
          <a:solidFill>
            <a:schemeClr val="accent5">
              <a:lumMod val="75000"/>
            </a:schemeClr>
          </a:solidFill>
        </p:grpSpPr>
        <p:sp>
          <p:nvSpPr>
            <p:cNvPr id="2572" name="Freeform 95"/>
            <p:cNvSpPr>
              <a:spLocks/>
            </p:cNvSpPr>
            <p:nvPr/>
          </p:nvSpPr>
          <p:spPr bwMode="auto">
            <a:xfrm>
              <a:off x="5428" y="2492"/>
              <a:ext cx="6" cy="9"/>
            </a:xfrm>
            <a:custGeom>
              <a:avLst/>
              <a:gdLst>
                <a:gd name="T0" fmla="*/ 1 w 19"/>
                <a:gd name="T1" fmla="*/ 1 h 25"/>
                <a:gd name="T2" fmla="*/ 1 w 19"/>
                <a:gd name="T3" fmla="*/ 1 h 25"/>
                <a:gd name="T4" fmla="*/ 1 w 19"/>
                <a:gd name="T5" fmla="*/ 0 h 25"/>
                <a:gd name="T6" fmla="*/ 1 w 19"/>
                <a:gd name="T7" fmla="*/ 0 h 25"/>
                <a:gd name="T8" fmla="*/ 1 w 19"/>
                <a:gd name="T9" fmla="*/ 0 h 25"/>
                <a:gd name="T10" fmla="*/ 1 w 19"/>
                <a:gd name="T11" fmla="*/ 0 h 25"/>
                <a:gd name="T12" fmla="*/ 1 w 19"/>
                <a:gd name="T13" fmla="*/ 0 h 25"/>
                <a:gd name="T14" fmla="*/ 0 w 19"/>
                <a:gd name="T15" fmla="*/ 0 h 25"/>
                <a:gd name="T16" fmla="*/ 0 w 19"/>
                <a:gd name="T17" fmla="*/ 0 h 25"/>
                <a:gd name="T18" fmla="*/ 0 w 19"/>
                <a:gd name="T19" fmla="*/ 1 h 25"/>
                <a:gd name="T20" fmla="*/ 0 w 19"/>
                <a:gd name="T21" fmla="*/ 1 h 25"/>
                <a:gd name="T22" fmla="*/ 0 w 19"/>
                <a:gd name="T23" fmla="*/ 1 h 25"/>
                <a:gd name="T24" fmla="*/ 1 w 19"/>
                <a:gd name="T25" fmla="*/ 1 h 25"/>
                <a:gd name="T26" fmla="*/ 1 w 19"/>
                <a:gd name="T27" fmla="*/ 1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9"/>
                <a:gd name="T43" fmla="*/ 0 h 25"/>
                <a:gd name="T44" fmla="*/ 19 w 19"/>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73" name="Freeform 96"/>
            <p:cNvSpPr>
              <a:spLocks/>
            </p:cNvSpPr>
            <p:nvPr/>
          </p:nvSpPr>
          <p:spPr bwMode="auto">
            <a:xfrm>
              <a:off x="5379" y="2505"/>
              <a:ext cx="7" cy="6"/>
            </a:xfrm>
            <a:custGeom>
              <a:avLst/>
              <a:gdLst>
                <a:gd name="T0" fmla="*/ 1 w 26"/>
                <a:gd name="T1" fmla="*/ 1 h 18"/>
                <a:gd name="T2" fmla="*/ 0 w 26"/>
                <a:gd name="T3" fmla="*/ 1 h 18"/>
                <a:gd name="T4" fmla="*/ 0 w 26"/>
                <a:gd name="T5" fmla="*/ 0 h 18"/>
                <a:gd name="T6" fmla="*/ 0 w 26"/>
                <a:gd name="T7" fmla="*/ 0 h 18"/>
                <a:gd name="T8" fmla="*/ 0 w 26"/>
                <a:gd name="T9" fmla="*/ 0 h 18"/>
                <a:gd name="T10" fmla="*/ 0 w 26"/>
                <a:gd name="T11" fmla="*/ 0 h 18"/>
                <a:gd name="T12" fmla="*/ 0 w 26"/>
                <a:gd name="T13" fmla="*/ 0 h 18"/>
                <a:gd name="T14" fmla="*/ 1 w 26"/>
                <a:gd name="T15" fmla="*/ 1 h 1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18"/>
                <a:gd name="T26" fmla="*/ 26 w 26"/>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18">
                  <a:moveTo>
                    <a:pt x="26" y="18"/>
                  </a:moveTo>
                  <a:lnTo>
                    <a:pt x="7" y="18"/>
                  </a:lnTo>
                  <a:lnTo>
                    <a:pt x="3" y="9"/>
                  </a:lnTo>
                  <a:lnTo>
                    <a:pt x="0" y="0"/>
                  </a:lnTo>
                  <a:lnTo>
                    <a:pt x="6" y="2"/>
                  </a:lnTo>
                  <a:lnTo>
                    <a:pt x="13" y="6"/>
                  </a:lnTo>
                  <a:lnTo>
                    <a:pt x="20" y="12"/>
                  </a:lnTo>
                  <a:lnTo>
                    <a:pt x="26" y="18"/>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74" name="Freeform 97"/>
            <p:cNvSpPr>
              <a:spLocks/>
            </p:cNvSpPr>
            <p:nvPr/>
          </p:nvSpPr>
          <p:spPr bwMode="auto">
            <a:xfrm>
              <a:off x="5392" y="2466"/>
              <a:ext cx="5" cy="6"/>
            </a:xfrm>
            <a:custGeom>
              <a:avLst/>
              <a:gdLst>
                <a:gd name="T0" fmla="*/ 0 w 13"/>
                <a:gd name="T1" fmla="*/ 1 h 18"/>
                <a:gd name="T2" fmla="*/ 1 w 13"/>
                <a:gd name="T3" fmla="*/ 0 h 18"/>
                <a:gd name="T4" fmla="*/ 0 w 13"/>
                <a:gd name="T5" fmla="*/ 1 h 18"/>
                <a:gd name="T6" fmla="*/ 0 60000 65536"/>
                <a:gd name="T7" fmla="*/ 0 60000 65536"/>
                <a:gd name="T8" fmla="*/ 0 60000 65536"/>
                <a:gd name="T9" fmla="*/ 0 w 13"/>
                <a:gd name="T10" fmla="*/ 0 h 18"/>
                <a:gd name="T11" fmla="*/ 13 w 13"/>
                <a:gd name="T12" fmla="*/ 18 h 18"/>
              </a:gdLst>
              <a:ahLst/>
              <a:cxnLst>
                <a:cxn ang="T6">
                  <a:pos x="T0" y="T1"/>
                </a:cxn>
                <a:cxn ang="T7">
                  <a:pos x="T2" y="T3"/>
                </a:cxn>
                <a:cxn ang="T8">
                  <a:pos x="T4" y="T5"/>
                </a:cxn>
              </a:cxnLst>
              <a:rect l="T9" t="T10" r="T11" b="T12"/>
              <a:pathLst>
                <a:path w="13" h="18">
                  <a:moveTo>
                    <a:pt x="0" y="18"/>
                  </a:moveTo>
                  <a:lnTo>
                    <a:pt x="13" y="0"/>
                  </a:lnTo>
                  <a:lnTo>
                    <a:pt x="0" y="18"/>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75" name="Freeform 98"/>
            <p:cNvSpPr>
              <a:spLocks/>
            </p:cNvSpPr>
            <p:nvPr/>
          </p:nvSpPr>
          <p:spPr bwMode="auto">
            <a:xfrm>
              <a:off x="5426" y="2468"/>
              <a:ext cx="8" cy="8"/>
            </a:xfrm>
            <a:custGeom>
              <a:avLst/>
              <a:gdLst>
                <a:gd name="T0" fmla="*/ 0 w 26"/>
                <a:gd name="T1" fmla="*/ 1 h 24"/>
                <a:gd name="T2" fmla="*/ 0 w 26"/>
                <a:gd name="T3" fmla="*/ 1 h 24"/>
                <a:gd name="T4" fmla="*/ 0 w 26"/>
                <a:gd name="T5" fmla="*/ 1 h 24"/>
                <a:gd name="T6" fmla="*/ 0 w 26"/>
                <a:gd name="T7" fmla="*/ 1 h 24"/>
                <a:gd name="T8" fmla="*/ 1 w 26"/>
                <a:gd name="T9" fmla="*/ 1 h 24"/>
                <a:gd name="T10" fmla="*/ 1 w 26"/>
                <a:gd name="T11" fmla="*/ 0 h 24"/>
                <a:gd name="T12" fmla="*/ 1 w 26"/>
                <a:gd name="T13" fmla="*/ 0 h 24"/>
                <a:gd name="T14" fmla="*/ 1 w 26"/>
                <a:gd name="T15" fmla="*/ 0 h 24"/>
                <a:gd name="T16" fmla="*/ 1 w 26"/>
                <a:gd name="T17" fmla="*/ 0 h 24"/>
                <a:gd name="T18" fmla="*/ 0 w 26"/>
                <a:gd name="T19" fmla="*/ 1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24"/>
                <a:gd name="T32" fmla="*/ 26 w 2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76" name="Freeform 99"/>
            <p:cNvSpPr>
              <a:spLocks/>
            </p:cNvSpPr>
            <p:nvPr/>
          </p:nvSpPr>
          <p:spPr bwMode="auto">
            <a:xfrm>
              <a:off x="5490" y="2490"/>
              <a:ext cx="11" cy="2"/>
            </a:xfrm>
            <a:custGeom>
              <a:avLst/>
              <a:gdLst>
                <a:gd name="T0" fmla="*/ 0 w 34"/>
                <a:gd name="T1" fmla="*/ 0 h 6"/>
                <a:gd name="T2" fmla="*/ 0 w 34"/>
                <a:gd name="T3" fmla="*/ 0 h 6"/>
                <a:gd name="T4" fmla="*/ 1 w 34"/>
                <a:gd name="T5" fmla="*/ 0 h 6"/>
                <a:gd name="T6" fmla="*/ 1 w 34"/>
                <a:gd name="T7" fmla="*/ 0 h 6"/>
                <a:gd name="T8" fmla="*/ 1 w 34"/>
                <a:gd name="T9" fmla="*/ 0 h 6"/>
                <a:gd name="T10" fmla="*/ 0 60000 65536"/>
                <a:gd name="T11" fmla="*/ 0 60000 65536"/>
                <a:gd name="T12" fmla="*/ 0 60000 65536"/>
                <a:gd name="T13" fmla="*/ 0 60000 65536"/>
                <a:gd name="T14" fmla="*/ 0 60000 65536"/>
                <a:gd name="T15" fmla="*/ 0 w 34"/>
                <a:gd name="T16" fmla="*/ 0 h 6"/>
                <a:gd name="T17" fmla="*/ 34 w 34"/>
                <a:gd name="T18" fmla="*/ 6 h 6"/>
              </a:gdLst>
              <a:ahLst/>
              <a:cxnLst>
                <a:cxn ang="T10">
                  <a:pos x="T0" y="T1"/>
                </a:cxn>
                <a:cxn ang="T11">
                  <a:pos x="T2" y="T3"/>
                </a:cxn>
                <a:cxn ang="T12">
                  <a:pos x="T4" y="T5"/>
                </a:cxn>
                <a:cxn ang="T13">
                  <a:pos x="T6" y="T7"/>
                </a:cxn>
                <a:cxn ang="T14">
                  <a:pos x="T8" y="T9"/>
                </a:cxn>
              </a:cxnLst>
              <a:rect l="T15" t="T16" r="T17" b="T18"/>
              <a:pathLst>
                <a:path w="34" h="6">
                  <a:moveTo>
                    <a:pt x="0" y="6"/>
                  </a:moveTo>
                  <a:lnTo>
                    <a:pt x="10" y="6"/>
                  </a:lnTo>
                  <a:lnTo>
                    <a:pt x="17" y="5"/>
                  </a:lnTo>
                  <a:lnTo>
                    <a:pt x="25" y="4"/>
                  </a:lnTo>
                  <a:lnTo>
                    <a:pt x="34"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77" name="Line 100"/>
            <p:cNvSpPr>
              <a:spLocks noChangeShapeType="1"/>
            </p:cNvSpPr>
            <p:nvPr/>
          </p:nvSpPr>
          <p:spPr bwMode="auto">
            <a:xfrm flipH="1">
              <a:off x="5495" y="2490"/>
              <a:ext cx="6" cy="1"/>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78" name="Freeform 101"/>
            <p:cNvSpPr>
              <a:spLocks/>
            </p:cNvSpPr>
            <p:nvPr/>
          </p:nvSpPr>
          <p:spPr bwMode="auto">
            <a:xfrm>
              <a:off x="5464" y="2530"/>
              <a:ext cx="1" cy="7"/>
            </a:xfrm>
            <a:custGeom>
              <a:avLst/>
              <a:gdLst>
                <a:gd name="T0" fmla="*/ 0 w 1"/>
                <a:gd name="T1" fmla="*/ 1 h 19"/>
                <a:gd name="T2" fmla="*/ 0 w 1"/>
                <a:gd name="T3" fmla="*/ 0 h 19"/>
                <a:gd name="T4" fmla="*/ 0 w 1"/>
                <a:gd name="T5" fmla="*/ 0 h 19"/>
                <a:gd name="T6" fmla="*/ 0 60000 65536"/>
                <a:gd name="T7" fmla="*/ 0 60000 65536"/>
                <a:gd name="T8" fmla="*/ 0 60000 65536"/>
                <a:gd name="T9" fmla="*/ 0 w 1"/>
                <a:gd name="T10" fmla="*/ 0 h 19"/>
                <a:gd name="T11" fmla="*/ 1 w 1"/>
                <a:gd name="T12" fmla="*/ 19 h 19"/>
              </a:gdLst>
              <a:ahLst/>
              <a:cxnLst>
                <a:cxn ang="T6">
                  <a:pos x="T0" y="T1"/>
                </a:cxn>
                <a:cxn ang="T7">
                  <a:pos x="T2" y="T3"/>
                </a:cxn>
                <a:cxn ang="T8">
                  <a:pos x="T4" y="T5"/>
                </a:cxn>
              </a:cxnLst>
              <a:rect l="T9" t="T10" r="T11" b="T12"/>
              <a:pathLst>
                <a:path w="1" h="19">
                  <a:moveTo>
                    <a:pt x="0" y="19"/>
                  </a:moveTo>
                  <a:lnTo>
                    <a:pt x="0" y="9"/>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79" name="Line 102"/>
            <p:cNvSpPr>
              <a:spLocks noChangeShapeType="1"/>
            </p:cNvSpPr>
            <p:nvPr/>
          </p:nvSpPr>
          <p:spPr bwMode="auto">
            <a:xfrm>
              <a:off x="5464" y="2530"/>
              <a:ext cx="6" cy="1"/>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80" name="Freeform 103"/>
            <p:cNvSpPr>
              <a:spLocks/>
            </p:cNvSpPr>
            <p:nvPr/>
          </p:nvSpPr>
          <p:spPr bwMode="auto">
            <a:xfrm>
              <a:off x="5466" y="2530"/>
              <a:ext cx="4" cy="2"/>
            </a:xfrm>
            <a:custGeom>
              <a:avLst/>
              <a:gdLst>
                <a:gd name="T0" fmla="*/ 0 w 14"/>
                <a:gd name="T1" fmla="*/ 0 h 6"/>
                <a:gd name="T2" fmla="*/ 0 w 14"/>
                <a:gd name="T3" fmla="*/ 0 h 6"/>
                <a:gd name="T4" fmla="*/ 0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7" y="3"/>
                  </a:lnTo>
                  <a:lnTo>
                    <a:pt x="0" y="6"/>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124" name="Freeform 104"/>
          <p:cNvSpPr>
            <a:spLocks/>
          </p:cNvSpPr>
          <p:nvPr>
            <p:custDataLst>
              <p:tags r:id="rId75"/>
            </p:custDataLst>
          </p:nvPr>
        </p:nvSpPr>
        <p:spPr bwMode="auto">
          <a:xfrm>
            <a:off x="8413753" y="3228975"/>
            <a:ext cx="8467" cy="57150"/>
          </a:xfrm>
          <a:custGeom>
            <a:avLst/>
            <a:gdLst>
              <a:gd name="T0" fmla="*/ 189384604 w 26"/>
              <a:gd name="T1" fmla="*/ 2147483647 h 111"/>
              <a:gd name="T2" fmla="*/ 131107740 w 26"/>
              <a:gd name="T3" fmla="*/ 2147483647 h 111"/>
              <a:gd name="T4" fmla="*/ 58276635 w 26"/>
              <a:gd name="T5" fmla="*/ 2147483647 h 111"/>
              <a:gd name="T6" fmla="*/ 29108643 w 26"/>
              <a:gd name="T7" fmla="*/ 2147483647 h 111"/>
              <a:gd name="T8" fmla="*/ 14554200 w 26"/>
              <a:gd name="T9" fmla="*/ 2147483647 h 111"/>
              <a:gd name="T10" fmla="*/ 0 w 26"/>
              <a:gd name="T11" fmla="*/ 2147483647 h 111"/>
              <a:gd name="T12" fmla="*/ 0 w 26"/>
              <a:gd name="T13" fmla="*/ 2147483647 h 111"/>
              <a:gd name="T14" fmla="*/ 0 w 26"/>
              <a:gd name="T15" fmla="*/ 2147483647 h 111"/>
              <a:gd name="T16" fmla="*/ 14554200 w 26"/>
              <a:gd name="T17" fmla="*/ 2147483647 h 111"/>
              <a:gd name="T18" fmla="*/ 43722439 w 26"/>
              <a:gd name="T19" fmla="*/ 2147483647 h 111"/>
              <a:gd name="T20" fmla="*/ 72831090 w 26"/>
              <a:gd name="T21" fmla="*/ 2147483647 h 111"/>
              <a:gd name="T22" fmla="*/ 131107740 w 26"/>
              <a:gd name="T23" fmla="*/ 2147483647 h 111"/>
              <a:gd name="T24" fmla="*/ 203938799 w 26"/>
              <a:gd name="T25" fmla="*/ 2147483647 h 111"/>
              <a:gd name="T26" fmla="*/ 291383708 w 26"/>
              <a:gd name="T27" fmla="*/ 1228408020 h 111"/>
              <a:gd name="T28" fmla="*/ 378768963 w 26"/>
              <a:gd name="T29" fmla="*/ 0 h 111"/>
              <a:gd name="T30" fmla="*/ 378768963 w 26"/>
              <a:gd name="T31" fmla="*/ 818850381 h 111"/>
              <a:gd name="T32" fmla="*/ 378768963 w 26"/>
              <a:gd name="T33" fmla="*/ 1774219203 h 111"/>
              <a:gd name="T34" fmla="*/ 378768963 w 26"/>
              <a:gd name="T35" fmla="*/ 2147483647 h 111"/>
              <a:gd name="T36" fmla="*/ 378768963 w 26"/>
              <a:gd name="T37" fmla="*/ 2147483647 h 111"/>
              <a:gd name="T38" fmla="*/ 364214767 w 26"/>
              <a:gd name="T39" fmla="*/ 2147483647 h 111"/>
              <a:gd name="T40" fmla="*/ 320492343 w 26"/>
              <a:gd name="T41" fmla="*/ 2147483647 h 111"/>
              <a:gd name="T42" fmla="*/ 262215480 w 26"/>
              <a:gd name="T43" fmla="*/ 2147483647 h 111"/>
              <a:gd name="T44" fmla="*/ 189384604 w 26"/>
              <a:gd name="T45" fmla="*/ 2147483647 h 111"/>
              <a:gd name="T46" fmla="*/ 189384604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25" name="Freeform 105"/>
          <p:cNvSpPr>
            <a:spLocks/>
          </p:cNvSpPr>
          <p:nvPr>
            <p:custDataLst>
              <p:tags r:id="rId76"/>
            </p:custDataLst>
          </p:nvPr>
        </p:nvSpPr>
        <p:spPr bwMode="auto">
          <a:xfrm>
            <a:off x="4279905" y="5368925"/>
            <a:ext cx="71967" cy="58738"/>
          </a:xfrm>
          <a:custGeom>
            <a:avLst/>
            <a:gdLst>
              <a:gd name="T0" fmla="*/ 0 w 126"/>
              <a:gd name="T1" fmla="*/ 2147483647 h 62"/>
              <a:gd name="T2" fmla="*/ 864668367 w 126"/>
              <a:gd name="T3" fmla="*/ 2147483647 h 62"/>
              <a:gd name="T4" fmla="*/ 1650797131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26" name="Freeform 106"/>
          <p:cNvSpPr>
            <a:spLocks/>
          </p:cNvSpPr>
          <p:nvPr>
            <p:custDataLst>
              <p:tags r:id="rId77"/>
            </p:custDataLst>
          </p:nvPr>
        </p:nvSpPr>
        <p:spPr bwMode="auto">
          <a:xfrm>
            <a:off x="7349072" y="5207007"/>
            <a:ext cx="40217" cy="55563"/>
          </a:xfrm>
          <a:custGeom>
            <a:avLst/>
            <a:gdLst>
              <a:gd name="T0" fmla="*/ 0 w 66"/>
              <a:gd name="T1" fmla="*/ 0 h 44"/>
              <a:gd name="T2" fmla="*/ 1240853604 w 66"/>
              <a:gd name="T3" fmla="*/ 2014046294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004455645 w 66"/>
              <a:gd name="T33" fmla="*/ 2147483647 h 44"/>
              <a:gd name="T34" fmla="*/ 954502895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6"/>
              <a:gd name="T70" fmla="*/ 0 h 44"/>
              <a:gd name="T71" fmla="*/ 66 w 66"/>
              <a:gd name="T72" fmla="*/ 44 h 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27" name="Freeform 107"/>
          <p:cNvSpPr>
            <a:spLocks/>
          </p:cNvSpPr>
          <p:nvPr>
            <p:custDataLst>
              <p:tags r:id="rId78"/>
            </p:custDataLst>
          </p:nvPr>
        </p:nvSpPr>
        <p:spPr bwMode="auto">
          <a:xfrm>
            <a:off x="10221386" y="1978025"/>
            <a:ext cx="27516"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076897121 w 46"/>
              <a:gd name="T13" fmla="*/ 2147483647 h 16"/>
              <a:gd name="T14" fmla="*/ 1444710202 w 46"/>
              <a:gd name="T15" fmla="*/ 2147483647 h 16"/>
              <a:gd name="T16" fmla="*/ 993263415 w 46"/>
              <a:gd name="T17" fmla="*/ 2147483647 h 16"/>
              <a:gd name="T18" fmla="*/ 451446899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28" name="Freeform 108"/>
          <p:cNvSpPr>
            <a:spLocks/>
          </p:cNvSpPr>
          <p:nvPr>
            <p:custDataLst>
              <p:tags r:id="rId79"/>
            </p:custDataLst>
          </p:nvPr>
        </p:nvSpPr>
        <p:spPr bwMode="auto">
          <a:xfrm>
            <a:off x="10456338" y="2011363"/>
            <a:ext cx="21167" cy="57150"/>
          </a:xfrm>
          <a:custGeom>
            <a:avLst/>
            <a:gdLst>
              <a:gd name="T0" fmla="*/ 2147483647 w 39"/>
              <a:gd name="T1" fmla="*/ 2147483647 h 26"/>
              <a:gd name="T2" fmla="*/ 2147483647 w 39"/>
              <a:gd name="T3" fmla="*/ 2147483647 h 26"/>
              <a:gd name="T4" fmla="*/ 2147483647 w 39"/>
              <a:gd name="T5" fmla="*/ 2147483647 h 26"/>
              <a:gd name="T6" fmla="*/ 1888376101 w 39"/>
              <a:gd name="T7" fmla="*/ 2147483647 h 26"/>
              <a:gd name="T8" fmla="*/ 1686068844 w 39"/>
              <a:gd name="T9" fmla="*/ 2147483647 h 26"/>
              <a:gd name="T10" fmla="*/ 1214015727 w 39"/>
              <a:gd name="T11" fmla="*/ 2147483647 h 26"/>
              <a:gd name="T12" fmla="*/ 809399380 w 39"/>
              <a:gd name="T13" fmla="*/ 2147483647 h 26"/>
              <a:gd name="T14" fmla="*/ 472052913 w 39"/>
              <a:gd name="T15" fmla="*/ 2147483647 h 26"/>
              <a:gd name="T16" fmla="*/ 202308529 w 39"/>
              <a:gd name="T17" fmla="*/ 2147483647 h 26"/>
              <a:gd name="T18" fmla="*/ 67436185 w 39"/>
              <a:gd name="T19" fmla="*/ 2147483647 h 26"/>
              <a:gd name="T20" fmla="*/ 0 w 39"/>
              <a:gd name="T21" fmla="*/ 0 h 26"/>
              <a:gd name="T22" fmla="*/ 741963221 w 39"/>
              <a:gd name="T23" fmla="*/ 2147483647 h 26"/>
              <a:gd name="T24" fmla="*/ 1483760365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29" name="Freeform 109"/>
          <p:cNvSpPr>
            <a:spLocks/>
          </p:cNvSpPr>
          <p:nvPr>
            <p:custDataLst>
              <p:tags r:id="rId80"/>
            </p:custDataLst>
          </p:nvPr>
        </p:nvSpPr>
        <p:spPr bwMode="auto">
          <a:xfrm>
            <a:off x="9721852" y="2241550"/>
            <a:ext cx="6349" cy="58738"/>
          </a:xfrm>
          <a:custGeom>
            <a:avLst/>
            <a:gdLst>
              <a:gd name="T0" fmla="*/ 892447626 w 11"/>
              <a:gd name="T1" fmla="*/ 0 h 25"/>
              <a:gd name="T2" fmla="*/ 892447626 w 11"/>
              <a:gd name="T3" fmla="*/ 2147483647 h 25"/>
              <a:gd name="T4" fmla="*/ 811298845 w 11"/>
              <a:gd name="T5" fmla="*/ 2147483647 h 25"/>
              <a:gd name="T6" fmla="*/ 730150497 w 11"/>
              <a:gd name="T7" fmla="*/ 2147483647 h 25"/>
              <a:gd name="T8" fmla="*/ 324594799 w 11"/>
              <a:gd name="T9" fmla="*/ 2147483647 h 25"/>
              <a:gd name="T10" fmla="*/ 162297183 w 11"/>
              <a:gd name="T11" fmla="*/ 2147483647 h 25"/>
              <a:gd name="T12" fmla="*/ 81148808 w 11"/>
              <a:gd name="T13" fmla="*/ 2147483647 h 25"/>
              <a:gd name="T14" fmla="*/ 0 w 11"/>
              <a:gd name="T15" fmla="*/ 2147483647 h 25"/>
              <a:gd name="T16" fmla="*/ 0 w 11"/>
              <a:gd name="T17" fmla="*/ 2147483647 h 25"/>
              <a:gd name="T18" fmla="*/ 81148808 w 11"/>
              <a:gd name="T19" fmla="*/ 2147483647 h 25"/>
              <a:gd name="T20" fmla="*/ 243446018 w 11"/>
              <a:gd name="T21" fmla="*/ 2147483647 h 25"/>
              <a:gd name="T22" fmla="*/ 486704587 w 11"/>
              <a:gd name="T23" fmla="*/ 2147483647 h 25"/>
              <a:gd name="T24" fmla="*/ 892447626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30" name="Freeform 110"/>
          <p:cNvSpPr>
            <a:spLocks/>
          </p:cNvSpPr>
          <p:nvPr>
            <p:custDataLst>
              <p:tags r:id="rId81"/>
            </p:custDataLst>
          </p:nvPr>
        </p:nvSpPr>
        <p:spPr bwMode="auto">
          <a:xfrm>
            <a:off x="9474201" y="2803525"/>
            <a:ext cx="19051" cy="58738"/>
          </a:xfrm>
          <a:custGeom>
            <a:avLst/>
            <a:gdLst>
              <a:gd name="T0" fmla="*/ 2147483647 w 20"/>
              <a:gd name="T1" fmla="*/ 0 h 31"/>
              <a:gd name="T2" fmla="*/ 2147483647 w 20"/>
              <a:gd name="T3" fmla="*/ 2147483647 h 31"/>
              <a:gd name="T4" fmla="*/ 2147483647 w 20"/>
              <a:gd name="T5" fmla="*/ 2147483647 h 31"/>
              <a:gd name="T6" fmla="*/ 1823031657 w 20"/>
              <a:gd name="T7" fmla="*/ 2147483647 h 31"/>
              <a:gd name="T8" fmla="*/ 0 w 20"/>
              <a:gd name="T9" fmla="*/ 2147483647 h 31"/>
              <a:gd name="T10" fmla="*/ 0 w 20"/>
              <a:gd name="T11" fmla="*/ 2147483647 h 31"/>
              <a:gd name="T12" fmla="*/ 364402531 w 20"/>
              <a:gd name="T13" fmla="*/ 2147483647 h 31"/>
              <a:gd name="T14" fmla="*/ 729315144 w 20"/>
              <a:gd name="T15" fmla="*/ 2147483647 h 31"/>
              <a:gd name="T16" fmla="*/ 182303165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31" name="Freeform 111"/>
          <p:cNvSpPr>
            <a:spLocks/>
          </p:cNvSpPr>
          <p:nvPr>
            <p:custDataLst>
              <p:tags r:id="rId82"/>
            </p:custDataLst>
          </p:nvPr>
        </p:nvSpPr>
        <p:spPr bwMode="auto">
          <a:xfrm>
            <a:off x="9497489" y="2738438"/>
            <a:ext cx="21167" cy="57150"/>
          </a:xfrm>
          <a:custGeom>
            <a:avLst/>
            <a:gdLst>
              <a:gd name="T0" fmla="*/ 2147483647 w 26"/>
              <a:gd name="T1" fmla="*/ 2147483647 h 37"/>
              <a:gd name="T2" fmla="*/ 0 w 26"/>
              <a:gd name="T3" fmla="*/ 2147483647 h 37"/>
              <a:gd name="T4" fmla="*/ 1365581143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32" name="Freeform 112"/>
          <p:cNvSpPr>
            <a:spLocks/>
          </p:cNvSpPr>
          <p:nvPr>
            <p:custDataLst>
              <p:tags r:id="rId83"/>
            </p:custDataLst>
          </p:nvPr>
        </p:nvSpPr>
        <p:spPr bwMode="auto">
          <a:xfrm>
            <a:off x="9349319" y="2587632"/>
            <a:ext cx="2116" cy="60325"/>
          </a:xfrm>
          <a:custGeom>
            <a:avLst/>
            <a:gdLst>
              <a:gd name="T0" fmla="*/ 0 w 7"/>
              <a:gd name="T1" fmla="*/ 2147483647 h 18"/>
              <a:gd name="T2" fmla="*/ 0 w 7"/>
              <a:gd name="T3" fmla="*/ 0 h 18"/>
              <a:gd name="T4" fmla="*/ 81570899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33" name="Freeform 113"/>
          <p:cNvSpPr>
            <a:spLocks/>
          </p:cNvSpPr>
          <p:nvPr>
            <p:custDataLst>
              <p:tags r:id="rId84"/>
            </p:custDataLst>
          </p:nvPr>
        </p:nvSpPr>
        <p:spPr bwMode="auto">
          <a:xfrm>
            <a:off x="5151967" y="1714500"/>
            <a:ext cx="12700" cy="57150"/>
          </a:xfrm>
          <a:custGeom>
            <a:avLst/>
            <a:gdLst>
              <a:gd name="T0" fmla="*/ 0 w 33"/>
              <a:gd name="T1" fmla="*/ 2147483647 h 31"/>
              <a:gd name="T2" fmla="*/ 456877238 w 33"/>
              <a:gd name="T3" fmla="*/ 0 h 31"/>
              <a:gd name="T4" fmla="*/ 577094805 w 33"/>
              <a:gd name="T5" fmla="*/ 2147483647 h 31"/>
              <a:gd name="T6" fmla="*/ 673318764 w 33"/>
              <a:gd name="T7" fmla="*/ 2147483647 h 31"/>
              <a:gd name="T8" fmla="*/ 769459451 w 33"/>
              <a:gd name="T9" fmla="*/ 2147483647 h 31"/>
              <a:gd name="T10" fmla="*/ 793536331 w 33"/>
              <a:gd name="T11" fmla="*/ 2147483647 h 31"/>
              <a:gd name="T12" fmla="*/ 649241884 w 33"/>
              <a:gd name="T13" fmla="*/ 2147483647 h 31"/>
              <a:gd name="T14" fmla="*/ 529024461 w 33"/>
              <a:gd name="T15" fmla="*/ 2147483647 h 31"/>
              <a:gd name="T16" fmla="*/ 384730014 w 33"/>
              <a:gd name="T17" fmla="*/ 2147483647 h 31"/>
              <a:gd name="T18" fmla="*/ 264512086 w 33"/>
              <a:gd name="T19" fmla="*/ 2147483647 h 31"/>
              <a:gd name="T20" fmla="*/ 72147241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34" name="Freeform 114"/>
          <p:cNvSpPr>
            <a:spLocks/>
          </p:cNvSpPr>
          <p:nvPr>
            <p:custDataLst>
              <p:tags r:id="rId85"/>
            </p:custDataLst>
          </p:nvPr>
        </p:nvSpPr>
        <p:spPr bwMode="auto">
          <a:xfrm>
            <a:off x="5132922" y="1482725"/>
            <a:ext cx="4233" cy="57150"/>
          </a:xfrm>
          <a:custGeom>
            <a:avLst/>
            <a:gdLst>
              <a:gd name="T0" fmla="*/ 163295932 w 14"/>
              <a:gd name="T1" fmla="*/ 0 h 6"/>
              <a:gd name="T2" fmla="*/ 0 w 14"/>
              <a:gd name="T3" fmla="*/ 2147483647 h 6"/>
              <a:gd name="T4" fmla="*/ 163295932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35" name="Freeform 115"/>
          <p:cNvSpPr>
            <a:spLocks/>
          </p:cNvSpPr>
          <p:nvPr>
            <p:custDataLst>
              <p:tags r:id="rId86"/>
            </p:custDataLst>
          </p:nvPr>
        </p:nvSpPr>
        <p:spPr bwMode="auto">
          <a:xfrm>
            <a:off x="7107769" y="3260732"/>
            <a:ext cx="33867" cy="55563"/>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074482901 w 59"/>
              <a:gd name="T17" fmla="*/ 2147483647 h 31"/>
              <a:gd name="T18" fmla="*/ 1675636275 w 59"/>
              <a:gd name="T19" fmla="*/ 2147483647 h 31"/>
              <a:gd name="T20" fmla="*/ 1356485788 w 59"/>
              <a:gd name="T21" fmla="*/ 2147483647 h 31"/>
              <a:gd name="T22" fmla="*/ 1117029287 w 59"/>
              <a:gd name="T23" fmla="*/ 2147483647 h 31"/>
              <a:gd name="T24" fmla="*/ 877758551 w 59"/>
              <a:gd name="T25" fmla="*/ 2147483647 h 31"/>
              <a:gd name="T26" fmla="*/ 319151456 w 59"/>
              <a:gd name="T27" fmla="*/ 2147483647 h 31"/>
              <a:gd name="T28" fmla="*/ 0 w 59"/>
              <a:gd name="T29" fmla="*/ 2147483647 h 31"/>
              <a:gd name="T30" fmla="*/ 79880423 w 59"/>
              <a:gd name="T31" fmla="*/ 2147483647 h 31"/>
              <a:gd name="T32" fmla="*/ 239456178 w 59"/>
              <a:gd name="T33" fmla="*/ 2147483647 h 31"/>
              <a:gd name="T34" fmla="*/ 399031852 w 59"/>
              <a:gd name="T35" fmla="*/ 2147483647 h 31"/>
              <a:gd name="T36" fmla="*/ 638302481 w 59"/>
              <a:gd name="T37" fmla="*/ 2147483647 h 31"/>
              <a:gd name="T38" fmla="*/ 1276604961 w 59"/>
              <a:gd name="T39" fmla="*/ 2147483647 h 31"/>
              <a:gd name="T40" fmla="*/ 191490722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36" name="Freeform 116"/>
          <p:cNvSpPr>
            <a:spLocks/>
          </p:cNvSpPr>
          <p:nvPr>
            <p:custDataLst>
              <p:tags r:id="rId87"/>
            </p:custDataLst>
          </p:nvPr>
        </p:nvSpPr>
        <p:spPr bwMode="auto">
          <a:xfrm>
            <a:off x="6711951" y="3122620"/>
            <a:ext cx="25400" cy="58737"/>
          </a:xfrm>
          <a:custGeom>
            <a:avLst/>
            <a:gdLst>
              <a:gd name="T0" fmla="*/ 932144975 w 47"/>
              <a:gd name="T1" fmla="*/ 0 h 68"/>
              <a:gd name="T2" fmla="*/ 532771785 w 47"/>
              <a:gd name="T3" fmla="*/ 2147483647 h 68"/>
              <a:gd name="T4" fmla="*/ 266303613 w 47"/>
              <a:gd name="T5" fmla="*/ 2147483647 h 68"/>
              <a:gd name="T6" fmla="*/ 133234086 w 47"/>
              <a:gd name="T7" fmla="*/ 2147483647 h 68"/>
              <a:gd name="T8" fmla="*/ 0 w 47"/>
              <a:gd name="T9" fmla="*/ 2147483647 h 68"/>
              <a:gd name="T10" fmla="*/ 0 w 47"/>
              <a:gd name="T11" fmla="*/ 2147483647 h 68"/>
              <a:gd name="T12" fmla="*/ 133234086 w 47"/>
              <a:gd name="T13" fmla="*/ 2147483647 h 68"/>
              <a:gd name="T14" fmla="*/ 199768824 w 47"/>
              <a:gd name="T15" fmla="*/ 2147483647 h 68"/>
              <a:gd name="T16" fmla="*/ 333002910 w 47"/>
              <a:gd name="T17" fmla="*/ 2147483647 h 68"/>
              <a:gd name="T18" fmla="*/ 466072488 w 47"/>
              <a:gd name="T19" fmla="*/ 2147483647 h 68"/>
              <a:gd name="T20" fmla="*/ 599306523 w 47"/>
              <a:gd name="T21" fmla="*/ 2147483647 h 68"/>
              <a:gd name="T22" fmla="*/ 865610237 w 47"/>
              <a:gd name="T23" fmla="*/ 2147483647 h 68"/>
              <a:gd name="T24" fmla="*/ 1065379011 w 47"/>
              <a:gd name="T25" fmla="*/ 2147483647 h 68"/>
              <a:gd name="T26" fmla="*/ 1464916557 w 47"/>
              <a:gd name="T27" fmla="*/ 2147483647 h 68"/>
              <a:gd name="T28" fmla="*/ 2064222472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1598150593 w 47"/>
              <a:gd name="T47" fmla="*/ 2147483647 h 68"/>
              <a:gd name="T48" fmla="*/ 932144975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137" name="Group 117"/>
          <p:cNvGrpSpPr>
            <a:grpSpLocks/>
          </p:cNvGrpSpPr>
          <p:nvPr>
            <p:custDataLst>
              <p:tags r:id="rId88"/>
            </p:custDataLst>
          </p:nvPr>
        </p:nvGrpSpPr>
        <p:grpSpPr bwMode="auto">
          <a:xfrm>
            <a:off x="7740655" y="3309938"/>
            <a:ext cx="61383" cy="374650"/>
            <a:chOff x="3950" y="2430"/>
            <a:chExt cx="36" cy="234"/>
          </a:xfrm>
          <a:solidFill>
            <a:schemeClr val="accent5">
              <a:lumMod val="75000"/>
            </a:schemeClr>
          </a:solidFill>
        </p:grpSpPr>
        <p:sp>
          <p:nvSpPr>
            <p:cNvPr id="2541" name="Freeform 118"/>
            <p:cNvSpPr>
              <a:spLocks/>
            </p:cNvSpPr>
            <p:nvPr/>
          </p:nvSpPr>
          <p:spPr bwMode="auto">
            <a:xfrm>
              <a:off x="3975" y="2658"/>
              <a:ext cx="6" cy="6"/>
            </a:xfrm>
            <a:custGeom>
              <a:avLst/>
              <a:gdLst>
                <a:gd name="T0" fmla="*/ 0 w 19"/>
                <a:gd name="T1" fmla="*/ 0 h 20"/>
                <a:gd name="T2" fmla="*/ 0 w 19"/>
                <a:gd name="T3" fmla="*/ 1 h 20"/>
                <a:gd name="T4" fmla="*/ 1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42" name="Freeform 119"/>
            <p:cNvSpPr>
              <a:spLocks/>
            </p:cNvSpPr>
            <p:nvPr/>
          </p:nvSpPr>
          <p:spPr bwMode="auto">
            <a:xfrm>
              <a:off x="3975" y="2644"/>
              <a:ext cx="6" cy="4"/>
            </a:xfrm>
            <a:custGeom>
              <a:avLst/>
              <a:gdLst>
                <a:gd name="T0" fmla="*/ 0 w 19"/>
                <a:gd name="T1" fmla="*/ 0 h 12"/>
                <a:gd name="T2" fmla="*/ 1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43" name="Freeform 120"/>
            <p:cNvSpPr>
              <a:spLocks/>
            </p:cNvSpPr>
            <p:nvPr/>
          </p:nvSpPr>
          <p:spPr bwMode="auto">
            <a:xfrm>
              <a:off x="3975" y="2637"/>
              <a:ext cx="6" cy="1"/>
            </a:xfrm>
            <a:custGeom>
              <a:avLst/>
              <a:gdLst>
                <a:gd name="T0" fmla="*/ 0 w 19"/>
                <a:gd name="T1" fmla="*/ 0 h 1"/>
                <a:gd name="T2" fmla="*/ 0 w 19"/>
                <a:gd name="T3" fmla="*/ 0 h 1"/>
                <a:gd name="T4" fmla="*/ 1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44"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defRPr/>
              </a:pPr>
              <a:endParaRPr lang="zh-TW" altLang="en-US">
                <a:solidFill>
                  <a:srgbClr val="000000"/>
                </a:solidFill>
                <a:ea typeface="新細明體" charset="-120"/>
              </a:endParaRPr>
            </a:p>
          </p:txBody>
        </p:sp>
        <p:sp>
          <p:nvSpPr>
            <p:cNvPr id="2545" name="Line 122"/>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46" name="Freeform 123"/>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47" name="Freeform 124"/>
            <p:cNvSpPr>
              <a:spLocks/>
            </p:cNvSpPr>
            <p:nvPr/>
          </p:nvSpPr>
          <p:spPr bwMode="auto">
            <a:xfrm>
              <a:off x="3981" y="2555"/>
              <a:ext cx="5" cy="8"/>
            </a:xfrm>
            <a:custGeom>
              <a:avLst/>
              <a:gdLst>
                <a:gd name="T0" fmla="*/ 1 w 14"/>
                <a:gd name="T1" fmla="*/ 0 h 24"/>
                <a:gd name="T2" fmla="*/ 1 w 14"/>
                <a:gd name="T3" fmla="*/ 0 h 24"/>
                <a:gd name="T4" fmla="*/ 0 w 14"/>
                <a:gd name="T5" fmla="*/ 0 h 24"/>
                <a:gd name="T6" fmla="*/ 0 w 14"/>
                <a:gd name="T7" fmla="*/ 1 h 24"/>
                <a:gd name="T8" fmla="*/ 0 w 14"/>
                <a:gd name="T9" fmla="*/ 1 h 24"/>
                <a:gd name="T10" fmla="*/ 0 w 14"/>
                <a:gd name="T11" fmla="*/ 1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48" name="Line 125"/>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49" name="Freeform 126"/>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50" name="Freeform 127"/>
            <p:cNvSpPr>
              <a:spLocks/>
            </p:cNvSpPr>
            <p:nvPr/>
          </p:nvSpPr>
          <p:spPr bwMode="auto">
            <a:xfrm>
              <a:off x="3981" y="2585"/>
              <a:ext cx="2" cy="6"/>
            </a:xfrm>
            <a:custGeom>
              <a:avLst/>
              <a:gdLst>
                <a:gd name="T0" fmla="*/ 0 w 7"/>
                <a:gd name="T1" fmla="*/ 0 h 19"/>
                <a:gd name="T2" fmla="*/ 0 w 7"/>
                <a:gd name="T3" fmla="*/ 1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51" name="Line 128"/>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52" name="Freeform 129"/>
            <p:cNvSpPr>
              <a:spLocks/>
            </p:cNvSpPr>
            <p:nvPr/>
          </p:nvSpPr>
          <p:spPr bwMode="auto">
            <a:xfrm>
              <a:off x="3970" y="2545"/>
              <a:ext cx="2" cy="6"/>
            </a:xfrm>
            <a:custGeom>
              <a:avLst/>
              <a:gdLst>
                <a:gd name="T0" fmla="*/ 0 w 8"/>
                <a:gd name="T1" fmla="*/ 1 h 18"/>
                <a:gd name="T2" fmla="*/ 0 w 8"/>
                <a:gd name="T3" fmla="*/ 0 h 18"/>
                <a:gd name="T4" fmla="*/ 0 w 8"/>
                <a:gd name="T5" fmla="*/ 0 h 18"/>
                <a:gd name="T6" fmla="*/ 0 w 8"/>
                <a:gd name="T7" fmla="*/ 1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53" name="Freeform 130"/>
            <p:cNvSpPr>
              <a:spLocks/>
            </p:cNvSpPr>
            <p:nvPr/>
          </p:nvSpPr>
          <p:spPr bwMode="auto">
            <a:xfrm>
              <a:off x="3968" y="2532"/>
              <a:ext cx="2" cy="7"/>
            </a:xfrm>
            <a:custGeom>
              <a:avLst/>
              <a:gdLst>
                <a:gd name="T0" fmla="*/ 0 w 6"/>
                <a:gd name="T1" fmla="*/ 0 h 19"/>
                <a:gd name="T2" fmla="*/ 0 w 6"/>
                <a:gd name="T3" fmla="*/ 1 h 19"/>
                <a:gd name="T4" fmla="*/ 0 w 6"/>
                <a:gd name="T5" fmla="*/ 1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54" name="Freeform 131"/>
            <p:cNvSpPr>
              <a:spLocks/>
            </p:cNvSpPr>
            <p:nvPr/>
          </p:nvSpPr>
          <p:spPr bwMode="auto">
            <a:xfrm>
              <a:off x="3965" y="2513"/>
              <a:ext cx="10" cy="5"/>
            </a:xfrm>
            <a:custGeom>
              <a:avLst/>
              <a:gdLst>
                <a:gd name="T0" fmla="*/ 0 w 28"/>
                <a:gd name="T1" fmla="*/ 0 h 19"/>
                <a:gd name="T2" fmla="*/ 0 w 28"/>
                <a:gd name="T3" fmla="*/ 0 h 19"/>
                <a:gd name="T4" fmla="*/ 1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55" name="Freeform 132"/>
            <p:cNvSpPr>
              <a:spLocks/>
            </p:cNvSpPr>
            <p:nvPr/>
          </p:nvSpPr>
          <p:spPr bwMode="auto">
            <a:xfrm>
              <a:off x="3970" y="2513"/>
              <a:ext cx="5" cy="5"/>
            </a:xfrm>
            <a:custGeom>
              <a:avLst/>
              <a:gdLst>
                <a:gd name="T0" fmla="*/ 1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56" name="Freeform 133"/>
            <p:cNvSpPr>
              <a:spLocks/>
            </p:cNvSpPr>
            <p:nvPr/>
          </p:nvSpPr>
          <p:spPr bwMode="auto">
            <a:xfrm>
              <a:off x="3975" y="2658"/>
              <a:ext cx="6" cy="6"/>
            </a:xfrm>
            <a:custGeom>
              <a:avLst/>
              <a:gdLst>
                <a:gd name="T0" fmla="*/ 0 w 19"/>
                <a:gd name="T1" fmla="*/ 0 h 20"/>
                <a:gd name="T2" fmla="*/ 0 w 19"/>
                <a:gd name="T3" fmla="*/ 1 h 20"/>
                <a:gd name="T4" fmla="*/ 1 w 19"/>
                <a:gd name="T5" fmla="*/ 0 h 20"/>
                <a:gd name="T6" fmla="*/ 0 w 19"/>
                <a:gd name="T7" fmla="*/ 0 h 20"/>
                <a:gd name="T8" fmla="*/ 0 w 19"/>
                <a:gd name="T9" fmla="*/ 0 h 20"/>
                <a:gd name="T10" fmla="*/ 0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57" name="Freeform 134"/>
            <p:cNvSpPr>
              <a:spLocks/>
            </p:cNvSpPr>
            <p:nvPr/>
          </p:nvSpPr>
          <p:spPr bwMode="auto">
            <a:xfrm>
              <a:off x="3975" y="2644"/>
              <a:ext cx="6" cy="4"/>
            </a:xfrm>
            <a:custGeom>
              <a:avLst/>
              <a:gdLst>
                <a:gd name="T0" fmla="*/ 0 w 19"/>
                <a:gd name="T1" fmla="*/ 0 h 12"/>
                <a:gd name="T2" fmla="*/ 1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58" name="Freeform 135"/>
            <p:cNvSpPr>
              <a:spLocks/>
            </p:cNvSpPr>
            <p:nvPr/>
          </p:nvSpPr>
          <p:spPr bwMode="auto">
            <a:xfrm>
              <a:off x="3975" y="2637"/>
              <a:ext cx="6" cy="1"/>
            </a:xfrm>
            <a:custGeom>
              <a:avLst/>
              <a:gdLst>
                <a:gd name="T0" fmla="*/ 0 w 19"/>
                <a:gd name="T1" fmla="*/ 0 h 1"/>
                <a:gd name="T2" fmla="*/ 0 w 19"/>
                <a:gd name="T3" fmla="*/ 0 h 1"/>
                <a:gd name="T4" fmla="*/ 1 w 19"/>
                <a:gd name="T5" fmla="*/ 0 h 1"/>
                <a:gd name="T6" fmla="*/ 0 w 19"/>
                <a:gd name="T7" fmla="*/ 0 h 1"/>
                <a:gd name="T8" fmla="*/ 0 w 19"/>
                <a:gd name="T9" fmla="*/ 0 h 1"/>
                <a:gd name="T10" fmla="*/ 0 60000 65536"/>
                <a:gd name="T11" fmla="*/ 0 60000 65536"/>
                <a:gd name="T12" fmla="*/ 0 60000 65536"/>
                <a:gd name="T13" fmla="*/ 0 60000 65536"/>
                <a:gd name="T14" fmla="*/ 0 60000 65536"/>
                <a:gd name="T15" fmla="*/ 0 w 19"/>
                <a:gd name="T16" fmla="*/ 0 h 1"/>
                <a:gd name="T17" fmla="*/ 19 w 19"/>
                <a:gd name="T18" fmla="*/ 1 h 1"/>
              </a:gdLst>
              <a:ahLst/>
              <a:cxnLst>
                <a:cxn ang="T10">
                  <a:pos x="T0" y="T1"/>
                </a:cxn>
                <a:cxn ang="T11">
                  <a:pos x="T2" y="T3"/>
                </a:cxn>
                <a:cxn ang="T12">
                  <a:pos x="T4" y="T5"/>
                </a:cxn>
                <a:cxn ang="T13">
                  <a:pos x="T6" y="T7"/>
                </a:cxn>
                <a:cxn ang="T14">
                  <a:pos x="T8" y="T9"/>
                </a:cxn>
              </a:cxnLst>
              <a:rect l="T15" t="T16" r="T17" b="T18"/>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59"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defRPr/>
              </a:pPr>
              <a:endParaRPr lang="zh-TW" altLang="en-US">
                <a:solidFill>
                  <a:srgbClr val="000000"/>
                </a:solidFill>
                <a:ea typeface="新細明體" charset="-120"/>
              </a:endParaRPr>
            </a:p>
          </p:txBody>
        </p:sp>
        <p:sp>
          <p:nvSpPr>
            <p:cNvPr id="2560" name="Line 137"/>
            <p:cNvSpPr>
              <a:spLocks noChangeShapeType="1"/>
            </p:cNvSpPr>
            <p:nvPr/>
          </p:nvSpPr>
          <p:spPr bwMode="auto">
            <a:xfrm flipV="1">
              <a:off x="3972" y="2595"/>
              <a:ext cx="5" cy="4"/>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61" name="Freeform 138"/>
            <p:cNvSpPr>
              <a:spLocks/>
            </p:cNvSpPr>
            <p:nvPr/>
          </p:nvSpPr>
          <p:spPr bwMode="auto">
            <a:xfrm>
              <a:off x="3975" y="2595"/>
              <a:ext cx="2" cy="1"/>
            </a:xfrm>
            <a:custGeom>
              <a:avLst/>
              <a:gdLst>
                <a:gd name="T0" fmla="*/ 0 w 6"/>
                <a:gd name="T1" fmla="*/ 0 h 3"/>
                <a:gd name="T2" fmla="*/ 0 w 6"/>
                <a:gd name="T3" fmla="*/ 0 h 3"/>
                <a:gd name="T4" fmla="*/ 0 w 6"/>
                <a:gd name="T5" fmla="*/ 0 h 3"/>
                <a:gd name="T6" fmla="*/ 0 w 6"/>
                <a:gd name="T7" fmla="*/ 0 h 3"/>
                <a:gd name="T8" fmla="*/ 0 w 6"/>
                <a:gd name="T9" fmla="*/ 0 h 3"/>
                <a:gd name="T10" fmla="*/ 0 w 6"/>
                <a:gd name="T11" fmla="*/ 0 h 3"/>
                <a:gd name="T12" fmla="*/ 0 w 6"/>
                <a:gd name="T13" fmla="*/ 0 h 3"/>
                <a:gd name="T14" fmla="*/ 0 60000 65536"/>
                <a:gd name="T15" fmla="*/ 0 60000 65536"/>
                <a:gd name="T16" fmla="*/ 0 60000 65536"/>
                <a:gd name="T17" fmla="*/ 0 60000 65536"/>
                <a:gd name="T18" fmla="*/ 0 60000 65536"/>
                <a:gd name="T19" fmla="*/ 0 60000 65536"/>
                <a:gd name="T20" fmla="*/ 0 60000 65536"/>
                <a:gd name="T21" fmla="*/ 0 w 6"/>
                <a:gd name="T22" fmla="*/ 0 h 3"/>
                <a:gd name="T23" fmla="*/ 6 w 6"/>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62" name="Freeform 139"/>
            <p:cNvSpPr>
              <a:spLocks/>
            </p:cNvSpPr>
            <p:nvPr/>
          </p:nvSpPr>
          <p:spPr bwMode="auto">
            <a:xfrm>
              <a:off x="3981" y="2555"/>
              <a:ext cx="5" cy="8"/>
            </a:xfrm>
            <a:custGeom>
              <a:avLst/>
              <a:gdLst>
                <a:gd name="T0" fmla="*/ 1 w 14"/>
                <a:gd name="T1" fmla="*/ 0 h 24"/>
                <a:gd name="T2" fmla="*/ 1 w 14"/>
                <a:gd name="T3" fmla="*/ 0 h 24"/>
                <a:gd name="T4" fmla="*/ 0 w 14"/>
                <a:gd name="T5" fmla="*/ 0 h 24"/>
                <a:gd name="T6" fmla="*/ 0 w 14"/>
                <a:gd name="T7" fmla="*/ 1 h 24"/>
                <a:gd name="T8" fmla="*/ 0 w 14"/>
                <a:gd name="T9" fmla="*/ 1 h 24"/>
                <a:gd name="T10" fmla="*/ 0 w 14"/>
                <a:gd name="T11" fmla="*/ 1 h 24"/>
                <a:gd name="T12" fmla="*/ 0 w 14"/>
                <a:gd name="T13" fmla="*/ 0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63" name="Line 140"/>
            <p:cNvSpPr>
              <a:spLocks noChangeShapeType="1"/>
            </p:cNvSpPr>
            <p:nvPr/>
          </p:nvSpPr>
          <p:spPr bwMode="auto">
            <a:xfrm>
              <a:off x="3981" y="2559"/>
              <a:ext cx="2" cy="1"/>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64" name="Freeform 141"/>
            <p:cNvSpPr>
              <a:spLocks/>
            </p:cNvSpPr>
            <p:nvPr/>
          </p:nvSpPr>
          <p:spPr bwMode="auto">
            <a:xfrm>
              <a:off x="3977" y="2572"/>
              <a:ext cx="4" cy="3"/>
            </a:xfrm>
            <a:custGeom>
              <a:avLst/>
              <a:gdLst>
                <a:gd name="T0" fmla="*/ 0 w 13"/>
                <a:gd name="T1" fmla="*/ 0 h 12"/>
                <a:gd name="T2" fmla="*/ 0 w 13"/>
                <a:gd name="T3" fmla="*/ 0 h 12"/>
                <a:gd name="T4" fmla="*/ 0 w 13"/>
                <a:gd name="T5" fmla="*/ 0 h 12"/>
                <a:gd name="T6" fmla="*/ 0 60000 65536"/>
                <a:gd name="T7" fmla="*/ 0 60000 65536"/>
                <a:gd name="T8" fmla="*/ 0 60000 65536"/>
                <a:gd name="T9" fmla="*/ 0 w 13"/>
                <a:gd name="T10" fmla="*/ 0 h 12"/>
                <a:gd name="T11" fmla="*/ 13 w 13"/>
                <a:gd name="T12" fmla="*/ 12 h 12"/>
              </a:gdLst>
              <a:ahLst/>
              <a:cxnLst>
                <a:cxn ang="T6">
                  <a:pos x="T0" y="T1"/>
                </a:cxn>
                <a:cxn ang="T7">
                  <a:pos x="T2" y="T3"/>
                </a:cxn>
                <a:cxn ang="T8">
                  <a:pos x="T4" y="T5"/>
                </a:cxn>
              </a:cxnLst>
              <a:rect l="T9" t="T10" r="T11" b="T12"/>
              <a:pathLst>
                <a:path w="13" h="12">
                  <a:moveTo>
                    <a:pt x="13" y="12"/>
                  </a:moveTo>
                  <a:lnTo>
                    <a:pt x="0" y="0"/>
                  </a:lnTo>
                  <a:lnTo>
                    <a:pt x="13" y="12"/>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65" name="Freeform 142"/>
            <p:cNvSpPr>
              <a:spLocks/>
            </p:cNvSpPr>
            <p:nvPr/>
          </p:nvSpPr>
          <p:spPr bwMode="auto">
            <a:xfrm>
              <a:off x="3981" y="2585"/>
              <a:ext cx="2" cy="6"/>
            </a:xfrm>
            <a:custGeom>
              <a:avLst/>
              <a:gdLst>
                <a:gd name="T0" fmla="*/ 0 w 7"/>
                <a:gd name="T1" fmla="*/ 0 h 19"/>
                <a:gd name="T2" fmla="*/ 0 w 7"/>
                <a:gd name="T3" fmla="*/ 1 h 19"/>
                <a:gd name="T4" fmla="*/ 0 w 7"/>
                <a:gd name="T5" fmla="*/ 0 h 19"/>
                <a:gd name="T6" fmla="*/ 0 w 7"/>
                <a:gd name="T7" fmla="*/ 0 h 19"/>
                <a:gd name="T8" fmla="*/ 0 60000 65536"/>
                <a:gd name="T9" fmla="*/ 0 60000 65536"/>
                <a:gd name="T10" fmla="*/ 0 60000 65536"/>
                <a:gd name="T11" fmla="*/ 0 60000 65536"/>
                <a:gd name="T12" fmla="*/ 0 w 7"/>
                <a:gd name="T13" fmla="*/ 0 h 19"/>
                <a:gd name="T14" fmla="*/ 7 w 7"/>
                <a:gd name="T15" fmla="*/ 19 h 19"/>
              </a:gdLst>
              <a:ahLst/>
              <a:cxnLst>
                <a:cxn ang="T8">
                  <a:pos x="T0" y="T1"/>
                </a:cxn>
                <a:cxn ang="T9">
                  <a:pos x="T2" y="T3"/>
                </a:cxn>
                <a:cxn ang="T10">
                  <a:pos x="T4" y="T5"/>
                </a:cxn>
                <a:cxn ang="T11">
                  <a:pos x="T6" y="T7"/>
                </a:cxn>
              </a:cxnLst>
              <a:rect l="T12" t="T13" r="T14" b="T15"/>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66" name="Line 143"/>
            <p:cNvSpPr>
              <a:spLocks noChangeShapeType="1"/>
            </p:cNvSpPr>
            <p:nvPr/>
          </p:nvSpPr>
          <p:spPr bwMode="auto">
            <a:xfrm flipV="1">
              <a:off x="3981" y="2599"/>
              <a:ext cx="1" cy="4"/>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67" name="Freeform 144"/>
            <p:cNvSpPr>
              <a:spLocks/>
            </p:cNvSpPr>
            <p:nvPr/>
          </p:nvSpPr>
          <p:spPr bwMode="auto">
            <a:xfrm>
              <a:off x="3970" y="2545"/>
              <a:ext cx="2" cy="6"/>
            </a:xfrm>
            <a:custGeom>
              <a:avLst/>
              <a:gdLst>
                <a:gd name="T0" fmla="*/ 0 w 8"/>
                <a:gd name="T1" fmla="*/ 1 h 18"/>
                <a:gd name="T2" fmla="*/ 0 w 8"/>
                <a:gd name="T3" fmla="*/ 0 h 18"/>
                <a:gd name="T4" fmla="*/ 0 w 8"/>
                <a:gd name="T5" fmla="*/ 0 h 18"/>
                <a:gd name="T6" fmla="*/ 0 w 8"/>
                <a:gd name="T7" fmla="*/ 1 h 18"/>
                <a:gd name="T8" fmla="*/ 0 60000 65536"/>
                <a:gd name="T9" fmla="*/ 0 60000 65536"/>
                <a:gd name="T10" fmla="*/ 0 60000 65536"/>
                <a:gd name="T11" fmla="*/ 0 60000 65536"/>
                <a:gd name="T12" fmla="*/ 0 w 8"/>
                <a:gd name="T13" fmla="*/ 0 h 18"/>
                <a:gd name="T14" fmla="*/ 8 w 8"/>
                <a:gd name="T15" fmla="*/ 18 h 18"/>
              </a:gdLst>
              <a:ahLst/>
              <a:cxnLst>
                <a:cxn ang="T8">
                  <a:pos x="T0" y="T1"/>
                </a:cxn>
                <a:cxn ang="T9">
                  <a:pos x="T2" y="T3"/>
                </a:cxn>
                <a:cxn ang="T10">
                  <a:pos x="T4" y="T5"/>
                </a:cxn>
                <a:cxn ang="T11">
                  <a:pos x="T6" y="T7"/>
                </a:cxn>
              </a:cxnLst>
              <a:rect l="T12" t="T13" r="T14" b="T15"/>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68" name="Freeform 145"/>
            <p:cNvSpPr>
              <a:spLocks/>
            </p:cNvSpPr>
            <p:nvPr/>
          </p:nvSpPr>
          <p:spPr bwMode="auto">
            <a:xfrm>
              <a:off x="3968" y="2532"/>
              <a:ext cx="2" cy="7"/>
            </a:xfrm>
            <a:custGeom>
              <a:avLst/>
              <a:gdLst>
                <a:gd name="T0" fmla="*/ 0 w 6"/>
                <a:gd name="T1" fmla="*/ 0 h 19"/>
                <a:gd name="T2" fmla="*/ 0 w 6"/>
                <a:gd name="T3" fmla="*/ 1 h 19"/>
                <a:gd name="T4" fmla="*/ 0 w 6"/>
                <a:gd name="T5" fmla="*/ 1 h 19"/>
                <a:gd name="T6" fmla="*/ 0 60000 65536"/>
                <a:gd name="T7" fmla="*/ 0 60000 65536"/>
                <a:gd name="T8" fmla="*/ 0 60000 65536"/>
                <a:gd name="T9" fmla="*/ 0 w 6"/>
                <a:gd name="T10" fmla="*/ 0 h 19"/>
                <a:gd name="T11" fmla="*/ 6 w 6"/>
                <a:gd name="T12" fmla="*/ 19 h 19"/>
              </a:gdLst>
              <a:ahLst/>
              <a:cxnLst>
                <a:cxn ang="T6">
                  <a:pos x="T0" y="T1"/>
                </a:cxn>
                <a:cxn ang="T7">
                  <a:pos x="T2" y="T3"/>
                </a:cxn>
                <a:cxn ang="T8">
                  <a:pos x="T4" y="T5"/>
                </a:cxn>
              </a:cxnLst>
              <a:rect l="T9" t="T10" r="T11" b="T12"/>
              <a:pathLst>
                <a:path w="6" h="19">
                  <a:moveTo>
                    <a:pt x="0" y="0"/>
                  </a:moveTo>
                  <a:lnTo>
                    <a:pt x="0" y="19"/>
                  </a:lnTo>
                  <a:lnTo>
                    <a:pt x="6" y="13"/>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69" name="Freeform 146"/>
            <p:cNvSpPr>
              <a:spLocks/>
            </p:cNvSpPr>
            <p:nvPr/>
          </p:nvSpPr>
          <p:spPr bwMode="auto">
            <a:xfrm>
              <a:off x="3965" y="2513"/>
              <a:ext cx="10" cy="5"/>
            </a:xfrm>
            <a:custGeom>
              <a:avLst/>
              <a:gdLst>
                <a:gd name="T0" fmla="*/ 0 w 28"/>
                <a:gd name="T1" fmla="*/ 0 h 19"/>
                <a:gd name="T2" fmla="*/ 0 w 28"/>
                <a:gd name="T3" fmla="*/ 0 h 19"/>
                <a:gd name="T4" fmla="*/ 1 w 28"/>
                <a:gd name="T5" fmla="*/ 0 h 19"/>
                <a:gd name="T6" fmla="*/ 0 60000 65536"/>
                <a:gd name="T7" fmla="*/ 0 60000 65536"/>
                <a:gd name="T8" fmla="*/ 0 60000 65536"/>
                <a:gd name="T9" fmla="*/ 0 w 28"/>
                <a:gd name="T10" fmla="*/ 0 h 19"/>
                <a:gd name="T11" fmla="*/ 28 w 28"/>
                <a:gd name="T12" fmla="*/ 19 h 19"/>
              </a:gdLst>
              <a:ahLst/>
              <a:cxnLst>
                <a:cxn ang="T6">
                  <a:pos x="T0" y="T1"/>
                </a:cxn>
                <a:cxn ang="T7">
                  <a:pos x="T2" y="T3"/>
                </a:cxn>
                <a:cxn ang="T8">
                  <a:pos x="T4" y="T5"/>
                </a:cxn>
              </a:cxnLst>
              <a:rect l="T9" t="T10" r="T11" b="T12"/>
              <a:pathLst>
                <a:path w="28" h="19">
                  <a:moveTo>
                    <a:pt x="0" y="0"/>
                  </a:moveTo>
                  <a:lnTo>
                    <a:pt x="0" y="19"/>
                  </a:lnTo>
                  <a:lnTo>
                    <a:pt x="28" y="19"/>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70" name="Freeform 147"/>
            <p:cNvSpPr>
              <a:spLocks/>
            </p:cNvSpPr>
            <p:nvPr/>
          </p:nvSpPr>
          <p:spPr bwMode="auto">
            <a:xfrm>
              <a:off x="3970" y="2513"/>
              <a:ext cx="5" cy="5"/>
            </a:xfrm>
            <a:custGeom>
              <a:avLst/>
              <a:gdLst>
                <a:gd name="T0" fmla="*/ 1 w 15"/>
                <a:gd name="T1" fmla="*/ 0 h 19"/>
                <a:gd name="T2" fmla="*/ 0 w 15"/>
                <a:gd name="T3" fmla="*/ 0 h 19"/>
                <a:gd name="T4" fmla="*/ 0 w 15"/>
                <a:gd name="T5" fmla="*/ 0 h 19"/>
                <a:gd name="T6" fmla="*/ 0 60000 65536"/>
                <a:gd name="T7" fmla="*/ 0 60000 65536"/>
                <a:gd name="T8" fmla="*/ 0 60000 65536"/>
                <a:gd name="T9" fmla="*/ 0 w 15"/>
                <a:gd name="T10" fmla="*/ 0 h 19"/>
                <a:gd name="T11" fmla="*/ 15 w 15"/>
                <a:gd name="T12" fmla="*/ 19 h 19"/>
              </a:gdLst>
              <a:ahLst/>
              <a:cxnLst>
                <a:cxn ang="T6">
                  <a:pos x="T0" y="T1"/>
                </a:cxn>
                <a:cxn ang="T7">
                  <a:pos x="T2" y="T3"/>
                </a:cxn>
                <a:cxn ang="T8">
                  <a:pos x="T4" y="T5"/>
                </a:cxn>
              </a:cxnLst>
              <a:rect l="T9" t="T10" r="T11" b="T12"/>
              <a:pathLst>
                <a:path w="15" h="19">
                  <a:moveTo>
                    <a:pt x="15" y="19"/>
                  </a:moveTo>
                  <a:lnTo>
                    <a:pt x="8" y="9"/>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71" name="Freeform 148"/>
            <p:cNvSpPr>
              <a:spLocks/>
            </p:cNvSpPr>
            <p:nvPr/>
          </p:nvSpPr>
          <p:spPr bwMode="auto">
            <a:xfrm>
              <a:off x="3950" y="2430"/>
              <a:ext cx="7" cy="6"/>
            </a:xfrm>
            <a:custGeom>
              <a:avLst/>
              <a:gdLst>
                <a:gd name="T0" fmla="*/ 1 w 20"/>
                <a:gd name="T1" fmla="*/ 1 h 18"/>
                <a:gd name="T2" fmla="*/ 1 w 20"/>
                <a:gd name="T3" fmla="*/ 0 h 18"/>
                <a:gd name="T4" fmla="*/ 0 w 20"/>
                <a:gd name="T5" fmla="*/ 0 h 18"/>
                <a:gd name="T6" fmla="*/ 1 w 20"/>
                <a:gd name="T7" fmla="*/ 1 h 18"/>
                <a:gd name="T8" fmla="*/ 0 60000 65536"/>
                <a:gd name="T9" fmla="*/ 0 60000 65536"/>
                <a:gd name="T10" fmla="*/ 0 60000 65536"/>
                <a:gd name="T11" fmla="*/ 0 60000 65536"/>
                <a:gd name="T12" fmla="*/ 0 w 20"/>
                <a:gd name="T13" fmla="*/ 0 h 18"/>
                <a:gd name="T14" fmla="*/ 20 w 20"/>
                <a:gd name="T15" fmla="*/ 18 h 18"/>
              </a:gdLst>
              <a:ahLst/>
              <a:cxnLst>
                <a:cxn ang="T8">
                  <a:pos x="T0" y="T1"/>
                </a:cxn>
                <a:cxn ang="T9">
                  <a:pos x="T2" y="T3"/>
                </a:cxn>
                <a:cxn ang="T10">
                  <a:pos x="T4" y="T5"/>
                </a:cxn>
                <a:cxn ang="T11">
                  <a:pos x="T6" y="T7"/>
                </a:cxn>
              </a:cxnLst>
              <a:rect l="T12" t="T13" r="T14" b="T15"/>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grpSp>
        <p:nvGrpSpPr>
          <p:cNvPr id="2138" name="Group 149"/>
          <p:cNvGrpSpPr>
            <a:grpSpLocks/>
          </p:cNvGrpSpPr>
          <p:nvPr>
            <p:custDataLst>
              <p:tags r:id="rId89"/>
            </p:custDataLst>
          </p:nvPr>
        </p:nvGrpSpPr>
        <p:grpSpPr bwMode="auto">
          <a:xfrm>
            <a:off x="10494433" y="3810000"/>
            <a:ext cx="247651" cy="214313"/>
            <a:chOff x="5486" y="2743"/>
            <a:chExt cx="137" cy="132"/>
          </a:xfrm>
          <a:solidFill>
            <a:schemeClr val="accent5">
              <a:lumMod val="75000"/>
            </a:schemeClr>
          </a:solidFill>
        </p:grpSpPr>
        <p:sp>
          <p:nvSpPr>
            <p:cNvPr id="2532" name="Freeform 150"/>
            <p:cNvSpPr>
              <a:spLocks/>
            </p:cNvSpPr>
            <p:nvPr/>
          </p:nvSpPr>
          <p:spPr bwMode="auto">
            <a:xfrm>
              <a:off x="5595" y="2806"/>
              <a:ext cx="13" cy="28"/>
            </a:xfrm>
            <a:custGeom>
              <a:avLst/>
              <a:gdLst>
                <a:gd name="T0" fmla="*/ 0 w 40"/>
                <a:gd name="T1" fmla="*/ 1 h 87"/>
                <a:gd name="T2" fmla="*/ 0 w 40"/>
                <a:gd name="T3" fmla="*/ 2 h 87"/>
                <a:gd name="T4" fmla="*/ 0 w 40"/>
                <a:gd name="T5" fmla="*/ 2 h 87"/>
                <a:gd name="T6" fmla="*/ 0 w 40"/>
                <a:gd name="T7" fmla="*/ 2 h 87"/>
                <a:gd name="T8" fmla="*/ 0 w 40"/>
                <a:gd name="T9" fmla="*/ 2 h 87"/>
                <a:gd name="T10" fmla="*/ 1 w 40"/>
                <a:gd name="T11" fmla="*/ 2 h 87"/>
                <a:gd name="T12" fmla="*/ 1 w 40"/>
                <a:gd name="T13" fmla="*/ 3 h 87"/>
                <a:gd name="T14" fmla="*/ 1 w 40"/>
                <a:gd name="T15" fmla="*/ 3 h 87"/>
                <a:gd name="T16" fmla="*/ 1 w 40"/>
                <a:gd name="T17" fmla="*/ 3 h 87"/>
                <a:gd name="T18" fmla="*/ 1 w 40"/>
                <a:gd name="T19" fmla="*/ 3 h 87"/>
                <a:gd name="T20" fmla="*/ 1 w 40"/>
                <a:gd name="T21" fmla="*/ 3 h 87"/>
                <a:gd name="T22" fmla="*/ 1 w 40"/>
                <a:gd name="T23" fmla="*/ 2 h 87"/>
                <a:gd name="T24" fmla="*/ 1 w 40"/>
                <a:gd name="T25" fmla="*/ 2 h 87"/>
                <a:gd name="T26" fmla="*/ 1 w 40"/>
                <a:gd name="T27" fmla="*/ 2 h 87"/>
                <a:gd name="T28" fmla="*/ 1 w 40"/>
                <a:gd name="T29" fmla="*/ 1 h 87"/>
                <a:gd name="T30" fmla="*/ 1 w 40"/>
                <a:gd name="T31" fmla="*/ 1 h 87"/>
                <a:gd name="T32" fmla="*/ 0 w 40"/>
                <a:gd name="T33" fmla="*/ 1 h 87"/>
                <a:gd name="T34" fmla="*/ 0 w 40"/>
                <a:gd name="T35" fmla="*/ 0 h 87"/>
                <a:gd name="T36" fmla="*/ 0 w 40"/>
                <a:gd name="T37" fmla="*/ 0 h 87"/>
                <a:gd name="T38" fmla="*/ 0 w 40"/>
                <a:gd name="T39" fmla="*/ 0 h 87"/>
                <a:gd name="T40" fmla="*/ 0 w 40"/>
                <a:gd name="T41" fmla="*/ 0 h 87"/>
                <a:gd name="T42" fmla="*/ 0 w 40"/>
                <a:gd name="T43" fmla="*/ 0 h 87"/>
                <a:gd name="T44" fmla="*/ 0 w 40"/>
                <a:gd name="T45" fmla="*/ 1 h 87"/>
                <a:gd name="T46" fmla="*/ 0 w 40"/>
                <a:gd name="T47" fmla="*/ 1 h 87"/>
                <a:gd name="T48" fmla="*/ 0 w 40"/>
                <a:gd name="T49" fmla="*/ 1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0"/>
                <a:gd name="T76" fmla="*/ 0 h 87"/>
                <a:gd name="T77" fmla="*/ 40 w 40"/>
                <a:gd name="T78" fmla="*/ 87 h 8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33" name="Freeform 151"/>
            <p:cNvSpPr>
              <a:spLocks/>
            </p:cNvSpPr>
            <p:nvPr/>
          </p:nvSpPr>
          <p:spPr bwMode="auto">
            <a:xfrm>
              <a:off x="5603" y="2842"/>
              <a:ext cx="20" cy="12"/>
            </a:xfrm>
            <a:custGeom>
              <a:avLst/>
              <a:gdLst>
                <a:gd name="T0" fmla="*/ 0 w 61"/>
                <a:gd name="T1" fmla="*/ 1 h 37"/>
                <a:gd name="T2" fmla="*/ 1 w 61"/>
                <a:gd name="T3" fmla="*/ 1 h 37"/>
                <a:gd name="T4" fmla="*/ 1 w 61"/>
                <a:gd name="T5" fmla="*/ 1 h 37"/>
                <a:gd name="T6" fmla="*/ 2 w 61"/>
                <a:gd name="T7" fmla="*/ 1 h 37"/>
                <a:gd name="T8" fmla="*/ 2 w 61"/>
                <a:gd name="T9" fmla="*/ 1 h 37"/>
                <a:gd name="T10" fmla="*/ 2 w 61"/>
                <a:gd name="T11" fmla="*/ 1 h 37"/>
                <a:gd name="T12" fmla="*/ 2 w 61"/>
                <a:gd name="T13" fmla="*/ 1 h 37"/>
                <a:gd name="T14" fmla="*/ 2 w 61"/>
                <a:gd name="T15" fmla="*/ 1 h 37"/>
                <a:gd name="T16" fmla="*/ 1 w 61"/>
                <a:gd name="T17" fmla="*/ 0 h 37"/>
                <a:gd name="T18" fmla="*/ 1 w 61"/>
                <a:gd name="T19" fmla="*/ 0 h 37"/>
                <a:gd name="T20" fmla="*/ 1 w 61"/>
                <a:gd name="T21" fmla="*/ 0 h 37"/>
                <a:gd name="T22" fmla="*/ 0 w 61"/>
                <a:gd name="T23" fmla="*/ 0 h 37"/>
                <a:gd name="T24" fmla="*/ 0 w 61"/>
                <a:gd name="T25" fmla="*/ 0 h 37"/>
                <a:gd name="T26" fmla="*/ 0 w 61"/>
                <a:gd name="T27" fmla="*/ 1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37"/>
                <a:gd name="T44" fmla="*/ 61 w 61"/>
                <a:gd name="T45" fmla="*/ 37 h 3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34" name="Freeform 152"/>
            <p:cNvSpPr>
              <a:spLocks/>
            </p:cNvSpPr>
            <p:nvPr/>
          </p:nvSpPr>
          <p:spPr bwMode="auto">
            <a:xfrm>
              <a:off x="5568" y="2865"/>
              <a:ext cx="13" cy="10"/>
            </a:xfrm>
            <a:custGeom>
              <a:avLst/>
              <a:gdLst>
                <a:gd name="T0" fmla="*/ 1 w 40"/>
                <a:gd name="T1" fmla="*/ 1 h 30"/>
                <a:gd name="T2" fmla="*/ 1 w 40"/>
                <a:gd name="T3" fmla="*/ 1 h 30"/>
                <a:gd name="T4" fmla="*/ 1 w 40"/>
                <a:gd name="T5" fmla="*/ 1 h 30"/>
                <a:gd name="T6" fmla="*/ 1 w 40"/>
                <a:gd name="T7" fmla="*/ 1 h 30"/>
                <a:gd name="T8" fmla="*/ 1 w 40"/>
                <a:gd name="T9" fmla="*/ 1 h 30"/>
                <a:gd name="T10" fmla="*/ 0 w 40"/>
                <a:gd name="T11" fmla="*/ 1 h 30"/>
                <a:gd name="T12" fmla="*/ 0 w 40"/>
                <a:gd name="T13" fmla="*/ 0 h 30"/>
                <a:gd name="T14" fmla="*/ 0 w 40"/>
                <a:gd name="T15" fmla="*/ 0 h 30"/>
                <a:gd name="T16" fmla="*/ 0 w 40"/>
                <a:gd name="T17" fmla="*/ 0 h 30"/>
                <a:gd name="T18" fmla="*/ 0 w 40"/>
                <a:gd name="T19" fmla="*/ 0 h 30"/>
                <a:gd name="T20" fmla="*/ 1 w 40"/>
                <a:gd name="T21" fmla="*/ 0 h 30"/>
                <a:gd name="T22" fmla="*/ 1 w 40"/>
                <a:gd name="T23" fmla="*/ 0 h 30"/>
                <a:gd name="T24" fmla="*/ 1 w 40"/>
                <a:gd name="T25" fmla="*/ 1 h 30"/>
                <a:gd name="T26" fmla="*/ 1 w 40"/>
                <a:gd name="T27" fmla="*/ 1 h 30"/>
                <a:gd name="T28" fmla="*/ 1 w 40"/>
                <a:gd name="T29" fmla="*/ 1 h 30"/>
                <a:gd name="T30" fmla="*/ 1 w 40"/>
                <a:gd name="T31" fmla="*/ 1 h 30"/>
                <a:gd name="T32" fmla="*/ 1 w 40"/>
                <a:gd name="T33" fmla="*/ 1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30"/>
                <a:gd name="T53" fmla="*/ 40 w 40"/>
                <a:gd name="T54" fmla="*/ 30 h 3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35" name="Freeform 153"/>
            <p:cNvSpPr>
              <a:spLocks/>
            </p:cNvSpPr>
            <p:nvPr/>
          </p:nvSpPr>
          <p:spPr bwMode="auto">
            <a:xfrm>
              <a:off x="5515" y="2789"/>
              <a:ext cx="24" cy="26"/>
            </a:xfrm>
            <a:custGeom>
              <a:avLst/>
              <a:gdLst>
                <a:gd name="T0" fmla="*/ 3 w 74"/>
                <a:gd name="T1" fmla="*/ 3 h 80"/>
                <a:gd name="T2" fmla="*/ 2 w 74"/>
                <a:gd name="T3" fmla="*/ 3 h 80"/>
                <a:gd name="T4" fmla="*/ 2 w 74"/>
                <a:gd name="T5" fmla="*/ 2 h 80"/>
                <a:gd name="T6" fmla="*/ 2 w 74"/>
                <a:gd name="T7" fmla="*/ 2 h 80"/>
                <a:gd name="T8" fmla="*/ 2 w 74"/>
                <a:gd name="T9" fmla="*/ 2 h 80"/>
                <a:gd name="T10" fmla="*/ 2 w 74"/>
                <a:gd name="T11" fmla="*/ 2 h 80"/>
                <a:gd name="T12" fmla="*/ 2 w 74"/>
                <a:gd name="T13" fmla="*/ 1 h 80"/>
                <a:gd name="T14" fmla="*/ 1 w 74"/>
                <a:gd name="T15" fmla="*/ 1 h 80"/>
                <a:gd name="T16" fmla="*/ 1 w 74"/>
                <a:gd name="T17" fmla="*/ 1 h 80"/>
                <a:gd name="T18" fmla="*/ 1 w 74"/>
                <a:gd name="T19" fmla="*/ 0 h 80"/>
                <a:gd name="T20" fmla="*/ 0 w 74"/>
                <a:gd name="T21" fmla="*/ 0 h 80"/>
                <a:gd name="T22" fmla="*/ 0 w 74"/>
                <a:gd name="T23" fmla="*/ 0 h 80"/>
                <a:gd name="T24" fmla="*/ 0 w 74"/>
                <a:gd name="T25" fmla="*/ 0 h 80"/>
                <a:gd name="T26" fmla="*/ 0 w 74"/>
                <a:gd name="T27" fmla="*/ 1 h 80"/>
                <a:gd name="T28" fmla="*/ 0 w 74"/>
                <a:gd name="T29" fmla="*/ 1 h 80"/>
                <a:gd name="T30" fmla="*/ 0 w 74"/>
                <a:gd name="T31" fmla="*/ 1 h 80"/>
                <a:gd name="T32" fmla="*/ 0 w 74"/>
                <a:gd name="T33" fmla="*/ 1 h 80"/>
                <a:gd name="T34" fmla="*/ 0 w 74"/>
                <a:gd name="T35" fmla="*/ 1 h 80"/>
                <a:gd name="T36" fmla="*/ 0 w 74"/>
                <a:gd name="T37" fmla="*/ 1 h 80"/>
                <a:gd name="T38" fmla="*/ 0 w 74"/>
                <a:gd name="T39" fmla="*/ 2 h 80"/>
                <a:gd name="T40" fmla="*/ 1 w 74"/>
                <a:gd name="T41" fmla="*/ 2 h 80"/>
                <a:gd name="T42" fmla="*/ 1 w 74"/>
                <a:gd name="T43" fmla="*/ 2 h 80"/>
                <a:gd name="T44" fmla="*/ 1 w 74"/>
                <a:gd name="T45" fmla="*/ 2 h 80"/>
                <a:gd name="T46" fmla="*/ 1 w 74"/>
                <a:gd name="T47" fmla="*/ 2 h 80"/>
                <a:gd name="T48" fmla="*/ 1 w 74"/>
                <a:gd name="T49" fmla="*/ 2 h 80"/>
                <a:gd name="T50" fmla="*/ 2 w 74"/>
                <a:gd name="T51" fmla="*/ 2 h 80"/>
                <a:gd name="T52" fmla="*/ 2 w 74"/>
                <a:gd name="T53" fmla="*/ 3 h 80"/>
                <a:gd name="T54" fmla="*/ 2 w 74"/>
                <a:gd name="T55" fmla="*/ 3 h 80"/>
                <a:gd name="T56" fmla="*/ 2 w 74"/>
                <a:gd name="T57" fmla="*/ 3 h 80"/>
                <a:gd name="T58" fmla="*/ 2 w 74"/>
                <a:gd name="T59" fmla="*/ 3 h 80"/>
                <a:gd name="T60" fmla="*/ 3 w 74"/>
                <a:gd name="T61" fmla="*/ 3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4"/>
                <a:gd name="T94" fmla="*/ 0 h 80"/>
                <a:gd name="T95" fmla="*/ 74 w 74"/>
                <a:gd name="T96" fmla="*/ 80 h 8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36" name="Freeform 154"/>
            <p:cNvSpPr>
              <a:spLocks/>
            </p:cNvSpPr>
            <p:nvPr/>
          </p:nvSpPr>
          <p:spPr bwMode="auto">
            <a:xfrm>
              <a:off x="5555" y="2785"/>
              <a:ext cx="26" cy="27"/>
            </a:xfrm>
            <a:custGeom>
              <a:avLst/>
              <a:gdLst>
                <a:gd name="T0" fmla="*/ 2 w 86"/>
                <a:gd name="T1" fmla="*/ 3 h 80"/>
                <a:gd name="T2" fmla="*/ 2 w 86"/>
                <a:gd name="T3" fmla="*/ 3 h 80"/>
                <a:gd name="T4" fmla="*/ 2 w 86"/>
                <a:gd name="T5" fmla="*/ 2 h 80"/>
                <a:gd name="T6" fmla="*/ 2 w 86"/>
                <a:gd name="T7" fmla="*/ 2 h 80"/>
                <a:gd name="T8" fmla="*/ 2 w 86"/>
                <a:gd name="T9" fmla="*/ 2 h 80"/>
                <a:gd name="T10" fmla="*/ 2 w 86"/>
                <a:gd name="T11" fmla="*/ 2 h 80"/>
                <a:gd name="T12" fmla="*/ 2 w 86"/>
                <a:gd name="T13" fmla="*/ 2 h 80"/>
                <a:gd name="T14" fmla="*/ 2 w 86"/>
                <a:gd name="T15" fmla="*/ 2 h 80"/>
                <a:gd name="T16" fmla="*/ 1 w 86"/>
                <a:gd name="T17" fmla="*/ 1 h 80"/>
                <a:gd name="T18" fmla="*/ 1 w 86"/>
                <a:gd name="T19" fmla="*/ 1 h 80"/>
                <a:gd name="T20" fmla="*/ 1 w 86"/>
                <a:gd name="T21" fmla="*/ 1 h 80"/>
                <a:gd name="T22" fmla="*/ 0 w 86"/>
                <a:gd name="T23" fmla="*/ 0 h 80"/>
                <a:gd name="T24" fmla="*/ 0 w 86"/>
                <a:gd name="T25" fmla="*/ 0 h 80"/>
                <a:gd name="T26" fmla="*/ 0 w 86"/>
                <a:gd name="T27" fmla="*/ 0 h 80"/>
                <a:gd name="T28" fmla="*/ 0 w 86"/>
                <a:gd name="T29" fmla="*/ 1 h 80"/>
                <a:gd name="T30" fmla="*/ 0 w 86"/>
                <a:gd name="T31" fmla="*/ 1 h 80"/>
                <a:gd name="T32" fmla="*/ 1 w 86"/>
                <a:gd name="T33" fmla="*/ 2 h 80"/>
                <a:gd name="T34" fmla="*/ 1 w 86"/>
                <a:gd name="T35" fmla="*/ 2 h 80"/>
                <a:gd name="T36" fmla="*/ 1 w 86"/>
                <a:gd name="T37" fmla="*/ 3 h 80"/>
                <a:gd name="T38" fmla="*/ 1 w 86"/>
                <a:gd name="T39" fmla="*/ 3 h 80"/>
                <a:gd name="T40" fmla="*/ 1 w 86"/>
                <a:gd name="T41" fmla="*/ 3 h 80"/>
                <a:gd name="T42" fmla="*/ 2 w 86"/>
                <a:gd name="T43" fmla="*/ 3 h 80"/>
                <a:gd name="T44" fmla="*/ 2 w 86"/>
                <a:gd name="T45" fmla="*/ 3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6"/>
                <a:gd name="T70" fmla="*/ 0 h 80"/>
                <a:gd name="T71" fmla="*/ 86 w 86"/>
                <a:gd name="T72" fmla="*/ 80 h 8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37" name="Freeform 155"/>
            <p:cNvSpPr>
              <a:spLocks/>
            </p:cNvSpPr>
            <p:nvPr/>
          </p:nvSpPr>
          <p:spPr bwMode="auto">
            <a:xfrm>
              <a:off x="5570" y="2825"/>
              <a:ext cx="25" cy="11"/>
            </a:xfrm>
            <a:custGeom>
              <a:avLst/>
              <a:gdLst>
                <a:gd name="T0" fmla="*/ 0 w 74"/>
                <a:gd name="T1" fmla="*/ 0 h 31"/>
                <a:gd name="T2" fmla="*/ 0 w 74"/>
                <a:gd name="T3" fmla="*/ 0 h 31"/>
                <a:gd name="T4" fmla="*/ 0 w 74"/>
                <a:gd name="T5" fmla="*/ 1 h 31"/>
                <a:gd name="T6" fmla="*/ 0 w 74"/>
                <a:gd name="T7" fmla="*/ 1 h 31"/>
                <a:gd name="T8" fmla="*/ 1 w 74"/>
                <a:gd name="T9" fmla="*/ 1 h 31"/>
                <a:gd name="T10" fmla="*/ 1 w 74"/>
                <a:gd name="T11" fmla="*/ 1 h 31"/>
                <a:gd name="T12" fmla="*/ 1 w 74"/>
                <a:gd name="T13" fmla="*/ 1 h 31"/>
                <a:gd name="T14" fmla="*/ 1 w 74"/>
                <a:gd name="T15" fmla="*/ 1 h 31"/>
                <a:gd name="T16" fmla="*/ 1 w 74"/>
                <a:gd name="T17" fmla="*/ 1 h 31"/>
                <a:gd name="T18" fmla="*/ 2 w 74"/>
                <a:gd name="T19" fmla="*/ 1 h 31"/>
                <a:gd name="T20" fmla="*/ 2 w 74"/>
                <a:gd name="T21" fmla="*/ 1 h 31"/>
                <a:gd name="T22" fmla="*/ 2 w 74"/>
                <a:gd name="T23" fmla="*/ 1 h 31"/>
                <a:gd name="T24" fmla="*/ 3 w 74"/>
                <a:gd name="T25" fmla="*/ 1 h 31"/>
                <a:gd name="T26" fmla="*/ 3 w 74"/>
                <a:gd name="T27" fmla="*/ 1 h 31"/>
                <a:gd name="T28" fmla="*/ 3 w 74"/>
                <a:gd name="T29" fmla="*/ 1 h 31"/>
                <a:gd name="T30" fmla="*/ 2 w 74"/>
                <a:gd name="T31" fmla="*/ 1 h 31"/>
                <a:gd name="T32" fmla="*/ 2 w 74"/>
                <a:gd name="T33" fmla="*/ 1 h 31"/>
                <a:gd name="T34" fmla="*/ 2 w 74"/>
                <a:gd name="T35" fmla="*/ 0 h 31"/>
                <a:gd name="T36" fmla="*/ 2 w 74"/>
                <a:gd name="T37" fmla="*/ 0 h 31"/>
                <a:gd name="T38" fmla="*/ 2 w 74"/>
                <a:gd name="T39" fmla="*/ 0 h 31"/>
                <a:gd name="T40" fmla="*/ 2 w 74"/>
                <a:gd name="T41" fmla="*/ 0 h 31"/>
                <a:gd name="T42" fmla="*/ 1 w 74"/>
                <a:gd name="T43" fmla="*/ 0 h 31"/>
                <a:gd name="T44" fmla="*/ 1 w 74"/>
                <a:gd name="T45" fmla="*/ 0 h 31"/>
                <a:gd name="T46" fmla="*/ 1 w 74"/>
                <a:gd name="T47" fmla="*/ 0 h 31"/>
                <a:gd name="T48" fmla="*/ 1 w 74"/>
                <a:gd name="T49" fmla="*/ 0 h 31"/>
                <a:gd name="T50" fmla="*/ 1 w 74"/>
                <a:gd name="T51" fmla="*/ 0 h 31"/>
                <a:gd name="T52" fmla="*/ 0 w 74"/>
                <a:gd name="T53" fmla="*/ 0 h 31"/>
                <a:gd name="T54" fmla="*/ 0 w 74"/>
                <a:gd name="T55" fmla="*/ 0 h 31"/>
                <a:gd name="T56" fmla="*/ 0 w 74"/>
                <a:gd name="T57" fmla="*/ 0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38" name="Freeform 156"/>
            <p:cNvSpPr>
              <a:spLocks/>
            </p:cNvSpPr>
            <p:nvPr/>
          </p:nvSpPr>
          <p:spPr bwMode="auto">
            <a:xfrm>
              <a:off x="5562" y="2819"/>
              <a:ext cx="6" cy="1"/>
            </a:xfrm>
            <a:custGeom>
              <a:avLst/>
              <a:gdLst>
                <a:gd name="T0" fmla="*/ 1 w 20"/>
                <a:gd name="T1" fmla="*/ 0 h 1"/>
                <a:gd name="T2" fmla="*/ 0 w 20"/>
                <a:gd name="T3" fmla="*/ 0 h 1"/>
                <a:gd name="T4" fmla="*/ 0 w 20"/>
                <a:gd name="T5" fmla="*/ 0 h 1"/>
                <a:gd name="T6" fmla="*/ 1 w 20"/>
                <a:gd name="T7" fmla="*/ 0 h 1"/>
                <a:gd name="T8" fmla="*/ 0 60000 65536"/>
                <a:gd name="T9" fmla="*/ 0 60000 65536"/>
                <a:gd name="T10" fmla="*/ 0 60000 65536"/>
                <a:gd name="T11" fmla="*/ 0 60000 65536"/>
                <a:gd name="T12" fmla="*/ 0 w 20"/>
                <a:gd name="T13" fmla="*/ 0 h 1"/>
                <a:gd name="T14" fmla="*/ 20 w 20"/>
                <a:gd name="T15" fmla="*/ 1 h 1"/>
              </a:gdLst>
              <a:ahLst/>
              <a:cxnLst>
                <a:cxn ang="T8">
                  <a:pos x="T0" y="T1"/>
                </a:cxn>
                <a:cxn ang="T9">
                  <a:pos x="T2" y="T3"/>
                </a:cxn>
                <a:cxn ang="T10">
                  <a:pos x="T4" y="T5"/>
                </a:cxn>
                <a:cxn ang="T11">
                  <a:pos x="T6" y="T7"/>
                </a:cxn>
              </a:cxnLst>
              <a:rect l="T12" t="T13" r="T14" b="T15"/>
              <a:pathLst>
                <a:path w="20" h="1">
                  <a:moveTo>
                    <a:pt x="20" y="0"/>
                  </a:moveTo>
                  <a:lnTo>
                    <a:pt x="0" y="0"/>
                  </a:lnTo>
                  <a:lnTo>
                    <a:pt x="10" y="0"/>
                  </a:lnTo>
                  <a:lnTo>
                    <a:pt x="2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39" name="Freeform 157"/>
            <p:cNvSpPr>
              <a:spLocks/>
            </p:cNvSpPr>
            <p:nvPr/>
          </p:nvSpPr>
          <p:spPr bwMode="auto">
            <a:xfrm>
              <a:off x="5509" y="2769"/>
              <a:ext cx="32" cy="21"/>
            </a:xfrm>
            <a:custGeom>
              <a:avLst/>
              <a:gdLst>
                <a:gd name="T0" fmla="*/ 0 w 100"/>
                <a:gd name="T1" fmla="*/ 1 h 65"/>
                <a:gd name="T2" fmla="*/ 1 w 100"/>
                <a:gd name="T3" fmla="*/ 1 h 65"/>
                <a:gd name="T4" fmla="*/ 2 w 100"/>
                <a:gd name="T5" fmla="*/ 2 h 65"/>
                <a:gd name="T6" fmla="*/ 2 w 100"/>
                <a:gd name="T7" fmla="*/ 2 h 65"/>
                <a:gd name="T8" fmla="*/ 3 w 100"/>
                <a:gd name="T9" fmla="*/ 2 h 65"/>
                <a:gd name="T10" fmla="*/ 3 w 100"/>
                <a:gd name="T11" fmla="*/ 2 h 65"/>
                <a:gd name="T12" fmla="*/ 3 w 100"/>
                <a:gd name="T13" fmla="*/ 2 h 65"/>
                <a:gd name="T14" fmla="*/ 3 w 100"/>
                <a:gd name="T15" fmla="*/ 2 h 65"/>
                <a:gd name="T16" fmla="*/ 3 w 100"/>
                <a:gd name="T17" fmla="*/ 2 h 65"/>
                <a:gd name="T18" fmla="*/ 3 w 100"/>
                <a:gd name="T19" fmla="*/ 2 h 65"/>
                <a:gd name="T20" fmla="*/ 3 w 100"/>
                <a:gd name="T21" fmla="*/ 2 h 65"/>
                <a:gd name="T22" fmla="*/ 3 w 100"/>
                <a:gd name="T23" fmla="*/ 2 h 65"/>
                <a:gd name="T24" fmla="*/ 3 w 100"/>
                <a:gd name="T25" fmla="*/ 2 h 65"/>
                <a:gd name="T26" fmla="*/ 2 w 100"/>
                <a:gd name="T27" fmla="*/ 1 h 65"/>
                <a:gd name="T28" fmla="*/ 2 w 100"/>
                <a:gd name="T29" fmla="*/ 1 h 65"/>
                <a:gd name="T30" fmla="*/ 2 w 100"/>
                <a:gd name="T31" fmla="*/ 1 h 65"/>
                <a:gd name="T32" fmla="*/ 2 w 100"/>
                <a:gd name="T33" fmla="*/ 0 h 65"/>
                <a:gd name="T34" fmla="*/ 1 w 100"/>
                <a:gd name="T35" fmla="*/ 0 h 65"/>
                <a:gd name="T36" fmla="*/ 1 w 100"/>
                <a:gd name="T37" fmla="*/ 0 h 65"/>
                <a:gd name="T38" fmla="*/ 1 w 100"/>
                <a:gd name="T39" fmla="*/ 0 h 65"/>
                <a:gd name="T40" fmla="*/ 1 w 100"/>
                <a:gd name="T41" fmla="*/ 0 h 65"/>
                <a:gd name="T42" fmla="*/ 0 w 100"/>
                <a:gd name="T43" fmla="*/ 0 h 65"/>
                <a:gd name="T44" fmla="*/ 0 w 100"/>
                <a:gd name="T45" fmla="*/ 0 h 65"/>
                <a:gd name="T46" fmla="*/ 0 w 100"/>
                <a:gd name="T47" fmla="*/ 1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0"/>
                <a:gd name="T73" fmla="*/ 0 h 65"/>
                <a:gd name="T74" fmla="*/ 100 w 100"/>
                <a:gd name="T75" fmla="*/ 65 h 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40" name="Freeform 158"/>
            <p:cNvSpPr>
              <a:spLocks/>
            </p:cNvSpPr>
            <p:nvPr/>
          </p:nvSpPr>
          <p:spPr bwMode="auto">
            <a:xfrm>
              <a:off x="5486" y="2743"/>
              <a:ext cx="24" cy="34"/>
            </a:xfrm>
            <a:custGeom>
              <a:avLst/>
              <a:gdLst>
                <a:gd name="T0" fmla="*/ 2 w 79"/>
                <a:gd name="T1" fmla="*/ 3 h 104"/>
                <a:gd name="T2" fmla="*/ 2 w 79"/>
                <a:gd name="T3" fmla="*/ 2 h 104"/>
                <a:gd name="T4" fmla="*/ 1 w 79"/>
                <a:gd name="T5" fmla="*/ 1 h 104"/>
                <a:gd name="T6" fmla="*/ 1 w 79"/>
                <a:gd name="T7" fmla="*/ 1 h 104"/>
                <a:gd name="T8" fmla="*/ 0 w 79"/>
                <a:gd name="T9" fmla="*/ 0 h 104"/>
                <a:gd name="T10" fmla="*/ 0 w 79"/>
                <a:gd name="T11" fmla="*/ 1 h 104"/>
                <a:gd name="T12" fmla="*/ 0 w 79"/>
                <a:gd name="T13" fmla="*/ 1 h 104"/>
                <a:gd name="T14" fmla="*/ 0 w 79"/>
                <a:gd name="T15" fmla="*/ 1 h 104"/>
                <a:gd name="T16" fmla="*/ 0 w 79"/>
                <a:gd name="T17" fmla="*/ 2 h 104"/>
                <a:gd name="T18" fmla="*/ 0 w 79"/>
                <a:gd name="T19" fmla="*/ 2 h 104"/>
                <a:gd name="T20" fmla="*/ 0 w 79"/>
                <a:gd name="T21" fmla="*/ 2 h 104"/>
                <a:gd name="T22" fmla="*/ 0 w 79"/>
                <a:gd name="T23" fmla="*/ 2 h 104"/>
                <a:gd name="T24" fmla="*/ 0 w 79"/>
                <a:gd name="T25" fmla="*/ 3 h 104"/>
                <a:gd name="T26" fmla="*/ 0 w 79"/>
                <a:gd name="T27" fmla="*/ 3 h 104"/>
                <a:gd name="T28" fmla="*/ 0 w 79"/>
                <a:gd name="T29" fmla="*/ 3 h 104"/>
                <a:gd name="T30" fmla="*/ 0 w 79"/>
                <a:gd name="T31" fmla="*/ 3 h 104"/>
                <a:gd name="T32" fmla="*/ 1 w 79"/>
                <a:gd name="T33" fmla="*/ 3 h 104"/>
                <a:gd name="T34" fmla="*/ 1 w 79"/>
                <a:gd name="T35" fmla="*/ 3 h 104"/>
                <a:gd name="T36" fmla="*/ 1 w 79"/>
                <a:gd name="T37" fmla="*/ 3 h 104"/>
                <a:gd name="T38" fmla="*/ 1 w 79"/>
                <a:gd name="T39" fmla="*/ 3 h 104"/>
                <a:gd name="T40" fmla="*/ 2 w 79"/>
                <a:gd name="T41" fmla="*/ 3 h 104"/>
                <a:gd name="T42" fmla="*/ 2 w 79"/>
                <a:gd name="T43" fmla="*/ 4 h 104"/>
                <a:gd name="T44" fmla="*/ 2 w 79"/>
                <a:gd name="T45" fmla="*/ 4 h 104"/>
                <a:gd name="T46" fmla="*/ 2 w 79"/>
                <a:gd name="T47" fmla="*/ 3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9"/>
                <a:gd name="T73" fmla="*/ 0 h 104"/>
                <a:gd name="T74" fmla="*/ 79 w 79"/>
                <a:gd name="T75" fmla="*/ 104 h 10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139" name="Freeform 159"/>
          <p:cNvSpPr>
            <a:spLocks/>
          </p:cNvSpPr>
          <p:nvPr>
            <p:custDataLst>
              <p:tags r:id="rId90"/>
            </p:custDataLst>
          </p:nvPr>
        </p:nvSpPr>
        <p:spPr bwMode="auto">
          <a:xfrm>
            <a:off x="5621872" y="3548063"/>
            <a:ext cx="14817" cy="55562"/>
          </a:xfrm>
          <a:custGeom>
            <a:avLst/>
            <a:gdLst>
              <a:gd name="T0" fmla="*/ 1882636334 w 27"/>
              <a:gd name="T1" fmla="*/ 0 h 19"/>
              <a:gd name="T2" fmla="*/ 1882636334 w 27"/>
              <a:gd name="T3" fmla="*/ 2147483647 h 19"/>
              <a:gd name="T4" fmla="*/ 1882636334 w 27"/>
              <a:gd name="T5" fmla="*/ 2147483647 h 19"/>
              <a:gd name="T6" fmla="*/ 627488988 w 27"/>
              <a:gd name="T7" fmla="*/ 2147483647 h 19"/>
              <a:gd name="T8" fmla="*/ 0 w 27"/>
              <a:gd name="T9" fmla="*/ 2147483647 h 19"/>
              <a:gd name="T10" fmla="*/ 627488988 w 27"/>
              <a:gd name="T11" fmla="*/ 2147483647 h 19"/>
              <a:gd name="T12" fmla="*/ 1882636334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40" name="Freeform 160"/>
          <p:cNvSpPr>
            <a:spLocks/>
          </p:cNvSpPr>
          <p:nvPr>
            <p:custDataLst>
              <p:tags r:id="rId91"/>
            </p:custDataLst>
          </p:nvPr>
        </p:nvSpPr>
        <p:spPr bwMode="auto">
          <a:xfrm>
            <a:off x="5520269" y="3687763"/>
            <a:ext cx="19051" cy="57150"/>
          </a:xfrm>
          <a:custGeom>
            <a:avLst/>
            <a:gdLst>
              <a:gd name="T0" fmla="*/ 0 w 39"/>
              <a:gd name="T1" fmla="*/ 0 h 35"/>
              <a:gd name="T2" fmla="*/ 1917719223 w 39"/>
              <a:gd name="T3" fmla="*/ 0 h 35"/>
              <a:gd name="T4" fmla="*/ 1770212899 w 39"/>
              <a:gd name="T5" fmla="*/ 2147483647 h 35"/>
              <a:gd name="T6" fmla="*/ 1622706576 w 39"/>
              <a:gd name="T7" fmla="*/ 2147483647 h 35"/>
              <a:gd name="T8" fmla="*/ 1327692830 w 39"/>
              <a:gd name="T9" fmla="*/ 2147483647 h 35"/>
              <a:gd name="T10" fmla="*/ 1081803773 w 39"/>
              <a:gd name="T11" fmla="*/ 2147483647 h 35"/>
              <a:gd name="T12" fmla="*/ 934297450 w 39"/>
              <a:gd name="T13" fmla="*/ 2147483647 h 35"/>
              <a:gd name="T14" fmla="*/ 786791126 w 39"/>
              <a:gd name="T15" fmla="*/ 2147483647 h 35"/>
              <a:gd name="T16" fmla="*/ 639284620 w 39"/>
              <a:gd name="T17" fmla="*/ 2147483647 h 35"/>
              <a:gd name="T18" fmla="*/ 540902253 w 39"/>
              <a:gd name="T19" fmla="*/ 2147483647 h 35"/>
              <a:gd name="T20" fmla="*/ 344271515 w 39"/>
              <a:gd name="T21" fmla="*/ 2147483647 h 35"/>
              <a:gd name="T22" fmla="*/ 245889148 w 39"/>
              <a:gd name="T23" fmla="*/ 2147483647 h 35"/>
              <a:gd name="T24" fmla="*/ 98382413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41" name="Freeform 161"/>
          <p:cNvSpPr>
            <a:spLocks/>
          </p:cNvSpPr>
          <p:nvPr>
            <p:custDataLst>
              <p:tags r:id="rId92"/>
            </p:custDataLst>
          </p:nvPr>
        </p:nvSpPr>
        <p:spPr bwMode="auto">
          <a:xfrm>
            <a:off x="7918452" y="2014545"/>
            <a:ext cx="971549" cy="331787"/>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1022611639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3218100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42" name="Freeform 162"/>
          <p:cNvSpPr>
            <a:spLocks/>
          </p:cNvSpPr>
          <p:nvPr>
            <p:custDataLst>
              <p:tags r:id="rId93"/>
            </p:custDataLst>
          </p:nvPr>
        </p:nvSpPr>
        <p:spPr bwMode="auto">
          <a:xfrm>
            <a:off x="3020484" y="3981451"/>
            <a:ext cx="438149" cy="415925"/>
          </a:xfrm>
          <a:custGeom>
            <a:avLst/>
            <a:gdLst>
              <a:gd name="T0" fmla="*/ 2118503656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429729523 h 795"/>
              <a:gd name="T112" fmla="*/ 2147483647 w 758"/>
              <a:gd name="T113" fmla="*/ 429729523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143" name="Freeform 163"/>
          <p:cNvSpPr>
            <a:spLocks/>
          </p:cNvSpPr>
          <p:nvPr>
            <p:custDataLst>
              <p:tags r:id="rId94"/>
            </p:custDataLst>
          </p:nvPr>
        </p:nvSpPr>
        <p:spPr bwMode="auto">
          <a:xfrm>
            <a:off x="3306238" y="3411538"/>
            <a:ext cx="158751" cy="215900"/>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1985578000 h 414"/>
              <a:gd name="T26" fmla="*/ 2147483647 w 273"/>
              <a:gd name="T27" fmla="*/ 708998964 h 414"/>
              <a:gd name="T28" fmla="*/ 2147483647 w 273"/>
              <a:gd name="T29" fmla="*/ 992652889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1410200295 w 273"/>
              <a:gd name="T45" fmla="*/ 2147483647 h 414"/>
              <a:gd name="T46" fmla="*/ 331912714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144" name="Group 164"/>
          <p:cNvGrpSpPr>
            <a:grpSpLocks/>
          </p:cNvGrpSpPr>
          <p:nvPr>
            <p:custDataLst>
              <p:tags r:id="rId95"/>
            </p:custDataLst>
          </p:nvPr>
        </p:nvGrpSpPr>
        <p:grpSpPr bwMode="auto">
          <a:xfrm>
            <a:off x="2925233" y="3246438"/>
            <a:ext cx="431800" cy="401637"/>
            <a:chOff x="1486" y="2412"/>
            <a:chExt cx="244" cy="256"/>
          </a:xfrm>
          <a:solidFill>
            <a:schemeClr val="accent5">
              <a:lumMod val="75000"/>
            </a:schemeClr>
          </a:solidFill>
        </p:grpSpPr>
        <p:sp>
          <p:nvSpPr>
            <p:cNvPr id="2528" name="Freeform 165"/>
            <p:cNvSpPr>
              <a:spLocks/>
            </p:cNvSpPr>
            <p:nvPr/>
          </p:nvSpPr>
          <p:spPr bwMode="auto">
            <a:xfrm>
              <a:off x="1639" y="2457"/>
              <a:ext cx="18" cy="7"/>
            </a:xfrm>
            <a:custGeom>
              <a:avLst/>
              <a:gdLst>
                <a:gd name="T0" fmla="*/ 0 w 54"/>
                <a:gd name="T1" fmla="*/ 0 h 22"/>
                <a:gd name="T2" fmla="*/ 0 w 54"/>
                <a:gd name="T3" fmla="*/ 1 h 22"/>
                <a:gd name="T4" fmla="*/ 0 w 54"/>
                <a:gd name="T5" fmla="*/ 1 h 22"/>
                <a:gd name="T6" fmla="*/ 0 w 54"/>
                <a:gd name="T7" fmla="*/ 1 h 22"/>
                <a:gd name="T8" fmla="*/ 1 w 54"/>
                <a:gd name="T9" fmla="*/ 1 h 22"/>
                <a:gd name="T10" fmla="*/ 1 w 54"/>
                <a:gd name="T11" fmla="*/ 1 h 22"/>
                <a:gd name="T12" fmla="*/ 1 w 54"/>
                <a:gd name="T13" fmla="*/ 1 h 22"/>
                <a:gd name="T14" fmla="*/ 1 w 54"/>
                <a:gd name="T15" fmla="*/ 1 h 22"/>
                <a:gd name="T16" fmla="*/ 1 w 54"/>
                <a:gd name="T17" fmla="*/ 1 h 22"/>
                <a:gd name="T18" fmla="*/ 1 w 54"/>
                <a:gd name="T19" fmla="*/ 1 h 22"/>
                <a:gd name="T20" fmla="*/ 1 w 54"/>
                <a:gd name="T21" fmla="*/ 1 h 22"/>
                <a:gd name="T22" fmla="*/ 2 w 54"/>
                <a:gd name="T23" fmla="*/ 0 h 22"/>
                <a:gd name="T24" fmla="*/ 2 w 54"/>
                <a:gd name="T25" fmla="*/ 0 h 22"/>
                <a:gd name="T26" fmla="*/ 2 w 54"/>
                <a:gd name="T27" fmla="*/ 0 h 22"/>
                <a:gd name="T28" fmla="*/ 1 w 54"/>
                <a:gd name="T29" fmla="*/ 0 h 22"/>
                <a:gd name="T30" fmla="*/ 1 w 54"/>
                <a:gd name="T31" fmla="*/ 0 h 22"/>
                <a:gd name="T32" fmla="*/ 0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4"/>
                <a:gd name="T55" fmla="*/ 0 h 22"/>
                <a:gd name="T56" fmla="*/ 54 w 54"/>
                <a:gd name="T57" fmla="*/ 22 h 2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529" name="Freeform 166"/>
            <p:cNvSpPr>
              <a:spLocks/>
            </p:cNvSpPr>
            <p:nvPr/>
          </p:nvSpPr>
          <p:spPr bwMode="auto">
            <a:xfrm>
              <a:off x="1526" y="2412"/>
              <a:ext cx="2" cy="8"/>
            </a:xfrm>
            <a:custGeom>
              <a:avLst/>
              <a:gdLst>
                <a:gd name="T0" fmla="*/ 0 w 6"/>
                <a:gd name="T1" fmla="*/ 1 h 24"/>
                <a:gd name="T2" fmla="*/ 0 w 6"/>
                <a:gd name="T3" fmla="*/ 0 h 24"/>
                <a:gd name="T4" fmla="*/ 0 w 6"/>
                <a:gd name="T5" fmla="*/ 0 h 24"/>
                <a:gd name="T6" fmla="*/ 0 w 6"/>
                <a:gd name="T7" fmla="*/ 0 h 24"/>
                <a:gd name="T8" fmla="*/ 0 w 6"/>
                <a:gd name="T9" fmla="*/ 0 h 24"/>
                <a:gd name="T10" fmla="*/ 0 w 6"/>
                <a:gd name="T11" fmla="*/ 0 h 24"/>
                <a:gd name="T12" fmla="*/ 0 w 6"/>
                <a:gd name="T13" fmla="*/ 1 h 24"/>
                <a:gd name="T14" fmla="*/ 0 w 6"/>
                <a:gd name="T15" fmla="*/ 1 h 24"/>
                <a:gd name="T16" fmla="*/ 0 w 6"/>
                <a:gd name="T17" fmla="*/ 1 h 24"/>
                <a:gd name="T18" fmla="*/ 0 w 6"/>
                <a:gd name="T19" fmla="*/ 1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
                <a:gd name="T31" fmla="*/ 0 h 24"/>
                <a:gd name="T32" fmla="*/ 6 w 6"/>
                <a:gd name="T33" fmla="*/ 24 h 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530" name="Freeform 167"/>
            <p:cNvSpPr>
              <a:spLocks/>
            </p:cNvSpPr>
            <p:nvPr/>
          </p:nvSpPr>
          <p:spPr bwMode="auto">
            <a:xfrm>
              <a:off x="1557" y="2438"/>
              <a:ext cx="8" cy="4"/>
            </a:xfrm>
            <a:custGeom>
              <a:avLst/>
              <a:gdLst>
                <a:gd name="T0" fmla="*/ 0 w 27"/>
                <a:gd name="T1" fmla="*/ 0 h 12"/>
                <a:gd name="T2" fmla="*/ 1 w 27"/>
                <a:gd name="T3" fmla="*/ 0 h 12"/>
                <a:gd name="T4" fmla="*/ 0 w 27"/>
                <a:gd name="T5" fmla="*/ 0 h 12"/>
                <a:gd name="T6" fmla="*/ 0 w 27"/>
                <a:gd name="T7" fmla="*/ 0 h 12"/>
                <a:gd name="T8" fmla="*/ 0 60000 65536"/>
                <a:gd name="T9" fmla="*/ 0 60000 65536"/>
                <a:gd name="T10" fmla="*/ 0 60000 65536"/>
                <a:gd name="T11" fmla="*/ 0 60000 65536"/>
                <a:gd name="T12" fmla="*/ 0 w 27"/>
                <a:gd name="T13" fmla="*/ 0 h 12"/>
                <a:gd name="T14" fmla="*/ 27 w 27"/>
                <a:gd name="T15" fmla="*/ 12 h 12"/>
              </a:gdLst>
              <a:ahLst/>
              <a:cxnLst>
                <a:cxn ang="T8">
                  <a:pos x="T0" y="T1"/>
                </a:cxn>
                <a:cxn ang="T9">
                  <a:pos x="T2" y="T3"/>
                </a:cxn>
                <a:cxn ang="T10">
                  <a:pos x="T4" y="T5"/>
                </a:cxn>
                <a:cxn ang="T11">
                  <a:pos x="T6" y="T7"/>
                </a:cxn>
              </a:cxnLst>
              <a:rect l="T12" t="T13" r="T14" b="T15"/>
              <a:pathLst>
                <a:path w="27" h="12">
                  <a:moveTo>
                    <a:pt x="0" y="12"/>
                  </a:moveTo>
                  <a:lnTo>
                    <a:pt x="27" y="12"/>
                  </a:lnTo>
                  <a:lnTo>
                    <a:pt x="14" y="0"/>
                  </a:lnTo>
                  <a:lnTo>
                    <a:pt x="0" y="12"/>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531" name="Freeform 168"/>
            <p:cNvSpPr>
              <a:spLocks/>
            </p:cNvSpPr>
            <p:nvPr/>
          </p:nvSpPr>
          <p:spPr bwMode="auto">
            <a:xfrm>
              <a:off x="1486" y="2444"/>
              <a:ext cx="244" cy="224"/>
            </a:xfrm>
            <a:custGeom>
              <a:avLst/>
              <a:gdLst>
                <a:gd name="T0" fmla="*/ 0 w 743"/>
                <a:gd name="T1" fmla="*/ 8 h 672"/>
                <a:gd name="T2" fmla="*/ 2 w 743"/>
                <a:gd name="T3" fmla="*/ 10 h 672"/>
                <a:gd name="T4" fmla="*/ 4 w 743"/>
                <a:gd name="T5" fmla="*/ 11 h 672"/>
                <a:gd name="T6" fmla="*/ 6 w 743"/>
                <a:gd name="T7" fmla="*/ 12 h 672"/>
                <a:gd name="T8" fmla="*/ 7 w 743"/>
                <a:gd name="T9" fmla="*/ 13 h 672"/>
                <a:gd name="T10" fmla="*/ 11 w 743"/>
                <a:gd name="T11" fmla="*/ 14 h 672"/>
                <a:gd name="T12" fmla="*/ 10 w 743"/>
                <a:gd name="T13" fmla="*/ 16 h 672"/>
                <a:gd name="T14" fmla="*/ 11 w 743"/>
                <a:gd name="T15" fmla="*/ 19 h 672"/>
                <a:gd name="T16" fmla="*/ 11 w 743"/>
                <a:gd name="T17" fmla="*/ 20 h 672"/>
                <a:gd name="T18" fmla="*/ 11 w 743"/>
                <a:gd name="T19" fmla="*/ 21 h 672"/>
                <a:gd name="T20" fmla="*/ 11 w 743"/>
                <a:gd name="T21" fmla="*/ 23 h 672"/>
                <a:gd name="T22" fmla="*/ 13 w 743"/>
                <a:gd name="T23" fmla="*/ 24 h 672"/>
                <a:gd name="T24" fmla="*/ 15 w 743"/>
                <a:gd name="T25" fmla="*/ 25 h 672"/>
                <a:gd name="T26" fmla="*/ 16 w 743"/>
                <a:gd name="T27" fmla="*/ 24 h 672"/>
                <a:gd name="T28" fmla="*/ 18 w 743"/>
                <a:gd name="T29" fmla="*/ 23 h 672"/>
                <a:gd name="T30" fmla="*/ 18 w 743"/>
                <a:gd name="T31" fmla="*/ 22 h 672"/>
                <a:gd name="T32" fmla="*/ 17 w 743"/>
                <a:gd name="T33" fmla="*/ 17 h 672"/>
                <a:gd name="T34" fmla="*/ 20 w 743"/>
                <a:gd name="T35" fmla="*/ 19 h 672"/>
                <a:gd name="T36" fmla="*/ 21 w 743"/>
                <a:gd name="T37" fmla="*/ 18 h 672"/>
                <a:gd name="T38" fmla="*/ 23 w 743"/>
                <a:gd name="T39" fmla="*/ 16 h 672"/>
                <a:gd name="T40" fmla="*/ 24 w 743"/>
                <a:gd name="T41" fmla="*/ 16 h 672"/>
                <a:gd name="T42" fmla="*/ 24 w 743"/>
                <a:gd name="T43" fmla="*/ 16 h 672"/>
                <a:gd name="T44" fmla="*/ 24 w 743"/>
                <a:gd name="T45" fmla="*/ 12 h 672"/>
                <a:gd name="T46" fmla="*/ 25 w 743"/>
                <a:gd name="T47" fmla="*/ 11 h 672"/>
                <a:gd name="T48" fmla="*/ 25 w 743"/>
                <a:gd name="T49" fmla="*/ 9 h 672"/>
                <a:gd name="T50" fmla="*/ 26 w 743"/>
                <a:gd name="T51" fmla="*/ 9 h 672"/>
                <a:gd name="T52" fmla="*/ 26 w 743"/>
                <a:gd name="T53" fmla="*/ 8 h 672"/>
                <a:gd name="T54" fmla="*/ 25 w 743"/>
                <a:gd name="T55" fmla="*/ 7 h 672"/>
                <a:gd name="T56" fmla="*/ 24 w 743"/>
                <a:gd name="T57" fmla="*/ 6 h 672"/>
                <a:gd name="T58" fmla="*/ 24 w 743"/>
                <a:gd name="T59" fmla="*/ 5 h 672"/>
                <a:gd name="T60" fmla="*/ 23 w 743"/>
                <a:gd name="T61" fmla="*/ 6 h 672"/>
                <a:gd name="T62" fmla="*/ 22 w 743"/>
                <a:gd name="T63" fmla="*/ 5 h 672"/>
                <a:gd name="T64" fmla="*/ 21 w 743"/>
                <a:gd name="T65" fmla="*/ 4 h 672"/>
                <a:gd name="T66" fmla="*/ 21 w 743"/>
                <a:gd name="T67" fmla="*/ 4 h 672"/>
                <a:gd name="T68" fmla="*/ 19 w 743"/>
                <a:gd name="T69" fmla="*/ 3 h 672"/>
                <a:gd name="T70" fmla="*/ 17 w 743"/>
                <a:gd name="T71" fmla="*/ 3 h 672"/>
                <a:gd name="T72" fmla="*/ 17 w 743"/>
                <a:gd name="T73" fmla="*/ 4 h 672"/>
                <a:gd name="T74" fmla="*/ 15 w 743"/>
                <a:gd name="T75" fmla="*/ 4 h 672"/>
                <a:gd name="T76" fmla="*/ 15 w 743"/>
                <a:gd name="T77" fmla="*/ 4 h 672"/>
                <a:gd name="T78" fmla="*/ 14 w 743"/>
                <a:gd name="T79" fmla="*/ 4 h 672"/>
                <a:gd name="T80" fmla="*/ 13 w 743"/>
                <a:gd name="T81" fmla="*/ 3 h 672"/>
                <a:gd name="T82" fmla="*/ 11 w 743"/>
                <a:gd name="T83" fmla="*/ 3 h 672"/>
                <a:gd name="T84" fmla="*/ 11 w 743"/>
                <a:gd name="T85" fmla="*/ 3 h 672"/>
                <a:gd name="T86" fmla="*/ 9 w 743"/>
                <a:gd name="T87" fmla="*/ 3 h 672"/>
                <a:gd name="T88" fmla="*/ 8 w 743"/>
                <a:gd name="T89" fmla="*/ 2 h 672"/>
                <a:gd name="T90" fmla="*/ 6 w 743"/>
                <a:gd name="T91" fmla="*/ 1 h 672"/>
                <a:gd name="T92" fmla="*/ 5 w 743"/>
                <a:gd name="T93" fmla="*/ 0 h 672"/>
                <a:gd name="T94" fmla="*/ 5 w 743"/>
                <a:gd name="T95" fmla="*/ 2 h 672"/>
                <a:gd name="T96" fmla="*/ 4 w 743"/>
                <a:gd name="T97" fmla="*/ 3 h 672"/>
                <a:gd name="T98" fmla="*/ 4 w 743"/>
                <a:gd name="T99" fmla="*/ 5 h 672"/>
                <a:gd name="T100" fmla="*/ 4 w 743"/>
                <a:gd name="T101" fmla="*/ 7 h 672"/>
                <a:gd name="T102" fmla="*/ 3 w 743"/>
                <a:gd name="T103" fmla="*/ 7 h 672"/>
                <a:gd name="T104" fmla="*/ 3 w 743"/>
                <a:gd name="T105" fmla="*/ 7 h 672"/>
                <a:gd name="T106" fmla="*/ 2 w 743"/>
                <a:gd name="T107" fmla="*/ 6 h 672"/>
                <a:gd name="T108" fmla="*/ 2 w 743"/>
                <a:gd name="T109" fmla="*/ 4 h 672"/>
                <a:gd name="T110" fmla="*/ 3 w 743"/>
                <a:gd name="T111" fmla="*/ 2 h 672"/>
                <a:gd name="T112" fmla="*/ 4 w 743"/>
                <a:gd name="T113" fmla="*/ 1 h 672"/>
                <a:gd name="T114" fmla="*/ 2 w 743"/>
                <a:gd name="T115" fmla="*/ 1 h 672"/>
                <a:gd name="T116" fmla="*/ 1 w 743"/>
                <a:gd name="T117" fmla="*/ 3 h 672"/>
                <a:gd name="T118" fmla="*/ 0 w 743"/>
                <a:gd name="T119" fmla="*/ 4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3"/>
                <a:gd name="T181" fmla="*/ 0 h 672"/>
                <a:gd name="T182" fmla="*/ 743 w 743"/>
                <a:gd name="T183" fmla="*/ 672 h 6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145" name="Freeform 169"/>
          <p:cNvSpPr>
            <a:spLocks/>
          </p:cNvSpPr>
          <p:nvPr>
            <p:custDataLst>
              <p:tags r:id="rId96"/>
            </p:custDataLst>
          </p:nvPr>
        </p:nvSpPr>
        <p:spPr bwMode="auto">
          <a:xfrm>
            <a:off x="9620252" y="4786313"/>
            <a:ext cx="42333" cy="11112"/>
          </a:xfrm>
          <a:custGeom>
            <a:avLst/>
            <a:gdLst>
              <a:gd name="T0" fmla="*/ 0 w 79"/>
              <a:gd name="T1" fmla="*/ 2147483647 h 23"/>
              <a:gd name="T2" fmla="*/ 1428182369 w 79"/>
              <a:gd name="T3" fmla="*/ 1466079593 h 23"/>
              <a:gd name="T4" fmla="*/ 2147483647 w 79"/>
              <a:gd name="T5" fmla="*/ 451191136 h 23"/>
              <a:gd name="T6" fmla="*/ 2147483647 w 79"/>
              <a:gd name="T7" fmla="*/ 112739446 h 23"/>
              <a:gd name="T8" fmla="*/ 2147483647 w 79"/>
              <a:gd name="T9" fmla="*/ 0 h 23"/>
              <a:gd name="T10" fmla="*/ 2147483647 w 79"/>
              <a:gd name="T11" fmla="*/ 0 h 23"/>
              <a:gd name="T12" fmla="*/ 2147483647 w 79"/>
              <a:gd name="T13" fmla="*/ 112739446 h 23"/>
              <a:gd name="T14" fmla="*/ 2147483647 w 79"/>
              <a:gd name="T15" fmla="*/ 225478892 h 23"/>
              <a:gd name="T16" fmla="*/ 2147483647 w 79"/>
              <a:gd name="T17" fmla="*/ 451191136 h 23"/>
              <a:gd name="T18" fmla="*/ 2147483647 w 79"/>
              <a:gd name="T19" fmla="*/ 902148920 h 23"/>
              <a:gd name="T20" fmla="*/ 2147483647 w 79"/>
              <a:gd name="T21" fmla="*/ 1466079593 h 23"/>
              <a:gd name="T22" fmla="*/ 2147483647 w 79"/>
              <a:gd name="T23" fmla="*/ 1804297840 h 23"/>
              <a:gd name="T24" fmla="*/ 2147483647 w 79"/>
              <a:gd name="T25" fmla="*/ 2142515604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077342217 w 79"/>
              <a:gd name="T37" fmla="*/ 2147483647 h 23"/>
              <a:gd name="T38" fmla="*/ 1687749772 w 79"/>
              <a:gd name="T39" fmla="*/ 2147483647 h 23"/>
              <a:gd name="T40" fmla="*/ 1493114711 w 79"/>
              <a:gd name="T41" fmla="*/ 2142515604 h 23"/>
              <a:gd name="T42" fmla="*/ 1233386147 w 79"/>
              <a:gd name="T43" fmla="*/ 2029776189 h 23"/>
              <a:gd name="T44" fmla="*/ 908887608 w 79"/>
              <a:gd name="T45" fmla="*/ 2029776189 h 23"/>
              <a:gd name="T46" fmla="*/ 584227304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46" name="Freeform 170"/>
          <p:cNvSpPr>
            <a:spLocks/>
          </p:cNvSpPr>
          <p:nvPr>
            <p:custDataLst>
              <p:tags r:id="rId97"/>
            </p:custDataLst>
          </p:nvPr>
        </p:nvSpPr>
        <p:spPr bwMode="auto">
          <a:xfrm>
            <a:off x="9774768" y="4919663"/>
            <a:ext cx="2117" cy="4762"/>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3171" name="Line 171"/>
          <p:cNvSpPr>
            <a:spLocks noChangeShapeType="1"/>
          </p:cNvSpPr>
          <p:nvPr>
            <p:custDataLst>
              <p:tags r:id="rId98"/>
            </p:custDataLst>
          </p:nvPr>
        </p:nvSpPr>
        <p:spPr bwMode="auto">
          <a:xfrm flipV="1">
            <a:off x="9895419" y="4918075"/>
            <a:ext cx="2116"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TW" altLang="en-US">
              <a:solidFill>
                <a:srgbClr val="000000"/>
              </a:solidFill>
            </a:endParaRPr>
          </a:p>
        </p:txBody>
      </p:sp>
      <p:sp>
        <p:nvSpPr>
          <p:cNvPr id="2148" name="Freeform 172"/>
          <p:cNvSpPr>
            <a:spLocks/>
          </p:cNvSpPr>
          <p:nvPr>
            <p:custDataLst>
              <p:tags r:id="rId99"/>
            </p:custDataLst>
          </p:nvPr>
        </p:nvSpPr>
        <p:spPr bwMode="auto">
          <a:xfrm>
            <a:off x="9895422" y="4918082"/>
            <a:ext cx="4233" cy="15875"/>
          </a:xfrm>
          <a:custGeom>
            <a:avLst/>
            <a:gdLst>
              <a:gd name="T0" fmla="*/ 0 w 5"/>
              <a:gd name="T1" fmla="*/ 0 h 30"/>
              <a:gd name="T2" fmla="*/ 512095713 w 5"/>
              <a:gd name="T3" fmla="*/ 148129124 h 30"/>
              <a:gd name="T4" fmla="*/ 1024191427 w 5"/>
              <a:gd name="T5" fmla="*/ 592796955 h 30"/>
              <a:gd name="T6" fmla="*/ 1280239204 w 5"/>
              <a:gd name="T7" fmla="*/ 1185313453 h 30"/>
              <a:gd name="T8" fmla="*/ 1280239204 w 5"/>
              <a:gd name="T9" fmla="*/ 1926238673 h 30"/>
              <a:gd name="T10" fmla="*/ 1280239204 w 5"/>
              <a:gd name="T11" fmla="*/ 2147483647 h 30"/>
              <a:gd name="T12" fmla="*/ 1024191427 w 5"/>
              <a:gd name="T13" fmla="*/ 2147483647 h 30"/>
              <a:gd name="T14" fmla="*/ 512095713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49" name="Freeform 173"/>
          <p:cNvSpPr>
            <a:spLocks/>
          </p:cNvSpPr>
          <p:nvPr>
            <p:custDataLst>
              <p:tags r:id="rId100"/>
            </p:custDataLst>
          </p:nvPr>
        </p:nvSpPr>
        <p:spPr bwMode="auto">
          <a:xfrm>
            <a:off x="10293356" y="4387857"/>
            <a:ext cx="29633" cy="28575"/>
          </a:xfrm>
          <a:custGeom>
            <a:avLst/>
            <a:gdLst>
              <a:gd name="T0" fmla="*/ 0 w 53"/>
              <a:gd name="T1" fmla="*/ 1682997934 h 55"/>
              <a:gd name="T2" fmla="*/ 73679235 w 53"/>
              <a:gd name="T3" fmla="*/ 2147483647 h 55"/>
              <a:gd name="T4" fmla="*/ 368748393 w 53"/>
              <a:gd name="T5" fmla="*/ 2147483647 h 55"/>
              <a:gd name="T6" fmla="*/ 663641873 w 53"/>
              <a:gd name="T7" fmla="*/ 2147483647 h 55"/>
              <a:gd name="T8" fmla="*/ 1106069579 w 53"/>
              <a:gd name="T9" fmla="*/ 2147483647 h 55"/>
              <a:gd name="T10" fmla="*/ 1917246202 w 53"/>
              <a:gd name="T11" fmla="*/ 2147483647 h 55"/>
              <a:gd name="T12" fmla="*/ 2147483647 w 53"/>
              <a:gd name="T13" fmla="*/ 2147483647 h 55"/>
              <a:gd name="T14" fmla="*/ 2147483647 w 53"/>
              <a:gd name="T15" fmla="*/ 2147483647 h 55"/>
              <a:gd name="T16" fmla="*/ 2147483647 w 53"/>
              <a:gd name="T17" fmla="*/ 2147483647 h 55"/>
              <a:gd name="T18" fmla="*/ 2064779903 w 53"/>
              <a:gd name="T19" fmla="*/ 2147483647 h 55"/>
              <a:gd name="T20" fmla="*/ 1696031615 w 53"/>
              <a:gd name="T21" fmla="*/ 2147483647 h 55"/>
              <a:gd name="T22" fmla="*/ 1400962536 w 53"/>
              <a:gd name="T23" fmla="*/ 2147483647 h 55"/>
              <a:gd name="T24" fmla="*/ 1179749207 w 53"/>
              <a:gd name="T25" fmla="*/ 1121818340 h 55"/>
              <a:gd name="T26" fmla="*/ 1032389951 w 53"/>
              <a:gd name="T27" fmla="*/ 0 h 55"/>
              <a:gd name="T28" fmla="*/ 516107334 w 53"/>
              <a:gd name="T29" fmla="*/ 841363885 h 55"/>
              <a:gd name="T30" fmla="*/ 0 w 53"/>
              <a:gd name="T31" fmla="*/ 1682997934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50" name="Freeform 174"/>
          <p:cNvSpPr>
            <a:spLocks/>
          </p:cNvSpPr>
          <p:nvPr>
            <p:custDataLst>
              <p:tags r:id="rId101"/>
            </p:custDataLst>
          </p:nvPr>
        </p:nvSpPr>
        <p:spPr bwMode="auto">
          <a:xfrm>
            <a:off x="10301822" y="4314825"/>
            <a:ext cx="35983" cy="39688"/>
          </a:xfrm>
          <a:custGeom>
            <a:avLst/>
            <a:gdLst>
              <a:gd name="T0" fmla="*/ 0 w 65"/>
              <a:gd name="T1" fmla="*/ 2147483647 h 75"/>
              <a:gd name="T2" fmla="*/ 644177519 w 65"/>
              <a:gd name="T3" fmla="*/ 2147483647 h 75"/>
              <a:gd name="T4" fmla="*/ 1431428420 w 65"/>
              <a:gd name="T5" fmla="*/ 2147483647 h 75"/>
              <a:gd name="T6" fmla="*/ 186082252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1926286988 h 75"/>
              <a:gd name="T32" fmla="*/ 2147483647 w 65"/>
              <a:gd name="T33" fmla="*/ 1481888462 h 75"/>
              <a:gd name="T34" fmla="*/ 2147483647 w 65"/>
              <a:gd name="T35" fmla="*/ 740944760 h 75"/>
              <a:gd name="T36" fmla="*/ 2147483647 w 65"/>
              <a:gd name="T37" fmla="*/ 0 h 75"/>
              <a:gd name="T38" fmla="*/ 2147483647 w 65"/>
              <a:gd name="T39" fmla="*/ 0 h 75"/>
              <a:gd name="T40" fmla="*/ 1860822527 w 65"/>
              <a:gd name="T41" fmla="*/ 0 h 75"/>
              <a:gd name="T42" fmla="*/ 1789286252 w 65"/>
              <a:gd name="T43" fmla="*/ 296265640 h 75"/>
              <a:gd name="T44" fmla="*/ 1717576844 w 65"/>
              <a:gd name="T45" fmla="*/ 1037210268 h 75"/>
              <a:gd name="T46" fmla="*/ 1646039738 w 65"/>
              <a:gd name="T47" fmla="*/ 1333755973 h 75"/>
              <a:gd name="T48" fmla="*/ 1646039738 w 65"/>
              <a:gd name="T49" fmla="*/ 1630022010 h 75"/>
              <a:gd name="T50" fmla="*/ 1717576844 w 65"/>
              <a:gd name="T51" fmla="*/ 1778154499 h 75"/>
              <a:gd name="T52" fmla="*/ 1860822527 w 65"/>
              <a:gd name="T53" fmla="*/ 1926286988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51" name="Freeform 175"/>
          <p:cNvSpPr>
            <a:spLocks/>
          </p:cNvSpPr>
          <p:nvPr>
            <p:custDataLst>
              <p:tags r:id="rId102"/>
            </p:custDataLst>
          </p:nvPr>
        </p:nvSpPr>
        <p:spPr bwMode="auto">
          <a:xfrm>
            <a:off x="10270067" y="4291013"/>
            <a:ext cx="23284" cy="30162"/>
          </a:xfrm>
          <a:custGeom>
            <a:avLst/>
            <a:gdLst>
              <a:gd name="T0" fmla="*/ 0 w 40"/>
              <a:gd name="T1" fmla="*/ 2147483647 h 62"/>
              <a:gd name="T2" fmla="*/ 249682932 w 40"/>
              <a:gd name="T3" fmla="*/ 2147483647 h 62"/>
              <a:gd name="T4" fmla="*/ 582466574 w 40"/>
              <a:gd name="T5" fmla="*/ 2147483647 h 62"/>
              <a:gd name="T6" fmla="*/ 998541381 w 40"/>
              <a:gd name="T7" fmla="*/ 2147483647 h 62"/>
              <a:gd name="T8" fmla="*/ 1414616406 w 40"/>
              <a:gd name="T9" fmla="*/ 2147483647 h 62"/>
              <a:gd name="T10" fmla="*/ 1913791269 w 40"/>
              <a:gd name="T11" fmla="*/ 1957232617 h 62"/>
              <a:gd name="T12" fmla="*/ 2147483647 w 40"/>
              <a:gd name="T13" fmla="*/ 1036126228 h 62"/>
              <a:gd name="T14" fmla="*/ 2147483647 w 40"/>
              <a:gd name="T15" fmla="*/ 345296559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52" name="Freeform 176"/>
          <p:cNvSpPr>
            <a:spLocks/>
          </p:cNvSpPr>
          <p:nvPr>
            <p:custDataLst>
              <p:tags r:id="rId103"/>
            </p:custDataLst>
          </p:nvPr>
        </p:nvSpPr>
        <p:spPr bwMode="auto">
          <a:xfrm>
            <a:off x="10162117" y="4168782"/>
            <a:ext cx="91016" cy="138113"/>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1899194939 w 159"/>
              <a:gd name="T57" fmla="*/ 2147483647 h 259"/>
              <a:gd name="T58" fmla="*/ 1424395989 w 159"/>
              <a:gd name="T59" fmla="*/ 2147483647 h 259"/>
              <a:gd name="T60" fmla="*/ 1028668877 w 159"/>
              <a:gd name="T61" fmla="*/ 2147483647 h 259"/>
              <a:gd name="T62" fmla="*/ 712197995 w 159"/>
              <a:gd name="T63" fmla="*/ 2147483647 h 259"/>
              <a:gd name="T64" fmla="*/ 553870572 w 159"/>
              <a:gd name="T65" fmla="*/ 2147483647 h 259"/>
              <a:gd name="T66" fmla="*/ 395727220 w 159"/>
              <a:gd name="T67" fmla="*/ 2147483647 h 259"/>
              <a:gd name="T68" fmla="*/ 158327906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3177" name="Line 177"/>
          <p:cNvSpPr>
            <a:spLocks noChangeShapeType="1"/>
          </p:cNvSpPr>
          <p:nvPr>
            <p:custDataLst>
              <p:tags r:id="rId104"/>
            </p:custDataLst>
          </p:nvPr>
        </p:nvSpPr>
        <p:spPr bwMode="auto">
          <a:xfrm flipH="1" flipV="1">
            <a:off x="10153653" y="4135444"/>
            <a:ext cx="8467"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TW" altLang="en-US">
              <a:solidFill>
                <a:srgbClr val="000000"/>
              </a:solidFill>
            </a:endParaRPr>
          </a:p>
        </p:txBody>
      </p:sp>
      <p:sp>
        <p:nvSpPr>
          <p:cNvPr id="2154" name="Freeform 178"/>
          <p:cNvSpPr>
            <a:spLocks/>
          </p:cNvSpPr>
          <p:nvPr>
            <p:custDataLst>
              <p:tags r:id="rId105"/>
            </p:custDataLst>
          </p:nvPr>
        </p:nvSpPr>
        <p:spPr bwMode="auto">
          <a:xfrm>
            <a:off x="10153653" y="4119566"/>
            <a:ext cx="8467" cy="15875"/>
          </a:xfrm>
          <a:custGeom>
            <a:avLst/>
            <a:gdLst>
              <a:gd name="T0" fmla="*/ 0 w 13"/>
              <a:gd name="T1" fmla="*/ 2147483647 h 25"/>
              <a:gd name="T2" fmla="*/ 116434085 w 13"/>
              <a:gd name="T3" fmla="*/ 2147483647 h 25"/>
              <a:gd name="T4" fmla="*/ 466214055 w 13"/>
              <a:gd name="T5" fmla="*/ 2147483647 h 25"/>
              <a:gd name="T6" fmla="*/ 932428109 w 13"/>
              <a:gd name="T7" fmla="*/ 1536287416 h 25"/>
              <a:gd name="T8" fmla="*/ 1515075852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3179" name="Line 179"/>
          <p:cNvSpPr>
            <a:spLocks noChangeShapeType="1"/>
          </p:cNvSpPr>
          <p:nvPr>
            <p:custDataLst>
              <p:tags r:id="rId106"/>
            </p:custDataLst>
          </p:nvPr>
        </p:nvSpPr>
        <p:spPr bwMode="auto">
          <a:xfrm flipV="1">
            <a:off x="10162117" y="4106863"/>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TW" altLang="en-US">
              <a:solidFill>
                <a:srgbClr val="000000"/>
              </a:solidFill>
            </a:endParaRPr>
          </a:p>
        </p:txBody>
      </p:sp>
      <p:sp>
        <p:nvSpPr>
          <p:cNvPr id="2156" name="Freeform 180"/>
          <p:cNvSpPr>
            <a:spLocks/>
          </p:cNvSpPr>
          <p:nvPr>
            <p:custDataLst>
              <p:tags r:id="rId107"/>
            </p:custDataLst>
          </p:nvPr>
        </p:nvSpPr>
        <p:spPr bwMode="auto">
          <a:xfrm>
            <a:off x="10100733" y="4040188"/>
            <a:ext cx="61384" cy="6667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1951632172 w 100"/>
              <a:gd name="T15" fmla="*/ 2147483647 h 123"/>
              <a:gd name="T16" fmla="*/ 1268519155 w 100"/>
              <a:gd name="T17" fmla="*/ 2147483647 h 123"/>
              <a:gd name="T18" fmla="*/ 780611112 w 100"/>
              <a:gd name="T19" fmla="*/ 2147483647 h 123"/>
              <a:gd name="T20" fmla="*/ 390411444 w 100"/>
              <a:gd name="T21" fmla="*/ 2147483647 h 123"/>
              <a:gd name="T22" fmla="*/ 97496974 w 100"/>
              <a:gd name="T23" fmla="*/ 2147483647 h 123"/>
              <a:gd name="T24" fmla="*/ 0 w 100"/>
              <a:gd name="T25" fmla="*/ 2147483647 h 123"/>
              <a:gd name="T26" fmla="*/ 195205722 w 100"/>
              <a:gd name="T27" fmla="*/ 2147483647 h 123"/>
              <a:gd name="T28" fmla="*/ 683114168 w 100"/>
              <a:gd name="T29" fmla="*/ 2147483647 h 123"/>
              <a:gd name="T30" fmla="*/ 1073313491 w 100"/>
              <a:gd name="T31" fmla="*/ 2147483647 h 123"/>
              <a:gd name="T32" fmla="*/ 126851915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57" name="Freeform 181"/>
          <p:cNvSpPr>
            <a:spLocks/>
          </p:cNvSpPr>
          <p:nvPr>
            <p:custDataLst>
              <p:tags r:id="rId108"/>
            </p:custDataLst>
          </p:nvPr>
        </p:nvSpPr>
        <p:spPr bwMode="auto">
          <a:xfrm>
            <a:off x="10119787" y="3983038"/>
            <a:ext cx="2116" cy="50800"/>
          </a:xfrm>
          <a:custGeom>
            <a:avLst/>
            <a:gdLst>
              <a:gd name="T0" fmla="*/ 159878802 w 5"/>
              <a:gd name="T1" fmla="*/ 0 h 99"/>
              <a:gd name="T2" fmla="*/ 127943296 w 5"/>
              <a:gd name="T3" fmla="*/ 2147483647 h 99"/>
              <a:gd name="T4" fmla="*/ 31935516 w 5"/>
              <a:gd name="T5" fmla="*/ 2147483647 h 99"/>
              <a:gd name="T6" fmla="*/ 0 w 5"/>
              <a:gd name="T7" fmla="*/ 2147483647 h 99"/>
              <a:gd name="T8" fmla="*/ 0 w 5"/>
              <a:gd name="T9" fmla="*/ 2147483647 h 99"/>
              <a:gd name="T10" fmla="*/ 63971648 w 5"/>
              <a:gd name="T11" fmla="*/ 2147483647 h 99"/>
              <a:gd name="T12" fmla="*/ 159878802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58" name="Freeform 182"/>
          <p:cNvSpPr>
            <a:spLocks/>
          </p:cNvSpPr>
          <p:nvPr>
            <p:custDataLst>
              <p:tags r:id="rId109"/>
            </p:custDataLst>
          </p:nvPr>
        </p:nvSpPr>
        <p:spPr bwMode="auto">
          <a:xfrm>
            <a:off x="10128255" y="3976688"/>
            <a:ext cx="10583" cy="36512"/>
          </a:xfrm>
          <a:custGeom>
            <a:avLst/>
            <a:gdLst>
              <a:gd name="T0" fmla="*/ 2147483647 w 14"/>
              <a:gd name="T1" fmla="*/ 0 h 68"/>
              <a:gd name="T2" fmla="*/ 1457584865 w 14"/>
              <a:gd name="T3" fmla="*/ 2147483647 h 68"/>
              <a:gd name="T4" fmla="*/ 728953440 w 14"/>
              <a:gd name="T5" fmla="*/ 2147483647 h 68"/>
              <a:gd name="T6" fmla="*/ 364476720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59" name="Freeform 183"/>
          <p:cNvSpPr>
            <a:spLocks/>
          </p:cNvSpPr>
          <p:nvPr>
            <p:custDataLst>
              <p:tags r:id="rId110"/>
            </p:custDataLst>
          </p:nvPr>
        </p:nvSpPr>
        <p:spPr bwMode="auto">
          <a:xfrm>
            <a:off x="10149419" y="3957642"/>
            <a:ext cx="2116" cy="22225"/>
          </a:xfrm>
          <a:custGeom>
            <a:avLst/>
            <a:gdLst>
              <a:gd name="T0" fmla="*/ 0 w 1587"/>
              <a:gd name="T1" fmla="*/ 0 h 43"/>
              <a:gd name="T2" fmla="*/ 0 w 1587"/>
              <a:gd name="T3" fmla="*/ 1794944633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3184" name="Line 184"/>
          <p:cNvSpPr>
            <a:spLocks noChangeShapeType="1"/>
          </p:cNvSpPr>
          <p:nvPr>
            <p:custDataLst>
              <p:tags r:id="rId111"/>
            </p:custDataLst>
          </p:nvPr>
        </p:nvSpPr>
        <p:spPr bwMode="auto">
          <a:xfrm flipV="1">
            <a:off x="10149419" y="3976692"/>
            <a:ext cx="2116"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TW" altLang="en-US">
              <a:solidFill>
                <a:srgbClr val="000000"/>
              </a:solidFill>
            </a:endParaRPr>
          </a:p>
        </p:txBody>
      </p:sp>
      <p:sp>
        <p:nvSpPr>
          <p:cNvPr id="2161" name="Freeform 185"/>
          <p:cNvSpPr>
            <a:spLocks/>
          </p:cNvSpPr>
          <p:nvPr>
            <p:custDataLst>
              <p:tags r:id="rId112"/>
            </p:custDataLst>
          </p:nvPr>
        </p:nvSpPr>
        <p:spPr bwMode="auto">
          <a:xfrm>
            <a:off x="10128251" y="3960817"/>
            <a:ext cx="2116" cy="15875"/>
          </a:xfrm>
          <a:custGeom>
            <a:avLst/>
            <a:gdLst>
              <a:gd name="T0" fmla="*/ 0 w 1587"/>
              <a:gd name="T1" fmla="*/ 2147483647 h 31"/>
              <a:gd name="T2" fmla="*/ 0 w 1587"/>
              <a:gd name="T3" fmla="*/ 2147483647 h 31"/>
              <a:gd name="T4" fmla="*/ 0 w 1587"/>
              <a:gd name="T5" fmla="*/ 2014288637 h 31"/>
              <a:gd name="T6" fmla="*/ 0 w 1587"/>
              <a:gd name="T7" fmla="*/ 1074410006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62" name="Freeform 186"/>
          <p:cNvSpPr>
            <a:spLocks/>
          </p:cNvSpPr>
          <p:nvPr>
            <p:custDataLst>
              <p:tags r:id="rId113"/>
            </p:custDataLst>
          </p:nvPr>
        </p:nvSpPr>
        <p:spPr bwMode="auto">
          <a:xfrm>
            <a:off x="9755719" y="4949832"/>
            <a:ext cx="129116" cy="87313"/>
          </a:xfrm>
          <a:custGeom>
            <a:avLst/>
            <a:gdLst>
              <a:gd name="T0" fmla="*/ 1514647765 w 225"/>
              <a:gd name="T1" fmla="*/ 2147483647 h 167"/>
              <a:gd name="T2" fmla="*/ 558106126 w 225"/>
              <a:gd name="T3" fmla="*/ 2147483647 h 167"/>
              <a:gd name="T4" fmla="*/ 0 w 225"/>
              <a:gd name="T5" fmla="*/ 2147483647 h 167"/>
              <a:gd name="T6" fmla="*/ 79649944 w 225"/>
              <a:gd name="T7" fmla="*/ 2147483647 h 167"/>
              <a:gd name="T8" fmla="*/ 876891291 w 225"/>
              <a:gd name="T9" fmla="*/ 2147483647 h 167"/>
              <a:gd name="T10" fmla="*/ 1913268775 w 225"/>
              <a:gd name="T11" fmla="*/ 2147483647 h 167"/>
              <a:gd name="T12" fmla="*/ 2147483647 w 225"/>
              <a:gd name="T13" fmla="*/ 2147483647 h 167"/>
              <a:gd name="T14" fmla="*/ 2147483647 w 225"/>
              <a:gd name="T15" fmla="*/ 1286128908 h 167"/>
              <a:gd name="T16" fmla="*/ 2147483647 w 225"/>
              <a:gd name="T17" fmla="*/ 142963810 h 167"/>
              <a:gd name="T18" fmla="*/ 2147483647 w 225"/>
              <a:gd name="T19" fmla="*/ 142963810 h 167"/>
              <a:gd name="T20" fmla="*/ 2147483647 w 225"/>
              <a:gd name="T21" fmla="*/ 428618445 h 167"/>
              <a:gd name="T22" fmla="*/ 2147483647 w 225"/>
              <a:gd name="T23" fmla="*/ 1143438605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1000474076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072752814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63" name="Freeform 187"/>
          <p:cNvSpPr>
            <a:spLocks/>
          </p:cNvSpPr>
          <p:nvPr>
            <p:custDataLst>
              <p:tags r:id="rId114"/>
            </p:custDataLst>
          </p:nvPr>
        </p:nvSpPr>
        <p:spPr bwMode="auto">
          <a:xfrm>
            <a:off x="9939872" y="4168776"/>
            <a:ext cx="4233" cy="17463"/>
          </a:xfrm>
          <a:custGeom>
            <a:avLst/>
            <a:gdLst>
              <a:gd name="T0" fmla="*/ 0 w 7"/>
              <a:gd name="T1" fmla="*/ 2147483647 h 31"/>
              <a:gd name="T2" fmla="*/ 466588915 w 7"/>
              <a:gd name="T3" fmla="*/ 2147483647 h 31"/>
              <a:gd name="T4" fmla="*/ 559783417 w 7"/>
              <a:gd name="T5" fmla="*/ 2147483647 h 31"/>
              <a:gd name="T6" fmla="*/ 653183274 w 7"/>
              <a:gd name="T7" fmla="*/ 1072583111 h 31"/>
              <a:gd name="T8" fmla="*/ 653183274 w 7"/>
              <a:gd name="T9" fmla="*/ 0 h 31"/>
              <a:gd name="T10" fmla="*/ 559783417 w 7"/>
              <a:gd name="T11" fmla="*/ 1072583111 h 31"/>
              <a:gd name="T12" fmla="*/ 373189058 w 7"/>
              <a:gd name="T13" fmla="*/ 2147483647 h 31"/>
              <a:gd name="T14" fmla="*/ 93399885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64" name="Freeform 188"/>
          <p:cNvSpPr>
            <a:spLocks/>
          </p:cNvSpPr>
          <p:nvPr>
            <p:custDataLst>
              <p:tags r:id="rId115"/>
            </p:custDataLst>
          </p:nvPr>
        </p:nvSpPr>
        <p:spPr bwMode="auto">
          <a:xfrm>
            <a:off x="9850971" y="4090993"/>
            <a:ext cx="21167" cy="15875"/>
          </a:xfrm>
          <a:custGeom>
            <a:avLst/>
            <a:gdLst>
              <a:gd name="T0" fmla="*/ 2147483647 w 33"/>
              <a:gd name="T1" fmla="*/ 2147483647 h 31"/>
              <a:gd name="T2" fmla="*/ 2147483647 w 33"/>
              <a:gd name="T3" fmla="*/ 0 h 31"/>
              <a:gd name="T4" fmla="*/ 2147483647 w 33"/>
              <a:gd name="T5" fmla="*/ 0 h 31"/>
              <a:gd name="T6" fmla="*/ 2147483647 w 33"/>
              <a:gd name="T7" fmla="*/ 268536953 h 31"/>
              <a:gd name="T8" fmla="*/ 1781233347 w 33"/>
              <a:gd name="T9" fmla="*/ 671342575 h 31"/>
              <a:gd name="T10" fmla="*/ 1224670536 w 33"/>
              <a:gd name="T11" fmla="*/ 1074410006 h 31"/>
              <a:gd name="T12" fmla="*/ 667876095 w 33"/>
              <a:gd name="T13" fmla="*/ 1611483656 h 31"/>
              <a:gd name="T14" fmla="*/ 333937807 w 33"/>
              <a:gd name="T15" fmla="*/ 2147483647 h 31"/>
              <a:gd name="T16" fmla="*/ 111312592 w 33"/>
              <a:gd name="T17" fmla="*/ 2147483647 h 31"/>
              <a:gd name="T18" fmla="*/ 0 w 33"/>
              <a:gd name="T19" fmla="*/ 2147483647 h 31"/>
              <a:gd name="T20" fmla="*/ 111312592 w 33"/>
              <a:gd name="T21" fmla="*/ 2147483647 h 31"/>
              <a:gd name="T22" fmla="*/ 333937807 w 33"/>
              <a:gd name="T23" fmla="*/ 2147483647 h 31"/>
              <a:gd name="T24" fmla="*/ 667876095 w 33"/>
              <a:gd name="T25" fmla="*/ 2147483647 h 31"/>
              <a:gd name="T26" fmla="*/ 1224670536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65" name="Freeform 189"/>
          <p:cNvSpPr>
            <a:spLocks/>
          </p:cNvSpPr>
          <p:nvPr>
            <p:custDataLst>
              <p:tags r:id="rId116"/>
            </p:custDataLst>
          </p:nvPr>
        </p:nvSpPr>
        <p:spPr bwMode="auto">
          <a:xfrm>
            <a:off x="9872138" y="4003675"/>
            <a:ext cx="4233" cy="9525"/>
          </a:xfrm>
          <a:custGeom>
            <a:avLst/>
            <a:gdLst>
              <a:gd name="T0" fmla="*/ 0 w 13"/>
              <a:gd name="T1" fmla="*/ 2147483647 h 19"/>
              <a:gd name="T2" fmla="*/ 29108643 w 13"/>
              <a:gd name="T3" fmla="*/ 2147483647 h 19"/>
              <a:gd name="T4" fmla="*/ 72831090 w 13"/>
              <a:gd name="T5" fmla="*/ 2141727474 h 19"/>
              <a:gd name="T6" fmla="*/ 101999318 w 13"/>
              <a:gd name="T7" fmla="*/ 1889907129 h 19"/>
              <a:gd name="T8" fmla="*/ 116553514 w 13"/>
              <a:gd name="T9" fmla="*/ 1511926205 h 19"/>
              <a:gd name="T10" fmla="*/ 174830164 w 13"/>
              <a:gd name="T11" fmla="*/ 755963102 h 19"/>
              <a:gd name="T12" fmla="*/ 189384604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66" name="Freeform 190"/>
          <p:cNvSpPr>
            <a:spLocks/>
          </p:cNvSpPr>
          <p:nvPr>
            <p:custDataLst>
              <p:tags r:id="rId117"/>
            </p:custDataLst>
          </p:nvPr>
        </p:nvSpPr>
        <p:spPr bwMode="auto">
          <a:xfrm>
            <a:off x="9658353" y="4006850"/>
            <a:ext cx="48683" cy="22225"/>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1629980379 h 42"/>
              <a:gd name="T20" fmla="*/ 2147483647 w 87"/>
              <a:gd name="T21" fmla="*/ 889054975 h 42"/>
              <a:gd name="T22" fmla="*/ 2147483647 w 87"/>
              <a:gd name="T23" fmla="*/ 296258216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96258216 h 42"/>
              <a:gd name="T34" fmla="*/ 1847952250 w 87"/>
              <a:gd name="T35" fmla="*/ 592796891 h 42"/>
              <a:gd name="T36" fmla="*/ 1404458768 w 87"/>
              <a:gd name="T37" fmla="*/ 889054975 h 42"/>
              <a:gd name="T38" fmla="*/ 591267776 w 87"/>
              <a:gd name="T39" fmla="*/ 1778109950 h 42"/>
              <a:gd name="T40" fmla="*/ 0 w 87"/>
              <a:gd name="T41" fmla="*/ 2147483647 h 42"/>
              <a:gd name="T42" fmla="*/ 813014727 w 87"/>
              <a:gd name="T43" fmla="*/ 2147483647 h 42"/>
              <a:gd name="T44" fmla="*/ 1995725915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67" name="Freeform 191"/>
          <p:cNvSpPr>
            <a:spLocks/>
          </p:cNvSpPr>
          <p:nvPr>
            <p:custDataLst>
              <p:tags r:id="rId118"/>
            </p:custDataLst>
          </p:nvPr>
        </p:nvSpPr>
        <p:spPr bwMode="auto">
          <a:xfrm>
            <a:off x="9984319" y="4470400"/>
            <a:ext cx="2116" cy="14288"/>
          </a:xfrm>
          <a:custGeom>
            <a:avLst/>
            <a:gdLst>
              <a:gd name="T0" fmla="*/ 0 w 7"/>
              <a:gd name="T1" fmla="*/ 0 h 31"/>
              <a:gd name="T2" fmla="*/ 81570899 w 7"/>
              <a:gd name="T3" fmla="*/ 0 h 31"/>
              <a:gd name="T4" fmla="*/ 81570899 w 7"/>
              <a:gd name="T5" fmla="*/ 1762333568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68" name="Freeform 192"/>
          <p:cNvSpPr>
            <a:spLocks/>
          </p:cNvSpPr>
          <p:nvPr>
            <p:custDataLst>
              <p:tags r:id="rId119"/>
            </p:custDataLst>
          </p:nvPr>
        </p:nvSpPr>
        <p:spPr bwMode="auto">
          <a:xfrm>
            <a:off x="8966203" y="3976688"/>
            <a:ext cx="1358900" cy="908050"/>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1443622309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166936654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69" name="Freeform 193"/>
          <p:cNvSpPr>
            <a:spLocks/>
          </p:cNvSpPr>
          <p:nvPr>
            <p:custDataLst>
              <p:tags r:id="rId120"/>
            </p:custDataLst>
          </p:nvPr>
        </p:nvSpPr>
        <p:spPr bwMode="auto">
          <a:xfrm>
            <a:off x="1615019" y="2643195"/>
            <a:ext cx="891116" cy="581025"/>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495162018 w 1535"/>
              <a:gd name="T71" fmla="*/ 2147483647 h 1109"/>
              <a:gd name="T72" fmla="*/ 2147483647 w 1535"/>
              <a:gd name="T73" fmla="*/ 719163770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170" name="Freeform 194"/>
          <p:cNvSpPr>
            <a:spLocks/>
          </p:cNvSpPr>
          <p:nvPr>
            <p:custDataLst>
              <p:tags r:id="rId121"/>
            </p:custDataLst>
          </p:nvPr>
        </p:nvSpPr>
        <p:spPr bwMode="auto">
          <a:xfrm>
            <a:off x="3314700" y="4283082"/>
            <a:ext cx="281517" cy="265113"/>
          </a:xfrm>
          <a:custGeom>
            <a:avLst/>
            <a:gdLst>
              <a:gd name="T0" fmla="*/ 114790705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1736280265 h 505"/>
              <a:gd name="T78" fmla="*/ 2147483647 w 486"/>
              <a:gd name="T79" fmla="*/ 1157520352 h 505"/>
              <a:gd name="T80" fmla="*/ 2147483647 w 486"/>
              <a:gd name="T81" fmla="*/ 289380088 h 505"/>
              <a:gd name="T82" fmla="*/ 2147483647 w 486"/>
              <a:gd name="T83" fmla="*/ 144690306 h 505"/>
              <a:gd name="T84" fmla="*/ 2147483647 w 486"/>
              <a:gd name="T85" fmla="*/ 1591590549 h 505"/>
              <a:gd name="T86" fmla="*/ 2147483647 w 486"/>
              <a:gd name="T87" fmla="*/ 2147483647 h 505"/>
              <a:gd name="T88" fmla="*/ 1967975097 w 486"/>
              <a:gd name="T89" fmla="*/ 2147483647 h 505"/>
              <a:gd name="T90" fmla="*/ 1639947968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171" name="Freeform 195"/>
          <p:cNvSpPr>
            <a:spLocks/>
          </p:cNvSpPr>
          <p:nvPr>
            <p:custDataLst>
              <p:tags r:id="rId122"/>
            </p:custDataLst>
          </p:nvPr>
        </p:nvSpPr>
        <p:spPr bwMode="auto">
          <a:xfrm>
            <a:off x="3541188" y="3487742"/>
            <a:ext cx="97367" cy="109537"/>
          </a:xfrm>
          <a:custGeom>
            <a:avLst/>
            <a:gdLst>
              <a:gd name="T0" fmla="*/ 595849688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1606565542 h 208"/>
              <a:gd name="T44" fmla="*/ 2147483647 w 166"/>
              <a:gd name="T45" fmla="*/ 1460413736 h 208"/>
              <a:gd name="T46" fmla="*/ 2147483647 w 166"/>
              <a:gd name="T47" fmla="*/ 1168386073 h 208"/>
              <a:gd name="T48" fmla="*/ 2147483647 w 166"/>
              <a:gd name="T49" fmla="*/ 730206868 h 208"/>
              <a:gd name="T50" fmla="*/ 2147483647 w 166"/>
              <a:gd name="T51" fmla="*/ 438179600 h 208"/>
              <a:gd name="T52" fmla="*/ 2147483647 w 166"/>
              <a:gd name="T53" fmla="*/ 146152398 h 208"/>
              <a:gd name="T54" fmla="*/ 2147483647 w 166"/>
              <a:gd name="T55" fmla="*/ 0 h 208"/>
              <a:gd name="T56" fmla="*/ 2147483647 w 166"/>
              <a:gd name="T57" fmla="*/ 146152398 h 208"/>
              <a:gd name="T58" fmla="*/ 2147483647 w 166"/>
              <a:gd name="T59" fmla="*/ 730206868 h 208"/>
              <a:gd name="T60" fmla="*/ 1702592646 w 166"/>
              <a:gd name="T61" fmla="*/ 1606565542 h 208"/>
              <a:gd name="T62" fmla="*/ 936445421 w 166"/>
              <a:gd name="T63" fmla="*/ 2147483647 h 208"/>
              <a:gd name="T64" fmla="*/ 595849688 w 166"/>
              <a:gd name="T65" fmla="*/ 2147483647 h 208"/>
              <a:gd name="T66" fmla="*/ 340596063 w 166"/>
              <a:gd name="T67" fmla="*/ 2147483647 h 208"/>
              <a:gd name="T68" fmla="*/ 170297812 w 166"/>
              <a:gd name="T69" fmla="*/ 2147483647 h 208"/>
              <a:gd name="T70" fmla="*/ 0 w 166"/>
              <a:gd name="T71" fmla="*/ 2147483647 h 208"/>
              <a:gd name="T72" fmla="*/ 0 w 166"/>
              <a:gd name="T73" fmla="*/ 2147483647 h 208"/>
              <a:gd name="T74" fmla="*/ 170297812 w 166"/>
              <a:gd name="T75" fmla="*/ 2147483647 h 208"/>
              <a:gd name="T76" fmla="*/ 255447185 w 166"/>
              <a:gd name="T77" fmla="*/ 2147483647 h 208"/>
              <a:gd name="T78" fmla="*/ 425744942 w 166"/>
              <a:gd name="T79" fmla="*/ 2147483647 h 208"/>
              <a:gd name="T80" fmla="*/ 851296763 w 166"/>
              <a:gd name="T81" fmla="*/ 2147483647 h 208"/>
              <a:gd name="T82" fmla="*/ 1447146011 w 166"/>
              <a:gd name="T83" fmla="*/ 2147483647 h 208"/>
              <a:gd name="T84" fmla="*/ 1872890842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28337477 w 166"/>
              <a:gd name="T103" fmla="*/ 2147483647 h 208"/>
              <a:gd name="T104" fmla="*/ 1787741524 w 166"/>
              <a:gd name="T105" fmla="*/ 2147483647 h 208"/>
              <a:gd name="T106" fmla="*/ 1447146011 w 166"/>
              <a:gd name="T107" fmla="*/ 2147483647 h 208"/>
              <a:gd name="T108" fmla="*/ 936445421 w 166"/>
              <a:gd name="T109" fmla="*/ 2147483647 h 208"/>
              <a:gd name="T110" fmla="*/ 595849688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172" name="Freeform 196"/>
          <p:cNvSpPr>
            <a:spLocks/>
          </p:cNvSpPr>
          <p:nvPr>
            <p:custDataLst>
              <p:tags r:id="rId123"/>
            </p:custDataLst>
          </p:nvPr>
        </p:nvSpPr>
        <p:spPr bwMode="auto">
          <a:xfrm>
            <a:off x="2893484" y="3046420"/>
            <a:ext cx="93133" cy="58737"/>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086136768 w 164"/>
              <a:gd name="T23" fmla="*/ 2147483647 h 104"/>
              <a:gd name="T24" fmla="*/ 1467914666 w 164"/>
              <a:gd name="T25" fmla="*/ 2147483647 h 104"/>
              <a:gd name="T26" fmla="*/ 849874217 w 164"/>
              <a:gd name="T27" fmla="*/ 2147483647 h 104"/>
              <a:gd name="T28" fmla="*/ 463485456 w 164"/>
              <a:gd name="T29" fmla="*/ 2147483647 h 104"/>
              <a:gd name="T30" fmla="*/ 231833448 w 164"/>
              <a:gd name="T31" fmla="*/ 2147483647 h 104"/>
              <a:gd name="T32" fmla="*/ 77277949 w 164"/>
              <a:gd name="T33" fmla="*/ 2147483647 h 104"/>
              <a:gd name="T34" fmla="*/ 0 w 164"/>
              <a:gd name="T35" fmla="*/ 2147483647 h 104"/>
              <a:gd name="T36" fmla="*/ 0 w 164"/>
              <a:gd name="T37" fmla="*/ 2147483647 h 104"/>
              <a:gd name="T38" fmla="*/ 0 w 164"/>
              <a:gd name="T39" fmla="*/ 2147483647 h 104"/>
              <a:gd name="T40" fmla="*/ 77277949 w 164"/>
              <a:gd name="T41" fmla="*/ 2147483647 h 104"/>
              <a:gd name="T42" fmla="*/ 231833448 w 164"/>
              <a:gd name="T43" fmla="*/ 2147483647 h 104"/>
              <a:gd name="T44" fmla="*/ 463485456 w 164"/>
              <a:gd name="T45" fmla="*/ 2147483647 h 104"/>
              <a:gd name="T46" fmla="*/ 927152352 w 164"/>
              <a:gd name="T47" fmla="*/ 2147483647 h 104"/>
              <a:gd name="T48" fmla="*/ 1545192589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1801571134 h 104"/>
              <a:gd name="T78" fmla="*/ 2147483647 w 164"/>
              <a:gd name="T79" fmla="*/ 1081007009 h 104"/>
              <a:gd name="T80" fmla="*/ 2147483647 w 164"/>
              <a:gd name="T81" fmla="*/ 0 h 104"/>
              <a:gd name="T82" fmla="*/ 2147483647 w 164"/>
              <a:gd name="T83" fmla="*/ 0 h 104"/>
              <a:gd name="T84" fmla="*/ 2147483647 w 164"/>
              <a:gd name="T85" fmla="*/ 1081007009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73" name="Freeform 197"/>
          <p:cNvSpPr>
            <a:spLocks/>
          </p:cNvSpPr>
          <p:nvPr>
            <p:custDataLst>
              <p:tags r:id="rId124"/>
            </p:custDataLst>
          </p:nvPr>
        </p:nvSpPr>
        <p:spPr bwMode="auto">
          <a:xfrm>
            <a:off x="3382438" y="5400675"/>
            <a:ext cx="31751" cy="57150"/>
          </a:xfrm>
          <a:custGeom>
            <a:avLst/>
            <a:gdLst>
              <a:gd name="T0" fmla="*/ 0 w 53"/>
              <a:gd name="T1" fmla="*/ 2147483647 h 19"/>
              <a:gd name="T2" fmla="*/ 634887870 w 53"/>
              <a:gd name="T3" fmla="*/ 2147483647 h 19"/>
              <a:gd name="T4" fmla="*/ 1269775740 w 53"/>
              <a:gd name="T5" fmla="*/ 2147483647 h 19"/>
              <a:gd name="T6" fmla="*/ 1995506360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1995506360 w 53"/>
              <a:gd name="T27" fmla="*/ 0 h 19"/>
              <a:gd name="T28" fmla="*/ 1269775740 w 53"/>
              <a:gd name="T29" fmla="*/ 2147483647 h 19"/>
              <a:gd name="T30" fmla="*/ 634887870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74" name="Freeform 198"/>
          <p:cNvSpPr>
            <a:spLocks/>
          </p:cNvSpPr>
          <p:nvPr>
            <p:custDataLst>
              <p:tags r:id="rId125"/>
            </p:custDataLst>
          </p:nvPr>
        </p:nvSpPr>
        <p:spPr bwMode="auto">
          <a:xfrm>
            <a:off x="3335871" y="5380045"/>
            <a:ext cx="46567" cy="58737"/>
          </a:xfrm>
          <a:custGeom>
            <a:avLst/>
            <a:gdLst>
              <a:gd name="T0" fmla="*/ 0 w 80"/>
              <a:gd name="T1" fmla="*/ 0 h 18"/>
              <a:gd name="T2" fmla="*/ 83286516 w 80"/>
              <a:gd name="T3" fmla="*/ 2147483647 h 18"/>
              <a:gd name="T4" fmla="*/ 416050998 w 80"/>
              <a:gd name="T5" fmla="*/ 2147483647 h 18"/>
              <a:gd name="T6" fmla="*/ 665719796 w 80"/>
              <a:gd name="T7" fmla="*/ 2147483647 h 18"/>
              <a:gd name="T8" fmla="*/ 915197707 w 80"/>
              <a:gd name="T9" fmla="*/ 2147483647 h 18"/>
              <a:gd name="T10" fmla="*/ 1247961889 w 80"/>
              <a:gd name="T11" fmla="*/ 2147483647 h 18"/>
              <a:gd name="T12" fmla="*/ 1664012777 w 80"/>
              <a:gd name="T13" fmla="*/ 2147483647 h 18"/>
              <a:gd name="T14" fmla="*/ 1830395414 w 80"/>
              <a:gd name="T15" fmla="*/ 2147483647 h 18"/>
              <a:gd name="T16" fmla="*/ 1996967955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75" name="Freeform 199"/>
          <p:cNvSpPr>
            <a:spLocks/>
          </p:cNvSpPr>
          <p:nvPr>
            <p:custDataLst>
              <p:tags r:id="rId126"/>
            </p:custDataLst>
          </p:nvPr>
        </p:nvSpPr>
        <p:spPr bwMode="auto">
          <a:xfrm>
            <a:off x="3335872" y="5359407"/>
            <a:ext cx="29633" cy="60325"/>
          </a:xfrm>
          <a:custGeom>
            <a:avLst/>
            <a:gdLst>
              <a:gd name="T0" fmla="*/ 2147483647 w 46"/>
              <a:gd name="T1" fmla="*/ 0 h 27"/>
              <a:gd name="T2" fmla="*/ 0 w 46"/>
              <a:gd name="T3" fmla="*/ 2147483647 h 27"/>
              <a:gd name="T4" fmla="*/ 1014980143 w 46"/>
              <a:gd name="T5" fmla="*/ 2147483647 h 27"/>
              <a:gd name="T6" fmla="*/ 180446019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76" name="Freeform 200"/>
          <p:cNvSpPr>
            <a:spLocks/>
          </p:cNvSpPr>
          <p:nvPr>
            <p:custDataLst>
              <p:tags r:id="rId127"/>
            </p:custDataLst>
          </p:nvPr>
        </p:nvSpPr>
        <p:spPr bwMode="auto">
          <a:xfrm>
            <a:off x="3295650" y="5353057"/>
            <a:ext cx="33867" cy="60325"/>
          </a:xfrm>
          <a:custGeom>
            <a:avLst/>
            <a:gdLst>
              <a:gd name="T0" fmla="*/ 2147483647 w 54"/>
              <a:gd name="T1" fmla="*/ 0 h 39"/>
              <a:gd name="T2" fmla="*/ 2081281997 w 54"/>
              <a:gd name="T3" fmla="*/ 2147483647 h 39"/>
              <a:gd name="T4" fmla="*/ 1040752006 w 54"/>
              <a:gd name="T5" fmla="*/ 2147483647 h 39"/>
              <a:gd name="T6" fmla="*/ 624362633 w 54"/>
              <a:gd name="T7" fmla="*/ 2147483647 h 39"/>
              <a:gd name="T8" fmla="*/ 416168181 w 54"/>
              <a:gd name="T9" fmla="*/ 2147483647 h 39"/>
              <a:gd name="T10" fmla="*/ 208194863 w 54"/>
              <a:gd name="T11" fmla="*/ 2147483647 h 39"/>
              <a:gd name="T12" fmla="*/ 0 w 54"/>
              <a:gd name="T13" fmla="*/ 2147483647 h 39"/>
              <a:gd name="T14" fmla="*/ 208194863 w 54"/>
              <a:gd name="T15" fmla="*/ 2147483647 h 39"/>
              <a:gd name="T16" fmla="*/ 312181552 w 54"/>
              <a:gd name="T17" fmla="*/ 2147483647 h 39"/>
              <a:gd name="T18" fmla="*/ 520376003 w 54"/>
              <a:gd name="T19" fmla="*/ 2147483647 h 39"/>
              <a:gd name="T20" fmla="*/ 832557437 w 54"/>
              <a:gd name="T21" fmla="*/ 2147483647 h 39"/>
              <a:gd name="T22" fmla="*/ 1144738636 w 54"/>
              <a:gd name="T23" fmla="*/ 2147483647 h 39"/>
              <a:gd name="T24" fmla="*/ 1665113933 w 54"/>
              <a:gd name="T25" fmla="*/ 2147483647 h 39"/>
              <a:gd name="T26" fmla="*/ 208128199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77" name="Freeform 201"/>
          <p:cNvSpPr>
            <a:spLocks/>
          </p:cNvSpPr>
          <p:nvPr>
            <p:custDataLst>
              <p:tags r:id="rId128"/>
            </p:custDataLst>
          </p:nvPr>
        </p:nvSpPr>
        <p:spPr bwMode="auto">
          <a:xfrm>
            <a:off x="3261787" y="5343525"/>
            <a:ext cx="38100" cy="58738"/>
          </a:xfrm>
          <a:custGeom>
            <a:avLst/>
            <a:gdLst>
              <a:gd name="T0" fmla="*/ 0 w 60"/>
              <a:gd name="T1" fmla="*/ 2147483647 h 15"/>
              <a:gd name="T2" fmla="*/ 1080315224 w 60"/>
              <a:gd name="T3" fmla="*/ 2147483647 h 15"/>
              <a:gd name="T4" fmla="*/ 1944476344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1728322717 w 60"/>
              <a:gd name="T33" fmla="*/ 2147483647 h 15"/>
              <a:gd name="T34" fmla="*/ 756198368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78" name="Freeform 202"/>
          <p:cNvSpPr>
            <a:spLocks/>
          </p:cNvSpPr>
          <p:nvPr>
            <p:custDataLst>
              <p:tags r:id="rId129"/>
            </p:custDataLst>
          </p:nvPr>
        </p:nvSpPr>
        <p:spPr bwMode="auto">
          <a:xfrm>
            <a:off x="3230033" y="5330825"/>
            <a:ext cx="44451" cy="57150"/>
          </a:xfrm>
          <a:custGeom>
            <a:avLst/>
            <a:gdLst>
              <a:gd name="T0" fmla="*/ 2147483647 w 79"/>
              <a:gd name="T1" fmla="*/ 0 h 32"/>
              <a:gd name="T2" fmla="*/ 2147483647 w 79"/>
              <a:gd name="T3" fmla="*/ 2147483647 h 32"/>
              <a:gd name="T4" fmla="*/ 2147483647 w 79"/>
              <a:gd name="T5" fmla="*/ 2147483647 h 32"/>
              <a:gd name="T6" fmla="*/ 1878786318 w 79"/>
              <a:gd name="T7" fmla="*/ 2147483647 h 32"/>
              <a:gd name="T8" fmla="*/ 1503028801 w 79"/>
              <a:gd name="T9" fmla="*/ 2147483647 h 32"/>
              <a:gd name="T10" fmla="*/ 1127271707 w 79"/>
              <a:gd name="T11" fmla="*/ 2147483647 h 32"/>
              <a:gd name="T12" fmla="*/ 751514401 w 79"/>
              <a:gd name="T13" fmla="*/ 2147483647 h 32"/>
              <a:gd name="T14" fmla="*/ 375757200 w 79"/>
              <a:gd name="T15" fmla="*/ 2147483647 h 32"/>
              <a:gd name="T16" fmla="*/ 0 w 79"/>
              <a:gd name="T17" fmla="*/ 2147483647 h 32"/>
              <a:gd name="T18" fmla="*/ 375757200 w 79"/>
              <a:gd name="T19" fmla="*/ 2147483647 h 32"/>
              <a:gd name="T20" fmla="*/ 751514401 w 79"/>
              <a:gd name="T21" fmla="*/ 2147483647 h 32"/>
              <a:gd name="T22" fmla="*/ 901817450 w 79"/>
              <a:gd name="T23" fmla="*/ 2147483647 h 32"/>
              <a:gd name="T24" fmla="*/ 1127271707 w 79"/>
              <a:gd name="T25" fmla="*/ 2147483647 h 32"/>
              <a:gd name="T26" fmla="*/ 1352725963 w 79"/>
              <a:gd name="T27" fmla="*/ 2147483647 h 32"/>
              <a:gd name="T28" fmla="*/ 1503028801 w 79"/>
              <a:gd name="T29" fmla="*/ 2147483647 h 32"/>
              <a:gd name="T30" fmla="*/ 2029089156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79" name="Freeform 203"/>
          <p:cNvSpPr>
            <a:spLocks/>
          </p:cNvSpPr>
          <p:nvPr>
            <p:custDataLst>
              <p:tags r:id="rId130"/>
            </p:custDataLst>
          </p:nvPr>
        </p:nvSpPr>
        <p:spPr bwMode="auto">
          <a:xfrm>
            <a:off x="3221572" y="5311775"/>
            <a:ext cx="40217" cy="57150"/>
          </a:xfrm>
          <a:custGeom>
            <a:avLst/>
            <a:gdLst>
              <a:gd name="T0" fmla="*/ 2147483647 w 66"/>
              <a:gd name="T1" fmla="*/ 0 h 19"/>
              <a:gd name="T2" fmla="*/ 2147483647 w 66"/>
              <a:gd name="T3" fmla="*/ 2147483647 h 19"/>
              <a:gd name="T4" fmla="*/ 1813555478 w 66"/>
              <a:gd name="T5" fmla="*/ 2147483647 h 19"/>
              <a:gd name="T6" fmla="*/ 1240853604 w 66"/>
              <a:gd name="T7" fmla="*/ 2147483647 h 19"/>
              <a:gd name="T8" fmla="*/ 859052583 w 66"/>
              <a:gd name="T9" fmla="*/ 2147483647 h 19"/>
              <a:gd name="T10" fmla="*/ 477251676 w 66"/>
              <a:gd name="T11" fmla="*/ 2147483647 h 19"/>
              <a:gd name="T12" fmla="*/ 190900682 w 66"/>
              <a:gd name="T13" fmla="*/ 2147483647 h 19"/>
              <a:gd name="T14" fmla="*/ 0 w 66"/>
              <a:gd name="T15" fmla="*/ 2147483647 h 19"/>
              <a:gd name="T16" fmla="*/ 0 w 66"/>
              <a:gd name="T17" fmla="*/ 2147483647 h 19"/>
              <a:gd name="T18" fmla="*/ 1813555478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80" name="Freeform 204"/>
          <p:cNvSpPr>
            <a:spLocks/>
          </p:cNvSpPr>
          <p:nvPr>
            <p:custDataLst>
              <p:tags r:id="rId131"/>
            </p:custDataLst>
          </p:nvPr>
        </p:nvSpPr>
        <p:spPr bwMode="auto">
          <a:xfrm>
            <a:off x="3088217" y="5002220"/>
            <a:ext cx="33867" cy="60325"/>
          </a:xfrm>
          <a:custGeom>
            <a:avLst/>
            <a:gdLst>
              <a:gd name="T0" fmla="*/ 1430881750 w 53"/>
              <a:gd name="T1" fmla="*/ 0 h 80"/>
              <a:gd name="T2" fmla="*/ 880577729 w 53"/>
              <a:gd name="T3" fmla="*/ 2143660876 h 80"/>
              <a:gd name="T4" fmla="*/ 440288865 w 53"/>
              <a:gd name="T5" fmla="*/ 2147483647 h 80"/>
              <a:gd name="T6" fmla="*/ 220029653 w 53"/>
              <a:gd name="T7" fmla="*/ 2147483647 h 80"/>
              <a:gd name="T8" fmla="*/ 110014587 w 53"/>
              <a:gd name="T9" fmla="*/ 2147483647 h 80"/>
              <a:gd name="T10" fmla="*/ 0 w 53"/>
              <a:gd name="T11" fmla="*/ 2147483647 h 80"/>
              <a:gd name="T12" fmla="*/ 0 w 53"/>
              <a:gd name="T13" fmla="*/ 2147483647 h 80"/>
              <a:gd name="T14" fmla="*/ 0 w 53"/>
              <a:gd name="T15" fmla="*/ 2147483647 h 80"/>
              <a:gd name="T16" fmla="*/ 220029653 w 53"/>
              <a:gd name="T17" fmla="*/ 2147483647 h 80"/>
              <a:gd name="T18" fmla="*/ 660318578 w 53"/>
              <a:gd name="T19" fmla="*/ 2147483647 h 80"/>
              <a:gd name="T20" fmla="*/ 990592766 w 53"/>
              <a:gd name="T21" fmla="*/ 2147483647 h 80"/>
              <a:gd name="T22" fmla="*/ 1430881750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1714928249 h 80"/>
              <a:gd name="T74" fmla="*/ 2091430605 w 53"/>
              <a:gd name="T75" fmla="*/ 428732062 h 80"/>
              <a:gd name="T76" fmla="*/ 143088175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81" name="Freeform 205"/>
          <p:cNvSpPr>
            <a:spLocks/>
          </p:cNvSpPr>
          <p:nvPr>
            <p:custDataLst>
              <p:tags r:id="rId132"/>
            </p:custDataLst>
          </p:nvPr>
        </p:nvSpPr>
        <p:spPr bwMode="auto">
          <a:xfrm>
            <a:off x="3128435" y="5097470"/>
            <a:ext cx="23284" cy="53975"/>
          </a:xfrm>
          <a:custGeom>
            <a:avLst/>
            <a:gdLst>
              <a:gd name="T0" fmla="*/ 0 w 41"/>
              <a:gd name="T1" fmla="*/ 2147483647 h 43"/>
              <a:gd name="T2" fmla="*/ 2086256130 w 41"/>
              <a:gd name="T3" fmla="*/ 2147483647 h 43"/>
              <a:gd name="T4" fmla="*/ 2147483647 w 41"/>
              <a:gd name="T5" fmla="*/ 2147483647 h 43"/>
              <a:gd name="T6" fmla="*/ 2147483647 w 41"/>
              <a:gd name="T7" fmla="*/ 2147483647 h 43"/>
              <a:gd name="T8" fmla="*/ 2147483647 w 41"/>
              <a:gd name="T9" fmla="*/ 0 h 43"/>
              <a:gd name="T10" fmla="*/ 2086256130 w 41"/>
              <a:gd name="T11" fmla="*/ 2147483647 h 43"/>
              <a:gd name="T12" fmla="*/ 1545462573 w 41"/>
              <a:gd name="T13" fmla="*/ 2147483647 h 43"/>
              <a:gd name="T14" fmla="*/ 1159051675 w 41"/>
              <a:gd name="T15" fmla="*/ 2147483647 h 43"/>
              <a:gd name="T16" fmla="*/ 772640564 w 41"/>
              <a:gd name="T17" fmla="*/ 2147483647 h 43"/>
              <a:gd name="T18" fmla="*/ 463693376 w 41"/>
              <a:gd name="T19" fmla="*/ 2147483647 h 43"/>
              <a:gd name="T20" fmla="*/ 231846475 w 41"/>
              <a:gd name="T21" fmla="*/ 2147483647 h 43"/>
              <a:gd name="T22" fmla="*/ 77282291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82" name="Freeform 206"/>
          <p:cNvSpPr>
            <a:spLocks/>
          </p:cNvSpPr>
          <p:nvPr>
            <p:custDataLst>
              <p:tags r:id="rId133"/>
            </p:custDataLst>
          </p:nvPr>
        </p:nvSpPr>
        <p:spPr bwMode="auto">
          <a:xfrm>
            <a:off x="3134789" y="5119695"/>
            <a:ext cx="10583" cy="58737"/>
          </a:xfrm>
          <a:custGeom>
            <a:avLst/>
            <a:gdLst>
              <a:gd name="T0" fmla="*/ 1249997256 w 20"/>
              <a:gd name="T1" fmla="*/ 0 h 24"/>
              <a:gd name="T2" fmla="*/ 0 w 20"/>
              <a:gd name="T3" fmla="*/ 0 h 24"/>
              <a:gd name="T4" fmla="*/ 62523322 w 20"/>
              <a:gd name="T5" fmla="*/ 2147483647 h 24"/>
              <a:gd name="T6" fmla="*/ 125047040 w 20"/>
              <a:gd name="T7" fmla="*/ 2147483647 h 24"/>
              <a:gd name="T8" fmla="*/ 249936531 w 20"/>
              <a:gd name="T9" fmla="*/ 2147483647 h 24"/>
              <a:gd name="T10" fmla="*/ 437506917 w 20"/>
              <a:gd name="T11" fmla="*/ 2147483647 h 24"/>
              <a:gd name="T12" fmla="*/ 625077601 w 20"/>
              <a:gd name="T13" fmla="*/ 2147483647 h 24"/>
              <a:gd name="T14" fmla="*/ 875013834 w 20"/>
              <a:gd name="T15" fmla="*/ 2147483647 h 24"/>
              <a:gd name="T16" fmla="*/ 1062426969 w 20"/>
              <a:gd name="T17" fmla="*/ 2147483647 h 24"/>
              <a:gd name="T18" fmla="*/ 1249997256 w 20"/>
              <a:gd name="T19" fmla="*/ 2147483647 h 24"/>
              <a:gd name="T20" fmla="*/ 1249997256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83" name="Freeform 207"/>
          <p:cNvSpPr>
            <a:spLocks/>
          </p:cNvSpPr>
          <p:nvPr>
            <p:custDataLst>
              <p:tags r:id="rId134"/>
            </p:custDataLst>
          </p:nvPr>
        </p:nvSpPr>
        <p:spPr bwMode="auto">
          <a:xfrm>
            <a:off x="3153835" y="5181607"/>
            <a:ext cx="23284" cy="60325"/>
          </a:xfrm>
          <a:custGeom>
            <a:avLst/>
            <a:gdLst>
              <a:gd name="T0" fmla="*/ 0 w 39"/>
              <a:gd name="T1" fmla="*/ 2147483647 h 43"/>
              <a:gd name="T2" fmla="*/ 179645449 w 39"/>
              <a:gd name="T3" fmla="*/ 2147483647 h 43"/>
              <a:gd name="T4" fmla="*/ 538736250 w 39"/>
              <a:gd name="T5" fmla="*/ 2147483647 h 43"/>
              <a:gd name="T6" fmla="*/ 1077271899 w 39"/>
              <a:gd name="T7" fmla="*/ 2147483647 h 43"/>
              <a:gd name="T8" fmla="*/ 1436362084 w 39"/>
              <a:gd name="T9" fmla="*/ 2147483647 h 43"/>
              <a:gd name="T10" fmla="*/ 2064920135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1705830397 w 39"/>
              <a:gd name="T27" fmla="*/ 2147483647 h 43"/>
              <a:gd name="T28" fmla="*/ 538736250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84" name="Freeform 208"/>
          <p:cNvSpPr>
            <a:spLocks/>
          </p:cNvSpPr>
          <p:nvPr>
            <p:custDataLst>
              <p:tags r:id="rId135"/>
            </p:custDataLst>
          </p:nvPr>
        </p:nvSpPr>
        <p:spPr bwMode="auto">
          <a:xfrm>
            <a:off x="3136900" y="5194300"/>
            <a:ext cx="35984" cy="58738"/>
          </a:xfrm>
          <a:custGeom>
            <a:avLst/>
            <a:gdLst>
              <a:gd name="T0" fmla="*/ 2147483647 w 55"/>
              <a:gd name="T1" fmla="*/ 2147483647 h 62"/>
              <a:gd name="T2" fmla="*/ 945292957 w 55"/>
              <a:gd name="T3" fmla="*/ 0 h 62"/>
              <a:gd name="T4" fmla="*/ 472646233 w 55"/>
              <a:gd name="T5" fmla="*/ 2147483647 h 62"/>
              <a:gd name="T6" fmla="*/ 118221668 w 55"/>
              <a:gd name="T7" fmla="*/ 2147483647 h 62"/>
              <a:gd name="T8" fmla="*/ 0 w 55"/>
              <a:gd name="T9" fmla="*/ 2147483647 h 62"/>
              <a:gd name="T10" fmla="*/ 0 w 55"/>
              <a:gd name="T11" fmla="*/ 2147483647 h 62"/>
              <a:gd name="T12" fmla="*/ 236202897 w 55"/>
              <a:gd name="T13" fmla="*/ 2147483647 h 62"/>
              <a:gd name="T14" fmla="*/ 472646233 w 55"/>
              <a:gd name="T15" fmla="*/ 2147483647 h 62"/>
              <a:gd name="T16" fmla="*/ 945292957 w 55"/>
              <a:gd name="T17" fmla="*/ 2147483647 h 62"/>
              <a:gd name="T18" fmla="*/ 1299717676 w 55"/>
              <a:gd name="T19" fmla="*/ 2147483647 h 62"/>
              <a:gd name="T20" fmla="*/ 1890344494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85" name="Freeform 209"/>
          <p:cNvSpPr>
            <a:spLocks/>
          </p:cNvSpPr>
          <p:nvPr>
            <p:custDataLst>
              <p:tags r:id="rId136"/>
            </p:custDataLst>
          </p:nvPr>
        </p:nvSpPr>
        <p:spPr bwMode="auto">
          <a:xfrm>
            <a:off x="3177117" y="5227645"/>
            <a:ext cx="14816" cy="58737"/>
          </a:xfrm>
          <a:custGeom>
            <a:avLst/>
            <a:gdLst>
              <a:gd name="T0" fmla="*/ 1056051954 w 35"/>
              <a:gd name="T1" fmla="*/ 2147483647 h 43"/>
              <a:gd name="T2" fmla="*/ 223971231 w 35"/>
              <a:gd name="T3" fmla="*/ 0 h 43"/>
              <a:gd name="T4" fmla="*/ 128012446 w 35"/>
              <a:gd name="T5" fmla="*/ 2147483647 h 43"/>
              <a:gd name="T6" fmla="*/ 0 w 35"/>
              <a:gd name="T7" fmla="*/ 2147483647 h 43"/>
              <a:gd name="T8" fmla="*/ 64006064 w 35"/>
              <a:gd name="T9" fmla="*/ 2147483647 h 43"/>
              <a:gd name="T10" fmla="*/ 159965147 w 35"/>
              <a:gd name="T11" fmla="*/ 2147483647 h 43"/>
              <a:gd name="T12" fmla="*/ 192018531 w 35"/>
              <a:gd name="T13" fmla="*/ 2147483647 h 43"/>
              <a:gd name="T14" fmla="*/ 256024893 w 35"/>
              <a:gd name="T15" fmla="*/ 2147483647 h 43"/>
              <a:gd name="T16" fmla="*/ 351983717 w 35"/>
              <a:gd name="T17" fmla="*/ 2147483647 h 43"/>
              <a:gd name="T18" fmla="*/ 448043423 w 35"/>
              <a:gd name="T19" fmla="*/ 2147483647 h 43"/>
              <a:gd name="T20" fmla="*/ 576055830 w 35"/>
              <a:gd name="T21" fmla="*/ 2147483647 h 43"/>
              <a:gd name="T22" fmla="*/ 704068395 w 35"/>
              <a:gd name="T23" fmla="*/ 2147483647 h 43"/>
              <a:gd name="T24" fmla="*/ 832080484 w 35"/>
              <a:gd name="T25" fmla="*/ 2147483647 h 43"/>
              <a:gd name="T26" fmla="*/ 896086846 w 35"/>
              <a:gd name="T27" fmla="*/ 2147483647 h 43"/>
              <a:gd name="T28" fmla="*/ 992045592 w 35"/>
              <a:gd name="T29" fmla="*/ 2147483647 h 43"/>
              <a:gd name="T30" fmla="*/ 1056051954 w 35"/>
              <a:gd name="T31" fmla="*/ 2147483647 h 43"/>
              <a:gd name="T32" fmla="*/ 1120057681 w 35"/>
              <a:gd name="T33" fmla="*/ 2147483647 h 43"/>
              <a:gd name="T34" fmla="*/ 1056051954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86" name="Freeform 210"/>
          <p:cNvSpPr>
            <a:spLocks/>
          </p:cNvSpPr>
          <p:nvPr>
            <p:custDataLst>
              <p:tags r:id="rId137"/>
            </p:custDataLst>
          </p:nvPr>
        </p:nvSpPr>
        <p:spPr bwMode="auto">
          <a:xfrm>
            <a:off x="3172887" y="5260982"/>
            <a:ext cx="27516" cy="55563"/>
          </a:xfrm>
          <a:custGeom>
            <a:avLst/>
            <a:gdLst>
              <a:gd name="T0" fmla="*/ 2147483647 w 53"/>
              <a:gd name="T1" fmla="*/ 0 h 21"/>
              <a:gd name="T2" fmla="*/ 2147483647 w 53"/>
              <a:gd name="T3" fmla="*/ 2147483647 h 21"/>
              <a:gd name="T4" fmla="*/ 1889119002 w 53"/>
              <a:gd name="T5" fmla="*/ 2147483647 h 21"/>
              <a:gd name="T6" fmla="*/ 1475817250 w 53"/>
              <a:gd name="T7" fmla="*/ 2147483647 h 21"/>
              <a:gd name="T8" fmla="*/ 1239753400 w 53"/>
              <a:gd name="T9" fmla="*/ 2147483647 h 21"/>
              <a:gd name="T10" fmla="*/ 1003537694 w 53"/>
              <a:gd name="T11" fmla="*/ 2147483647 h 21"/>
              <a:gd name="T12" fmla="*/ 767473650 w 53"/>
              <a:gd name="T13" fmla="*/ 2147483647 h 21"/>
              <a:gd name="T14" fmla="*/ 472279751 w 53"/>
              <a:gd name="T15" fmla="*/ 2147483647 h 21"/>
              <a:gd name="T16" fmla="*/ 0 w 53"/>
              <a:gd name="T17" fmla="*/ 2147483647 h 21"/>
              <a:gd name="T18" fmla="*/ 295193997 w 53"/>
              <a:gd name="T19" fmla="*/ 2147483647 h 21"/>
              <a:gd name="T20" fmla="*/ 649365797 w 53"/>
              <a:gd name="T21" fmla="*/ 2147483647 h 21"/>
              <a:gd name="T22" fmla="*/ 1003537694 w 53"/>
              <a:gd name="T23" fmla="*/ 2147483647 h 21"/>
              <a:gd name="T24" fmla="*/ 141683905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87" name="Freeform 211"/>
          <p:cNvSpPr>
            <a:spLocks/>
          </p:cNvSpPr>
          <p:nvPr>
            <p:custDataLst>
              <p:tags r:id="rId138"/>
            </p:custDataLst>
          </p:nvPr>
        </p:nvSpPr>
        <p:spPr bwMode="auto">
          <a:xfrm>
            <a:off x="3204635" y="5275263"/>
            <a:ext cx="23284" cy="57150"/>
          </a:xfrm>
          <a:custGeom>
            <a:avLst/>
            <a:gdLst>
              <a:gd name="T0" fmla="*/ 1473652907 w 43"/>
              <a:gd name="T1" fmla="*/ 0 h 38"/>
              <a:gd name="T2" fmla="*/ 803706065 w 43"/>
              <a:gd name="T3" fmla="*/ 0 h 38"/>
              <a:gd name="T4" fmla="*/ 133923344 w 43"/>
              <a:gd name="T5" fmla="*/ 0 h 38"/>
              <a:gd name="T6" fmla="*/ 66961672 w 43"/>
              <a:gd name="T7" fmla="*/ 0 h 38"/>
              <a:gd name="T8" fmla="*/ 0 w 43"/>
              <a:gd name="T9" fmla="*/ 2147483647 h 38"/>
              <a:gd name="T10" fmla="*/ 0 w 43"/>
              <a:gd name="T11" fmla="*/ 2147483647 h 38"/>
              <a:gd name="T12" fmla="*/ 0 w 43"/>
              <a:gd name="T13" fmla="*/ 2147483647 h 38"/>
              <a:gd name="T14" fmla="*/ 66961672 w 43"/>
              <a:gd name="T15" fmla="*/ 2147483647 h 38"/>
              <a:gd name="T16" fmla="*/ 133923344 w 43"/>
              <a:gd name="T17" fmla="*/ 2147483647 h 38"/>
              <a:gd name="T18" fmla="*/ 200885397 w 43"/>
              <a:gd name="T19" fmla="*/ 2147483647 h 38"/>
              <a:gd name="T20" fmla="*/ 334973624 w 43"/>
              <a:gd name="T21" fmla="*/ 2147483647 h 38"/>
              <a:gd name="T22" fmla="*/ 669782365 w 43"/>
              <a:gd name="T23" fmla="*/ 2147483647 h 38"/>
              <a:gd name="T24" fmla="*/ 1004756091 w 43"/>
              <a:gd name="T25" fmla="*/ 2147483647 h 38"/>
              <a:gd name="T26" fmla="*/ 1406526783 w 43"/>
              <a:gd name="T27" fmla="*/ 2147483647 h 38"/>
              <a:gd name="T28" fmla="*/ 1808461953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009346487 w 43"/>
              <a:gd name="T41" fmla="*/ 2147483647 h 38"/>
              <a:gd name="T42" fmla="*/ 1808461953 w 43"/>
              <a:gd name="T43" fmla="*/ 2147483647 h 38"/>
              <a:gd name="T44" fmla="*/ 1607576200 w 43"/>
              <a:gd name="T45" fmla="*/ 2147483647 h 38"/>
              <a:gd name="T46" fmla="*/ 1540614960 w 43"/>
              <a:gd name="T47" fmla="*/ 2147483647 h 38"/>
              <a:gd name="T48" fmla="*/ 147365290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88" name="Freeform 212"/>
          <p:cNvSpPr>
            <a:spLocks/>
          </p:cNvSpPr>
          <p:nvPr>
            <p:custDataLst>
              <p:tags r:id="rId139"/>
            </p:custDataLst>
          </p:nvPr>
        </p:nvSpPr>
        <p:spPr bwMode="auto">
          <a:xfrm>
            <a:off x="3206753" y="5303838"/>
            <a:ext cx="8467" cy="57150"/>
          </a:xfrm>
          <a:custGeom>
            <a:avLst/>
            <a:gdLst>
              <a:gd name="T0" fmla="*/ 0 w 20"/>
              <a:gd name="T1" fmla="*/ 0 h 5"/>
              <a:gd name="T2" fmla="*/ 32056385 w 20"/>
              <a:gd name="T3" fmla="*/ 2147483647 h 5"/>
              <a:gd name="T4" fmla="*/ 64012123 w 20"/>
              <a:gd name="T5" fmla="*/ 2147483647 h 5"/>
              <a:gd name="T6" fmla="*/ 128023928 w 20"/>
              <a:gd name="T7" fmla="*/ 2147483647 h 5"/>
              <a:gd name="T8" fmla="*/ 224092446 w 20"/>
              <a:gd name="T9" fmla="*/ 2147483647 h 5"/>
              <a:gd name="T10" fmla="*/ 352116414 w 20"/>
              <a:gd name="T11" fmla="*/ 2147483647 h 5"/>
              <a:gd name="T12" fmla="*/ 448083928 w 20"/>
              <a:gd name="T13" fmla="*/ 2147483647 h 5"/>
              <a:gd name="T14" fmla="*/ 544152089 w 20"/>
              <a:gd name="T15" fmla="*/ 2147483647 h 5"/>
              <a:gd name="T16" fmla="*/ 640119602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89" name="Freeform 213"/>
          <p:cNvSpPr>
            <a:spLocks/>
          </p:cNvSpPr>
          <p:nvPr>
            <p:custDataLst>
              <p:tags r:id="rId140"/>
            </p:custDataLst>
          </p:nvPr>
        </p:nvSpPr>
        <p:spPr bwMode="auto">
          <a:xfrm>
            <a:off x="3306238" y="5373688"/>
            <a:ext cx="46567" cy="57150"/>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1642514887 w 73"/>
              <a:gd name="T9" fmla="*/ 2147483647 h 22"/>
              <a:gd name="T10" fmla="*/ 657143502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90" name="Freeform 214"/>
          <p:cNvSpPr>
            <a:spLocks/>
          </p:cNvSpPr>
          <p:nvPr>
            <p:custDataLst>
              <p:tags r:id="rId141"/>
            </p:custDataLst>
          </p:nvPr>
        </p:nvSpPr>
        <p:spPr bwMode="auto">
          <a:xfrm>
            <a:off x="3357035" y="5314957"/>
            <a:ext cx="165100" cy="100013"/>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1540233829 w 281"/>
              <a:gd name="T23" fmla="*/ 2147483647 h 193"/>
              <a:gd name="T24" fmla="*/ 513411497 w 281"/>
              <a:gd name="T25" fmla="*/ 2147483647 h 193"/>
              <a:gd name="T26" fmla="*/ 0 w 281"/>
              <a:gd name="T27" fmla="*/ 2147483647 h 193"/>
              <a:gd name="T28" fmla="*/ 85633130 w 281"/>
              <a:gd name="T29" fmla="*/ 2147483647 h 193"/>
              <a:gd name="T30" fmla="*/ 770116915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91" name="Freeform 215"/>
          <p:cNvSpPr>
            <a:spLocks/>
          </p:cNvSpPr>
          <p:nvPr>
            <p:custDataLst>
              <p:tags r:id="rId142"/>
            </p:custDataLst>
          </p:nvPr>
        </p:nvSpPr>
        <p:spPr bwMode="auto">
          <a:xfrm>
            <a:off x="2760133" y="3081345"/>
            <a:ext cx="69851" cy="58737"/>
          </a:xfrm>
          <a:custGeom>
            <a:avLst/>
            <a:gdLst>
              <a:gd name="T0" fmla="*/ 0 w 120"/>
              <a:gd name="T1" fmla="*/ 2147483647 h 56"/>
              <a:gd name="T2" fmla="*/ 332770783 w 120"/>
              <a:gd name="T3" fmla="*/ 2147483647 h 56"/>
              <a:gd name="T4" fmla="*/ 832117902 w 120"/>
              <a:gd name="T5" fmla="*/ 2147483647 h 56"/>
              <a:gd name="T6" fmla="*/ 1248176525 w 120"/>
              <a:gd name="T7" fmla="*/ 2147483647 h 56"/>
              <a:gd name="T8" fmla="*/ 1747332755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1154045906 h 56"/>
              <a:gd name="T46" fmla="*/ 2147483647 w 120"/>
              <a:gd name="T47" fmla="*/ 2147483647 h 56"/>
              <a:gd name="T48" fmla="*/ 2147483647 w 120"/>
              <a:gd name="T49" fmla="*/ 2147483647 h 56"/>
              <a:gd name="T50" fmla="*/ 2147483647 w 120"/>
              <a:gd name="T51" fmla="*/ 2147483647 h 56"/>
              <a:gd name="T52" fmla="*/ 1997006478 w 120"/>
              <a:gd name="T53" fmla="*/ 2147483647 h 56"/>
              <a:gd name="T54" fmla="*/ 1331274350 w 120"/>
              <a:gd name="T55" fmla="*/ 2147483647 h 56"/>
              <a:gd name="T56" fmla="*/ 665732346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92" name="Freeform 216"/>
          <p:cNvSpPr>
            <a:spLocks/>
          </p:cNvSpPr>
          <p:nvPr>
            <p:custDataLst>
              <p:tags r:id="rId143"/>
            </p:custDataLst>
          </p:nvPr>
        </p:nvSpPr>
        <p:spPr bwMode="auto">
          <a:xfrm>
            <a:off x="2569638" y="2943225"/>
            <a:ext cx="334433" cy="109538"/>
          </a:xfrm>
          <a:custGeom>
            <a:avLst/>
            <a:gdLst>
              <a:gd name="T0" fmla="*/ 2147483647 w 574"/>
              <a:gd name="T1" fmla="*/ 154826077 h 204"/>
              <a:gd name="T2" fmla="*/ 2147483647 w 574"/>
              <a:gd name="T3" fmla="*/ 928955256 h 204"/>
              <a:gd name="T4" fmla="*/ 2147483647 w 574"/>
              <a:gd name="T5" fmla="*/ 2147483647 h 204"/>
              <a:gd name="T6" fmla="*/ 2147483647 w 574"/>
              <a:gd name="T7" fmla="*/ 2147483647 h 204"/>
              <a:gd name="T8" fmla="*/ 2147483647 w 574"/>
              <a:gd name="T9" fmla="*/ 2147483647 h 204"/>
              <a:gd name="T10" fmla="*/ 1335116873 w 574"/>
              <a:gd name="T11" fmla="*/ 2147483647 h 204"/>
              <a:gd name="T12" fmla="*/ 333779000 w 574"/>
              <a:gd name="T13" fmla="*/ 2147483647 h 204"/>
              <a:gd name="T14" fmla="*/ 0 w 574"/>
              <a:gd name="T15" fmla="*/ 2147483647 h 204"/>
              <a:gd name="T16" fmla="*/ 83444750 w 574"/>
              <a:gd name="T17" fmla="*/ 2147483647 h 204"/>
              <a:gd name="T18" fmla="*/ 1084782268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93" name="Freeform 217"/>
          <p:cNvSpPr>
            <a:spLocks/>
          </p:cNvSpPr>
          <p:nvPr>
            <p:custDataLst>
              <p:tags r:id="rId144"/>
            </p:custDataLst>
          </p:nvPr>
        </p:nvSpPr>
        <p:spPr bwMode="auto">
          <a:xfrm>
            <a:off x="2976036" y="3046413"/>
            <a:ext cx="118533" cy="69850"/>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063784416 h 129"/>
              <a:gd name="T42" fmla="*/ 2147483647 w 207"/>
              <a:gd name="T43" fmla="*/ 1111200619 h 129"/>
              <a:gd name="T44" fmla="*/ 2147483647 w 207"/>
              <a:gd name="T45" fmla="*/ 0 h 129"/>
              <a:gd name="T46" fmla="*/ 0 w 207"/>
              <a:gd name="T47" fmla="*/ 0 h 129"/>
              <a:gd name="T48" fmla="*/ 79126157 w 207"/>
              <a:gd name="T49" fmla="*/ 952583256 h 129"/>
              <a:gd name="T50" fmla="*/ 158436986 w 207"/>
              <a:gd name="T51" fmla="*/ 2063784416 h 129"/>
              <a:gd name="T52" fmla="*/ 316873542 w 207"/>
              <a:gd name="T53" fmla="*/ 2147483647 h 129"/>
              <a:gd name="T54" fmla="*/ 475310581 w 207"/>
              <a:gd name="T55" fmla="*/ 2147483647 h 129"/>
              <a:gd name="T56" fmla="*/ 792184016 w 207"/>
              <a:gd name="T57" fmla="*/ 2147483647 h 129"/>
              <a:gd name="T58" fmla="*/ 1029746434 w 207"/>
              <a:gd name="T59" fmla="*/ 2147483647 h 129"/>
              <a:gd name="T60" fmla="*/ 1346620298 w 207"/>
              <a:gd name="T61" fmla="*/ 2147483647 h 129"/>
              <a:gd name="T62" fmla="*/ 1425746428 w 207"/>
              <a:gd name="T63" fmla="*/ 2147483647 h 129"/>
              <a:gd name="T64" fmla="*/ 1346620298 w 207"/>
              <a:gd name="T65" fmla="*/ 2147483647 h 129"/>
              <a:gd name="T66" fmla="*/ 1109057236 w 207"/>
              <a:gd name="T67" fmla="*/ 2147483647 h 129"/>
              <a:gd name="T68" fmla="*/ 871310146 w 207"/>
              <a:gd name="T69" fmla="*/ 2147483647 h 129"/>
              <a:gd name="T70" fmla="*/ 554436712 w 207"/>
              <a:gd name="T71" fmla="*/ 2147483647 h 129"/>
              <a:gd name="T72" fmla="*/ 0 w 207"/>
              <a:gd name="T73" fmla="*/ 2147483647 h 129"/>
              <a:gd name="T74" fmla="*/ 316873542 w 207"/>
              <a:gd name="T75" fmla="*/ 2147483647 h 129"/>
              <a:gd name="T76" fmla="*/ 1029746434 w 207"/>
              <a:gd name="T77" fmla="*/ 2147483647 h 129"/>
              <a:gd name="T78" fmla="*/ 1505057230 w 207"/>
              <a:gd name="T79" fmla="*/ 2147483647 h 129"/>
              <a:gd name="T80" fmla="*/ 198036759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194" name="Freeform 218"/>
          <p:cNvSpPr>
            <a:spLocks/>
          </p:cNvSpPr>
          <p:nvPr>
            <p:custDataLst>
              <p:tags r:id="rId145"/>
            </p:custDataLst>
          </p:nvPr>
        </p:nvSpPr>
        <p:spPr bwMode="auto">
          <a:xfrm>
            <a:off x="2400301" y="3106745"/>
            <a:ext cx="44451" cy="84137"/>
          </a:xfrm>
          <a:custGeom>
            <a:avLst/>
            <a:gdLst>
              <a:gd name="T0" fmla="*/ 2147483647 w 72"/>
              <a:gd name="T1" fmla="*/ 0 h 154"/>
              <a:gd name="T2" fmla="*/ 2147483647 w 72"/>
              <a:gd name="T3" fmla="*/ 652204907 h 154"/>
              <a:gd name="T4" fmla="*/ 2147483647 w 72"/>
              <a:gd name="T5" fmla="*/ 1467684700 h 154"/>
              <a:gd name="T6" fmla="*/ 2147483647 w 72"/>
              <a:gd name="T7" fmla="*/ 2119889334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1488971222 w 72"/>
              <a:gd name="T41" fmla="*/ 2147483647 h 154"/>
              <a:gd name="T42" fmla="*/ 0 w 72"/>
              <a:gd name="T43" fmla="*/ 2147483647 h 154"/>
              <a:gd name="T44" fmla="*/ 297794453 w 72"/>
              <a:gd name="T45" fmla="*/ 2147483647 h 154"/>
              <a:gd name="T46" fmla="*/ 794118000 w 72"/>
              <a:gd name="T47" fmla="*/ 2147483647 h 154"/>
              <a:gd name="T48" fmla="*/ 893382779 w 72"/>
              <a:gd name="T49" fmla="*/ 2147483647 h 154"/>
              <a:gd name="T50" fmla="*/ 1191176885 w 72"/>
              <a:gd name="T51" fmla="*/ 2147483647 h 154"/>
              <a:gd name="T52" fmla="*/ 1488971222 w 72"/>
              <a:gd name="T53" fmla="*/ 2147483647 h 154"/>
              <a:gd name="T54" fmla="*/ 1985509498 w 72"/>
              <a:gd name="T55" fmla="*/ 2147483647 h 154"/>
              <a:gd name="T56" fmla="*/ 1985509498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195" name="Freeform 219"/>
          <p:cNvSpPr>
            <a:spLocks/>
          </p:cNvSpPr>
          <p:nvPr>
            <p:custDataLst>
              <p:tags r:id="rId146"/>
            </p:custDataLst>
          </p:nvPr>
        </p:nvSpPr>
        <p:spPr bwMode="auto">
          <a:xfrm>
            <a:off x="2294467" y="3106738"/>
            <a:ext cx="124884" cy="146050"/>
          </a:xfrm>
          <a:custGeom>
            <a:avLst/>
            <a:gdLst>
              <a:gd name="T0" fmla="*/ 670657307 w 214"/>
              <a:gd name="T1" fmla="*/ 2147483647 h 271"/>
              <a:gd name="T2" fmla="*/ 1006081703 w 214"/>
              <a:gd name="T3" fmla="*/ 2147483647 h 271"/>
              <a:gd name="T4" fmla="*/ 2012163406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469650375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196" name="Freeform 220"/>
          <p:cNvSpPr>
            <a:spLocks/>
          </p:cNvSpPr>
          <p:nvPr>
            <p:custDataLst>
              <p:tags r:id="rId147"/>
            </p:custDataLst>
          </p:nvPr>
        </p:nvSpPr>
        <p:spPr bwMode="auto">
          <a:xfrm>
            <a:off x="2357969" y="3217863"/>
            <a:ext cx="95251" cy="57150"/>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1425129167 w 153"/>
              <a:gd name="T49" fmla="*/ 2147483647 h 80"/>
              <a:gd name="T50" fmla="*/ 0 w 153"/>
              <a:gd name="T51" fmla="*/ 2147483647 h 80"/>
              <a:gd name="T52" fmla="*/ 712455325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197" name="Freeform 221"/>
          <p:cNvSpPr>
            <a:spLocks/>
          </p:cNvSpPr>
          <p:nvPr>
            <p:custDataLst>
              <p:tags r:id="rId148"/>
            </p:custDataLst>
          </p:nvPr>
        </p:nvSpPr>
        <p:spPr bwMode="auto">
          <a:xfrm>
            <a:off x="2400303" y="3179763"/>
            <a:ext cx="190500" cy="87312"/>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75724093 h 169"/>
              <a:gd name="T40" fmla="*/ 2147483647 w 332"/>
              <a:gd name="T41" fmla="*/ 137995339 h 169"/>
              <a:gd name="T42" fmla="*/ 2147483647 w 332"/>
              <a:gd name="T43" fmla="*/ 0 h 169"/>
              <a:gd name="T44" fmla="*/ 2147483647 w 332"/>
              <a:gd name="T45" fmla="*/ 137995339 h 169"/>
              <a:gd name="T46" fmla="*/ 2147483647 w 332"/>
              <a:gd name="T47" fmla="*/ 551715288 h 169"/>
              <a:gd name="T48" fmla="*/ 2147483647 w 332"/>
              <a:gd name="T49" fmla="*/ 1378886920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1833089879 w 332"/>
              <a:gd name="T63" fmla="*/ 2147483647 h 169"/>
              <a:gd name="T64" fmla="*/ 1514363844 w 332"/>
              <a:gd name="T65" fmla="*/ 2147483647 h 169"/>
              <a:gd name="T66" fmla="*/ 876727370 w 332"/>
              <a:gd name="T67" fmla="*/ 2147483647 h 169"/>
              <a:gd name="T68" fmla="*/ 557816286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198" name="Freeform 222"/>
          <p:cNvSpPr>
            <a:spLocks/>
          </p:cNvSpPr>
          <p:nvPr>
            <p:custDataLst>
              <p:tags r:id="rId149"/>
            </p:custDataLst>
          </p:nvPr>
        </p:nvSpPr>
        <p:spPr bwMode="auto">
          <a:xfrm>
            <a:off x="2423584" y="3209925"/>
            <a:ext cx="167216" cy="122238"/>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985138933 h 235"/>
              <a:gd name="T24" fmla="*/ 2147483647 w 286"/>
              <a:gd name="T25" fmla="*/ 1548190682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1854975116 w 286"/>
              <a:gd name="T55" fmla="*/ 2147483647 h 235"/>
              <a:gd name="T56" fmla="*/ 0 w 286"/>
              <a:gd name="T57" fmla="*/ 2147483647 h 235"/>
              <a:gd name="T58" fmla="*/ 1096218370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199" name="Freeform 223"/>
          <p:cNvSpPr>
            <a:spLocks/>
          </p:cNvSpPr>
          <p:nvPr>
            <p:custDataLst>
              <p:tags r:id="rId150"/>
            </p:custDataLst>
          </p:nvPr>
        </p:nvSpPr>
        <p:spPr bwMode="auto">
          <a:xfrm>
            <a:off x="2491322" y="3322638"/>
            <a:ext cx="112183" cy="100012"/>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3165756 w 205"/>
              <a:gd name="T31" fmla="*/ 2147483647 h 191"/>
              <a:gd name="T32" fmla="*/ 1797509720 w 205"/>
              <a:gd name="T33" fmla="*/ 2147483647 h 191"/>
              <a:gd name="T34" fmla="*/ 2004869194 w 205"/>
              <a:gd name="T35" fmla="*/ 2147483647 h 191"/>
              <a:gd name="T36" fmla="*/ 2147483647 w 205"/>
              <a:gd name="T37" fmla="*/ 2147483647 h 191"/>
              <a:gd name="T38" fmla="*/ 2147483647 w 205"/>
              <a:gd name="T39" fmla="*/ 2147483647 h 191"/>
              <a:gd name="T40" fmla="*/ 2147483647 w 205"/>
              <a:gd name="T41" fmla="*/ 2147483647 h 191"/>
              <a:gd name="T42" fmla="*/ 898839408 w 205"/>
              <a:gd name="T43" fmla="*/ 2147483647 h 191"/>
              <a:gd name="T44" fmla="*/ 276591994 w 205"/>
              <a:gd name="T45" fmla="*/ 2147483647 h 191"/>
              <a:gd name="T46" fmla="*/ 0 w 205"/>
              <a:gd name="T47" fmla="*/ 2147483647 h 191"/>
              <a:gd name="T48" fmla="*/ 0 w 205"/>
              <a:gd name="T49" fmla="*/ 2147483647 h 191"/>
              <a:gd name="T50" fmla="*/ 207359525 w 205"/>
              <a:gd name="T51" fmla="*/ 2147483647 h 191"/>
              <a:gd name="T52" fmla="*/ 553015304 w 205"/>
              <a:gd name="T53" fmla="*/ 2147483647 h 191"/>
              <a:gd name="T54" fmla="*/ 967903141 w 205"/>
              <a:gd name="T55" fmla="*/ 1866350564 h 191"/>
              <a:gd name="T56" fmla="*/ 1382622088 w 205"/>
              <a:gd name="T57" fmla="*/ 574135458 h 191"/>
              <a:gd name="T58" fmla="*/ 1935806282 w 205"/>
              <a:gd name="T59" fmla="*/ 0 h 191"/>
              <a:gd name="T60" fmla="*/ 2147483647 w 205"/>
              <a:gd name="T61" fmla="*/ 861477173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00" name="Freeform 224"/>
          <p:cNvSpPr>
            <a:spLocks/>
          </p:cNvSpPr>
          <p:nvPr>
            <p:custDataLst>
              <p:tags r:id="rId151"/>
            </p:custDataLst>
          </p:nvPr>
        </p:nvSpPr>
        <p:spPr bwMode="auto">
          <a:xfrm>
            <a:off x="2599267" y="3376620"/>
            <a:ext cx="190500" cy="79375"/>
          </a:xfrm>
          <a:custGeom>
            <a:avLst/>
            <a:gdLst>
              <a:gd name="T0" fmla="*/ 245733726 w 329"/>
              <a:gd name="T1" fmla="*/ 2147483647 h 154"/>
              <a:gd name="T2" fmla="*/ 0 w 329"/>
              <a:gd name="T3" fmla="*/ 2147483647 h 154"/>
              <a:gd name="T4" fmla="*/ 163885435 w 329"/>
              <a:gd name="T5" fmla="*/ 2147483647 h 154"/>
              <a:gd name="T6" fmla="*/ 1392365865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1779921303 h 154"/>
              <a:gd name="T20" fmla="*/ 2147483647 w 329"/>
              <a:gd name="T21" fmla="*/ 547790625 h 154"/>
              <a:gd name="T22" fmla="*/ 2147483647 w 329"/>
              <a:gd name="T23" fmla="*/ 0 h 154"/>
              <a:gd name="T24" fmla="*/ 2147483647 w 329"/>
              <a:gd name="T25" fmla="*/ 0 h 154"/>
              <a:gd name="T26" fmla="*/ 2147483647 w 329"/>
              <a:gd name="T27" fmla="*/ 821685809 h 154"/>
              <a:gd name="T28" fmla="*/ 2147483647 w 329"/>
              <a:gd name="T29" fmla="*/ 205381648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1801796825 w 329"/>
              <a:gd name="T95" fmla="*/ 2147483647 h 154"/>
              <a:gd name="T96" fmla="*/ 245733726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01" name="Freeform 225"/>
          <p:cNvSpPr>
            <a:spLocks/>
          </p:cNvSpPr>
          <p:nvPr>
            <p:custDataLst>
              <p:tags r:id="rId152"/>
            </p:custDataLst>
          </p:nvPr>
        </p:nvSpPr>
        <p:spPr bwMode="auto">
          <a:xfrm>
            <a:off x="3507317" y="4630745"/>
            <a:ext cx="177800" cy="155575"/>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82799885 w 306"/>
              <a:gd name="T37" fmla="*/ 2147483647 h 293"/>
              <a:gd name="T38" fmla="*/ 0 w 306"/>
              <a:gd name="T39" fmla="*/ 2147483647 h 293"/>
              <a:gd name="T40" fmla="*/ 82799885 w 306"/>
              <a:gd name="T41" fmla="*/ 2147483647 h 293"/>
              <a:gd name="T42" fmla="*/ 331009540 w 306"/>
              <a:gd name="T43" fmla="*/ 2147483647 h 293"/>
              <a:gd name="T44" fmla="*/ 910418654 w 306"/>
              <a:gd name="T45" fmla="*/ 2147483647 h 293"/>
              <a:gd name="T46" fmla="*/ 1655237591 w 306"/>
              <a:gd name="T47" fmla="*/ 1197647178 h 293"/>
              <a:gd name="T48" fmla="*/ 2147483647 w 306"/>
              <a:gd name="T49" fmla="*/ 299411795 h 293"/>
              <a:gd name="T50" fmla="*/ 2147483647 w 306"/>
              <a:gd name="T51" fmla="*/ 0 h 293"/>
              <a:gd name="T52" fmla="*/ 2147483647 w 306"/>
              <a:gd name="T53" fmla="*/ 898235251 h 293"/>
              <a:gd name="T54" fmla="*/ 2147483647 w 306"/>
              <a:gd name="T55" fmla="*/ 1047941347 h 293"/>
              <a:gd name="T56" fmla="*/ 2147483647 w 306"/>
              <a:gd name="T57" fmla="*/ 598823589 h 293"/>
              <a:gd name="T58" fmla="*/ 2147483647 w 306"/>
              <a:gd name="T59" fmla="*/ 748529686 h 293"/>
              <a:gd name="T60" fmla="*/ 2147483647 w 306"/>
              <a:gd name="T61" fmla="*/ 164676493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02" name="Freeform 226"/>
          <p:cNvSpPr>
            <a:spLocks/>
          </p:cNvSpPr>
          <p:nvPr>
            <p:custDataLst>
              <p:tags r:id="rId153"/>
            </p:custDataLst>
          </p:nvPr>
        </p:nvSpPr>
        <p:spPr bwMode="auto">
          <a:xfrm>
            <a:off x="5568955" y="1247782"/>
            <a:ext cx="315383"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10599353 h 173"/>
              <a:gd name="T18" fmla="*/ 2147483647 w 546"/>
              <a:gd name="T19" fmla="*/ 1658227055 h 173"/>
              <a:gd name="T20" fmla="*/ 2147483647 w 546"/>
              <a:gd name="T21" fmla="*/ 452372432 h 173"/>
              <a:gd name="T22" fmla="*/ 2147483647 w 546"/>
              <a:gd name="T23" fmla="*/ 753765335 h 173"/>
              <a:gd name="T24" fmla="*/ 2147483647 w 546"/>
              <a:gd name="T25" fmla="*/ 1809206584 h 173"/>
              <a:gd name="T26" fmla="*/ 2147483647 w 546"/>
              <a:gd name="T27" fmla="*/ 1055441249 h 173"/>
              <a:gd name="T28" fmla="*/ 2147483647 w 546"/>
              <a:gd name="T29" fmla="*/ 0 h 173"/>
              <a:gd name="T30" fmla="*/ 2147483647 w 546"/>
              <a:gd name="T31" fmla="*/ 1055441249 h 173"/>
              <a:gd name="T32" fmla="*/ 2147483647 w 546"/>
              <a:gd name="T33" fmla="*/ 1055441249 h 173"/>
              <a:gd name="T34" fmla="*/ 2147483647 w 546"/>
              <a:gd name="T35" fmla="*/ 150696452 h 173"/>
              <a:gd name="T36" fmla="*/ 2147483647 w 546"/>
              <a:gd name="T37" fmla="*/ 904461720 h 173"/>
              <a:gd name="T38" fmla="*/ 2147483647 w 546"/>
              <a:gd name="T39" fmla="*/ 1809206584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1300794794 w 546"/>
              <a:gd name="T95" fmla="*/ 2147483647 h 173"/>
              <a:gd name="T96" fmla="*/ 894284697 w 546"/>
              <a:gd name="T97" fmla="*/ 2147483647 h 173"/>
              <a:gd name="T98" fmla="*/ 2147483647 w 546"/>
              <a:gd name="T99" fmla="*/ 2147483647 h 173"/>
              <a:gd name="T100" fmla="*/ 2147483647 w 546"/>
              <a:gd name="T101" fmla="*/ 180920658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03" name="Freeform 227"/>
          <p:cNvSpPr>
            <a:spLocks/>
          </p:cNvSpPr>
          <p:nvPr>
            <p:custDataLst>
              <p:tags r:id="rId154"/>
            </p:custDataLst>
          </p:nvPr>
        </p:nvSpPr>
        <p:spPr bwMode="auto">
          <a:xfrm>
            <a:off x="5471584" y="1477963"/>
            <a:ext cx="599016"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1463608694 w 1037"/>
              <a:gd name="T9" fmla="*/ 2147483647 h 690"/>
              <a:gd name="T10" fmla="*/ 2147483647 w 1037"/>
              <a:gd name="T11" fmla="*/ 2147483647 h 690"/>
              <a:gd name="T12" fmla="*/ 2147483647 w 1037"/>
              <a:gd name="T13" fmla="*/ 2147483647 h 690"/>
              <a:gd name="T14" fmla="*/ 650534752 w 1037"/>
              <a:gd name="T15" fmla="*/ 2147483647 h 690"/>
              <a:gd name="T16" fmla="*/ 2147483647 w 1037"/>
              <a:gd name="T17" fmla="*/ 2147483647 h 690"/>
              <a:gd name="T18" fmla="*/ 0 w 1037"/>
              <a:gd name="T19" fmla="*/ 2147483647 h 690"/>
              <a:gd name="T20" fmla="*/ 1626335906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1876374889 h 690"/>
              <a:gd name="T70" fmla="*/ 2147483647 w 1037"/>
              <a:gd name="T71" fmla="*/ 2147483647 h 690"/>
              <a:gd name="T72" fmla="*/ 2147483647 w 1037"/>
              <a:gd name="T73" fmla="*/ 2147483647 h 690"/>
              <a:gd name="T74" fmla="*/ 2147483647 w 1037"/>
              <a:gd name="T75" fmla="*/ 1732186649 h 690"/>
              <a:gd name="T76" fmla="*/ 2147483647 w 1037"/>
              <a:gd name="T77" fmla="*/ 865955889 h 690"/>
              <a:gd name="T78" fmla="*/ 2147483647 w 1037"/>
              <a:gd name="T79" fmla="*/ 1154882899 h 690"/>
              <a:gd name="T80" fmla="*/ 2147483647 w 1037"/>
              <a:gd name="T81" fmla="*/ 1587722489 h 690"/>
              <a:gd name="T82" fmla="*/ 2147483647 w 1037"/>
              <a:gd name="T83" fmla="*/ 865955889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04" name="Freeform 228"/>
          <p:cNvSpPr>
            <a:spLocks/>
          </p:cNvSpPr>
          <p:nvPr>
            <p:custDataLst>
              <p:tags r:id="rId155"/>
            </p:custDataLst>
          </p:nvPr>
        </p:nvSpPr>
        <p:spPr bwMode="auto">
          <a:xfrm>
            <a:off x="5924551" y="2319345"/>
            <a:ext cx="65616" cy="90487"/>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1144647070 h 173"/>
              <a:gd name="T10" fmla="*/ 2147483647 w 120"/>
              <a:gd name="T11" fmla="*/ 572324058 h 173"/>
              <a:gd name="T12" fmla="*/ 2147483647 w 120"/>
              <a:gd name="T13" fmla="*/ 286161768 h 173"/>
              <a:gd name="T14" fmla="*/ 2147483647 w 120"/>
              <a:gd name="T15" fmla="*/ 143080884 h 173"/>
              <a:gd name="T16" fmla="*/ 2147483647 w 120"/>
              <a:gd name="T17" fmla="*/ 0 h 173"/>
              <a:gd name="T18" fmla="*/ 2147483647 w 120"/>
              <a:gd name="T19" fmla="*/ 0 h 173"/>
              <a:gd name="T20" fmla="*/ 1862279210 w 120"/>
              <a:gd name="T21" fmla="*/ 143080884 h 173"/>
              <a:gd name="T22" fmla="*/ 1655247250 w 120"/>
              <a:gd name="T23" fmla="*/ 429243109 h 173"/>
              <a:gd name="T24" fmla="*/ 1448383020 w 120"/>
              <a:gd name="T25" fmla="*/ 715404876 h 173"/>
              <a:gd name="T26" fmla="*/ 1310473807 w 120"/>
              <a:gd name="T27" fmla="*/ 1144647070 h 173"/>
              <a:gd name="T28" fmla="*/ 1103610397 w 120"/>
              <a:gd name="T29" fmla="*/ 1717244420 h 173"/>
              <a:gd name="T30" fmla="*/ 1034655380 w 120"/>
              <a:gd name="T31" fmla="*/ 2146487398 h 173"/>
              <a:gd name="T32" fmla="*/ 1034655380 w 120"/>
              <a:gd name="T33" fmla="*/ 2147483647 h 173"/>
              <a:gd name="T34" fmla="*/ 965533043 w 120"/>
              <a:gd name="T35" fmla="*/ 2147483647 h 173"/>
              <a:gd name="T36" fmla="*/ 827623625 w 120"/>
              <a:gd name="T37" fmla="*/ 2147483647 h 173"/>
              <a:gd name="T38" fmla="*/ 689714412 w 120"/>
              <a:gd name="T39" fmla="*/ 2147483647 h 173"/>
              <a:gd name="T40" fmla="*/ 551805199 w 120"/>
              <a:gd name="T41" fmla="*/ 2147483647 h 173"/>
              <a:gd name="T42" fmla="*/ 275818529 w 120"/>
              <a:gd name="T43" fmla="*/ 2147483647 h 173"/>
              <a:gd name="T44" fmla="*/ 0 w 120"/>
              <a:gd name="T45" fmla="*/ 2147483647 h 173"/>
              <a:gd name="T46" fmla="*/ 344941276 w 120"/>
              <a:gd name="T47" fmla="*/ 2147483647 h 173"/>
              <a:gd name="T48" fmla="*/ 689714412 w 120"/>
              <a:gd name="T49" fmla="*/ 2147483647 h 173"/>
              <a:gd name="T50" fmla="*/ 1034655380 w 120"/>
              <a:gd name="T51" fmla="*/ 2147483647 h 173"/>
              <a:gd name="T52" fmla="*/ 1379428823 w 120"/>
              <a:gd name="T53" fmla="*/ 2147483647 h 173"/>
              <a:gd name="T54" fmla="*/ 1655247250 w 120"/>
              <a:gd name="T55" fmla="*/ 2147483647 h 173"/>
              <a:gd name="T56" fmla="*/ 2069143440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05" name="Freeform 229"/>
          <p:cNvSpPr>
            <a:spLocks/>
          </p:cNvSpPr>
          <p:nvPr>
            <p:custDataLst>
              <p:tags r:id="rId156"/>
            </p:custDataLst>
          </p:nvPr>
        </p:nvSpPr>
        <p:spPr bwMode="auto">
          <a:xfrm>
            <a:off x="5535089" y="2159000"/>
            <a:ext cx="112183" cy="58738"/>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084598710 w 200"/>
              <a:gd name="T51" fmla="*/ 2147483647 h 98"/>
              <a:gd name="T52" fmla="*/ 1637911727 w 200"/>
              <a:gd name="T53" fmla="*/ 2147483647 h 98"/>
              <a:gd name="T54" fmla="*/ 1116717667 w 200"/>
              <a:gd name="T55" fmla="*/ 2147483647 h 98"/>
              <a:gd name="T56" fmla="*/ 670030474 w 200"/>
              <a:gd name="T57" fmla="*/ 2147483647 h 98"/>
              <a:gd name="T58" fmla="*/ 297850463 w 200"/>
              <a:gd name="T59" fmla="*/ 2147483647 h 98"/>
              <a:gd name="T60" fmla="*/ 74506683 w 200"/>
              <a:gd name="T61" fmla="*/ 2147483647 h 98"/>
              <a:gd name="T62" fmla="*/ 0 w 200"/>
              <a:gd name="T63" fmla="*/ 2147483647 h 98"/>
              <a:gd name="T64" fmla="*/ 372180432 w 200"/>
              <a:gd name="T65" fmla="*/ 2147483647 h 98"/>
              <a:gd name="T66" fmla="*/ 744537551 w 200"/>
              <a:gd name="T67" fmla="*/ 2147483647 h 98"/>
              <a:gd name="T68" fmla="*/ 1042387699 w 200"/>
              <a:gd name="T69" fmla="*/ 2147483647 h 98"/>
              <a:gd name="T70" fmla="*/ 1489075102 w 200"/>
              <a:gd name="T71" fmla="*/ 2147483647 h 98"/>
              <a:gd name="T72" fmla="*/ 1712418383 w 200"/>
              <a:gd name="T73" fmla="*/ 2147483647 h 98"/>
              <a:gd name="T74" fmla="*/ 2010092054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1937746237 h 98"/>
              <a:gd name="T84" fmla="*/ 2147483647 w 200"/>
              <a:gd name="T85" fmla="*/ 861101509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06" name="Freeform 230"/>
          <p:cNvSpPr>
            <a:spLocks/>
          </p:cNvSpPr>
          <p:nvPr>
            <p:custDataLst>
              <p:tags r:id="rId157"/>
            </p:custDataLst>
          </p:nvPr>
        </p:nvSpPr>
        <p:spPr bwMode="auto">
          <a:xfrm>
            <a:off x="5452533" y="1978027"/>
            <a:ext cx="112184" cy="73025"/>
          </a:xfrm>
          <a:custGeom>
            <a:avLst/>
            <a:gdLst>
              <a:gd name="T0" fmla="*/ 0 w 186"/>
              <a:gd name="T1" fmla="*/ 2147483647 h 142"/>
              <a:gd name="T2" fmla="*/ 185185472 w 186"/>
              <a:gd name="T3" fmla="*/ 2147483647 h 142"/>
              <a:gd name="T4" fmla="*/ 277676230 w 186"/>
              <a:gd name="T5" fmla="*/ 2147483647 h 142"/>
              <a:gd name="T6" fmla="*/ 277676230 w 186"/>
              <a:gd name="T7" fmla="*/ 2147483647 h 142"/>
              <a:gd name="T8" fmla="*/ 833028125 w 186"/>
              <a:gd name="T9" fmla="*/ 2147483647 h 142"/>
              <a:gd name="T10" fmla="*/ 1573565097 w 186"/>
              <a:gd name="T11" fmla="*/ 2147483647 h 142"/>
              <a:gd name="T12" fmla="*/ 1851241214 w 186"/>
              <a:gd name="T13" fmla="*/ 2147483647 h 142"/>
              <a:gd name="T14" fmla="*/ 2128917784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1904139942 h 142"/>
              <a:gd name="T42" fmla="*/ 2147483647 w 186"/>
              <a:gd name="T43" fmla="*/ 1360137867 h 142"/>
              <a:gd name="T44" fmla="*/ 2147483647 w 186"/>
              <a:gd name="T45" fmla="*/ 816135535 h 142"/>
              <a:gd name="T46" fmla="*/ 2147483647 w 186"/>
              <a:gd name="T47" fmla="*/ 408067767 h 142"/>
              <a:gd name="T48" fmla="*/ 2147483647 w 186"/>
              <a:gd name="T49" fmla="*/ 135934501 h 142"/>
              <a:gd name="T50" fmla="*/ 2147483647 w 186"/>
              <a:gd name="T51" fmla="*/ 272133331 h 142"/>
              <a:gd name="T52" fmla="*/ 2147483647 w 186"/>
              <a:gd name="T53" fmla="*/ 135934501 h 142"/>
              <a:gd name="T54" fmla="*/ 2147483647 w 186"/>
              <a:gd name="T55" fmla="*/ 136013786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740537424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07" name="Freeform 231"/>
          <p:cNvSpPr>
            <a:spLocks/>
          </p:cNvSpPr>
          <p:nvPr>
            <p:custDataLst>
              <p:tags r:id="rId158"/>
            </p:custDataLst>
          </p:nvPr>
        </p:nvSpPr>
        <p:spPr bwMode="auto">
          <a:xfrm>
            <a:off x="5427133" y="2041525"/>
            <a:ext cx="112184"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1598888367 w 192"/>
              <a:gd name="T35" fmla="*/ 2147483647 h 105"/>
              <a:gd name="T36" fmla="*/ 0 w 192"/>
              <a:gd name="T37" fmla="*/ 2147483647 h 105"/>
              <a:gd name="T38" fmla="*/ 0 w 192"/>
              <a:gd name="T39" fmla="*/ 2096243429 h 105"/>
              <a:gd name="T40" fmla="*/ 589165421 w 192"/>
              <a:gd name="T41" fmla="*/ 1128701014 h 105"/>
              <a:gd name="T42" fmla="*/ 1346554203 w 192"/>
              <a:gd name="T43" fmla="*/ 644929670 h 105"/>
              <a:gd name="T44" fmla="*/ 2147483647 w 192"/>
              <a:gd name="T45" fmla="*/ 161158123 h 105"/>
              <a:gd name="T46" fmla="*/ 2147483647 w 192"/>
              <a:gd name="T47" fmla="*/ 0 h 105"/>
              <a:gd name="T48" fmla="*/ 2147483647 w 192"/>
              <a:gd name="T49" fmla="*/ 322612881 h 105"/>
              <a:gd name="T50" fmla="*/ 2147483647 w 192"/>
              <a:gd name="T51" fmla="*/ 806087725 h 105"/>
              <a:gd name="T52" fmla="*/ 2147483647 w 192"/>
              <a:gd name="T53" fmla="*/ 1128701014 h 105"/>
              <a:gd name="T54" fmla="*/ 2147483647 w 192"/>
              <a:gd name="T55" fmla="*/ 1128701014 h 105"/>
              <a:gd name="T56" fmla="*/ 2147483647 w 192"/>
              <a:gd name="T57" fmla="*/ 1128701014 h 105"/>
              <a:gd name="T58" fmla="*/ 2147483647 w 192"/>
              <a:gd name="T59" fmla="*/ 967542415 h 105"/>
              <a:gd name="T60" fmla="*/ 2147483647 w 192"/>
              <a:gd name="T61" fmla="*/ 1773630140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08" name="Freeform 232"/>
          <p:cNvSpPr>
            <a:spLocks/>
          </p:cNvSpPr>
          <p:nvPr>
            <p:custDataLst>
              <p:tags r:id="rId159"/>
            </p:custDataLst>
          </p:nvPr>
        </p:nvSpPr>
        <p:spPr bwMode="auto">
          <a:xfrm>
            <a:off x="6441022" y="2595563"/>
            <a:ext cx="44449" cy="131762"/>
          </a:xfrm>
          <a:custGeom>
            <a:avLst/>
            <a:gdLst>
              <a:gd name="T0" fmla="*/ 2147483647 w 80"/>
              <a:gd name="T1" fmla="*/ 0 h 254"/>
              <a:gd name="T2" fmla="*/ 2147483647 w 80"/>
              <a:gd name="T3" fmla="*/ 279056416 h 254"/>
              <a:gd name="T4" fmla="*/ 2147483647 w 80"/>
              <a:gd name="T5" fmla="*/ 558381544 h 254"/>
              <a:gd name="T6" fmla="*/ 2147483647 w 80"/>
              <a:gd name="T7" fmla="*/ 977100329 h 254"/>
              <a:gd name="T8" fmla="*/ 2147483647 w 80"/>
              <a:gd name="T9" fmla="*/ 1395819374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89473499 w 80"/>
              <a:gd name="T35" fmla="*/ 2147483647 h 254"/>
              <a:gd name="T36" fmla="*/ 796008289 w 80"/>
              <a:gd name="T37" fmla="*/ 2147483647 h 254"/>
              <a:gd name="T38" fmla="*/ 1230131080 w 80"/>
              <a:gd name="T39" fmla="*/ 2147483647 h 254"/>
              <a:gd name="T40" fmla="*/ 1592016579 w 80"/>
              <a:gd name="T41" fmla="*/ 2147483647 h 254"/>
              <a:gd name="T42" fmla="*/ 2026139578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0"/>
              <a:gd name="T70" fmla="*/ 0 h 254"/>
              <a:gd name="T71" fmla="*/ 80 w 80"/>
              <a:gd name="T72" fmla="*/ 254 h 25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09" name="Freeform 233"/>
          <p:cNvSpPr>
            <a:spLocks/>
          </p:cNvSpPr>
          <p:nvPr>
            <p:custDataLst>
              <p:tags r:id="rId160"/>
            </p:custDataLst>
          </p:nvPr>
        </p:nvSpPr>
        <p:spPr bwMode="auto">
          <a:xfrm>
            <a:off x="6373284" y="2647957"/>
            <a:ext cx="93133"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22074849 w 167"/>
              <a:gd name="T49" fmla="*/ 2147483647 h 259"/>
              <a:gd name="T50" fmla="*/ 2048773366 w 167"/>
              <a:gd name="T51" fmla="*/ 2147483647 h 259"/>
              <a:gd name="T52" fmla="*/ 2048773366 w 167"/>
              <a:gd name="T53" fmla="*/ 2147483647 h 259"/>
              <a:gd name="T54" fmla="*/ 1536710731 w 167"/>
              <a:gd name="T55" fmla="*/ 2147483647 h 259"/>
              <a:gd name="T56" fmla="*/ 1170726980 w 167"/>
              <a:gd name="T57" fmla="*/ 2147483647 h 259"/>
              <a:gd name="T58" fmla="*/ 804918690 w 167"/>
              <a:gd name="T59" fmla="*/ 2147483647 h 259"/>
              <a:gd name="T60" fmla="*/ 512236841 w 167"/>
              <a:gd name="T61" fmla="*/ 2147483647 h 259"/>
              <a:gd name="T62" fmla="*/ 365808604 w 167"/>
              <a:gd name="T63" fmla="*/ 2147483647 h 259"/>
              <a:gd name="T64" fmla="*/ 146428603 w 167"/>
              <a:gd name="T65" fmla="*/ 2147483647 h 259"/>
              <a:gd name="T66" fmla="*/ 0 w 167"/>
              <a:gd name="T67" fmla="*/ 2147483647 h 259"/>
              <a:gd name="T68" fmla="*/ 0 w 167"/>
              <a:gd name="T69" fmla="*/ 2147483647 h 259"/>
              <a:gd name="T70" fmla="*/ 0 w 167"/>
              <a:gd name="T71" fmla="*/ 2147483647 h 259"/>
              <a:gd name="T72" fmla="*/ 73126675 w 167"/>
              <a:gd name="T73" fmla="*/ 2147483647 h 259"/>
              <a:gd name="T74" fmla="*/ 878045549 w 167"/>
              <a:gd name="T75" fmla="*/ 2147483647 h 259"/>
              <a:gd name="T76" fmla="*/ 1609837381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1650572485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7"/>
              <a:gd name="T154" fmla="*/ 0 h 259"/>
              <a:gd name="T155" fmla="*/ 167 w 167"/>
              <a:gd name="T156" fmla="*/ 259 h 25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10" name="Freeform 234"/>
          <p:cNvSpPr>
            <a:spLocks/>
          </p:cNvSpPr>
          <p:nvPr>
            <p:custDataLst>
              <p:tags r:id="rId161"/>
            </p:custDataLst>
          </p:nvPr>
        </p:nvSpPr>
        <p:spPr bwMode="auto">
          <a:xfrm>
            <a:off x="5041900" y="1901829"/>
            <a:ext cx="129117" cy="144463"/>
          </a:xfrm>
          <a:custGeom>
            <a:avLst/>
            <a:gdLst>
              <a:gd name="T0" fmla="*/ 2147483647 w 225"/>
              <a:gd name="T1" fmla="*/ 2147483647 h 273"/>
              <a:gd name="T2" fmla="*/ 2147483647 w 225"/>
              <a:gd name="T3" fmla="*/ 2147483647 h 273"/>
              <a:gd name="T4" fmla="*/ 2147483647 w 225"/>
              <a:gd name="T5" fmla="*/ 2147483647 h 273"/>
              <a:gd name="T6" fmla="*/ 2147483647 w 225"/>
              <a:gd name="T7" fmla="*/ 2147483647 h 273"/>
              <a:gd name="T8" fmla="*/ 2147483647 w 225"/>
              <a:gd name="T9" fmla="*/ 2147483647 h 273"/>
              <a:gd name="T10" fmla="*/ 2147483647 w 225"/>
              <a:gd name="T11" fmla="*/ 2147483647 h 273"/>
              <a:gd name="T12" fmla="*/ 2147483647 w 225"/>
              <a:gd name="T13" fmla="*/ 2147483647 h 273"/>
              <a:gd name="T14" fmla="*/ 2147483647 w 225"/>
              <a:gd name="T15" fmla="*/ 2147483647 h 273"/>
              <a:gd name="T16" fmla="*/ 2147483647 w 225"/>
              <a:gd name="T17" fmla="*/ 2147483647 h 273"/>
              <a:gd name="T18" fmla="*/ 2147483647 w 225"/>
              <a:gd name="T19" fmla="*/ 2147483647 h 273"/>
              <a:gd name="T20" fmla="*/ 2147483647 w 225"/>
              <a:gd name="T21" fmla="*/ 2147483647 h 273"/>
              <a:gd name="T22" fmla="*/ 2147483647 w 225"/>
              <a:gd name="T23" fmla="*/ 2147483647 h 273"/>
              <a:gd name="T24" fmla="*/ 2147483647 w 225"/>
              <a:gd name="T25" fmla="*/ 2147483647 h 273"/>
              <a:gd name="T26" fmla="*/ 2147483647 w 225"/>
              <a:gd name="T27" fmla="*/ 2147483647 h 273"/>
              <a:gd name="T28" fmla="*/ 2147483647 w 225"/>
              <a:gd name="T29" fmla="*/ 2147483647 h 273"/>
              <a:gd name="T30" fmla="*/ 2147483647 w 225"/>
              <a:gd name="T31" fmla="*/ 2147483647 h 273"/>
              <a:gd name="T32" fmla="*/ 2147483647 w 225"/>
              <a:gd name="T33" fmla="*/ 2147483647 h 273"/>
              <a:gd name="T34" fmla="*/ 2147483647 w 225"/>
              <a:gd name="T35" fmla="*/ 2147483647 h 273"/>
              <a:gd name="T36" fmla="*/ 2147483647 w 225"/>
              <a:gd name="T37" fmla="*/ 2147483647 h 273"/>
              <a:gd name="T38" fmla="*/ 1514678900 w 225"/>
              <a:gd name="T39" fmla="*/ 2147483647 h 273"/>
              <a:gd name="T40" fmla="*/ 0 w 225"/>
              <a:gd name="T41" fmla="*/ 2147483647 h 273"/>
              <a:gd name="T42" fmla="*/ 1674167169 w 225"/>
              <a:gd name="T43" fmla="*/ 2147483647 h 273"/>
              <a:gd name="T44" fmla="*/ 2072796599 w 225"/>
              <a:gd name="T45" fmla="*/ 2147483647 h 273"/>
              <a:gd name="T46" fmla="*/ 2147483647 w 225"/>
              <a:gd name="T47" fmla="*/ 2147483647 h 273"/>
              <a:gd name="T48" fmla="*/ 2147483647 w 225"/>
              <a:gd name="T49" fmla="*/ 2147483647 h 273"/>
              <a:gd name="T50" fmla="*/ 2147483647 w 225"/>
              <a:gd name="T51" fmla="*/ 2147483647 h 273"/>
              <a:gd name="T52" fmla="*/ 2147483647 w 225"/>
              <a:gd name="T53" fmla="*/ 2147483647 h 273"/>
              <a:gd name="T54" fmla="*/ 2147483647 w 225"/>
              <a:gd name="T55" fmla="*/ 2147483647 h 273"/>
              <a:gd name="T56" fmla="*/ 2147483647 w 225"/>
              <a:gd name="T57" fmla="*/ 2147483647 h 273"/>
              <a:gd name="T58" fmla="*/ 2147483647 w 225"/>
              <a:gd name="T59" fmla="*/ 2147483647 h 273"/>
              <a:gd name="T60" fmla="*/ 1116049900 w 225"/>
              <a:gd name="T61" fmla="*/ 2147483647 h 273"/>
              <a:gd name="T62" fmla="*/ 478280815 w 225"/>
              <a:gd name="T63" fmla="*/ 2147483647 h 273"/>
              <a:gd name="T64" fmla="*/ 1754003838 w 225"/>
              <a:gd name="T65" fmla="*/ 2147483647 h 273"/>
              <a:gd name="T66" fmla="*/ 2147483647 w 225"/>
              <a:gd name="T67" fmla="*/ 2147483647 h 273"/>
              <a:gd name="T68" fmla="*/ 2147483647 w 225"/>
              <a:gd name="T69" fmla="*/ 2147483647 h 273"/>
              <a:gd name="T70" fmla="*/ 2147483647 w 225"/>
              <a:gd name="T71" fmla="*/ 2147483647 h 273"/>
              <a:gd name="T72" fmla="*/ 2147483647 w 225"/>
              <a:gd name="T73" fmla="*/ 2147483647 h 273"/>
              <a:gd name="T74" fmla="*/ 2147483647 w 225"/>
              <a:gd name="T75" fmla="*/ 2147483647 h 273"/>
              <a:gd name="T76" fmla="*/ 2147483647 w 225"/>
              <a:gd name="T77" fmla="*/ 2147483647 h 273"/>
              <a:gd name="T78" fmla="*/ 2147483647 w 225"/>
              <a:gd name="T79" fmla="*/ 2147483647 h 273"/>
              <a:gd name="T80" fmla="*/ 2147483647 w 225"/>
              <a:gd name="T81" fmla="*/ 1037191224 h 273"/>
              <a:gd name="T82" fmla="*/ 2147483647 w 225"/>
              <a:gd name="T83" fmla="*/ 148130138 h 273"/>
              <a:gd name="T84" fmla="*/ 2147483647 w 225"/>
              <a:gd name="T85" fmla="*/ 444670806 h 273"/>
              <a:gd name="T86" fmla="*/ 2147483647 w 225"/>
              <a:gd name="T87" fmla="*/ 2147483647 h 273"/>
              <a:gd name="T88" fmla="*/ 2147483647 w 225"/>
              <a:gd name="T89" fmla="*/ 2147483647 h 273"/>
              <a:gd name="T90" fmla="*/ 2147483647 w 225"/>
              <a:gd name="T91" fmla="*/ 2147483647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25"/>
              <a:gd name="T139" fmla="*/ 0 h 273"/>
              <a:gd name="T140" fmla="*/ 225 w 225"/>
              <a:gd name="T141" fmla="*/ 273 h 27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11" name="Freeform 235"/>
          <p:cNvSpPr>
            <a:spLocks/>
          </p:cNvSpPr>
          <p:nvPr>
            <p:custDataLst>
              <p:tags r:id="rId162"/>
            </p:custDataLst>
          </p:nvPr>
        </p:nvSpPr>
        <p:spPr bwMode="auto">
          <a:xfrm>
            <a:off x="4792136" y="2813057"/>
            <a:ext cx="408517" cy="390525"/>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12" name="Freeform 236"/>
          <p:cNvSpPr>
            <a:spLocks/>
          </p:cNvSpPr>
          <p:nvPr>
            <p:custDataLst>
              <p:tags r:id="rId163"/>
            </p:custDataLst>
          </p:nvPr>
        </p:nvSpPr>
        <p:spPr bwMode="auto">
          <a:xfrm>
            <a:off x="4946656" y="2873382"/>
            <a:ext cx="552449" cy="468313"/>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1730721278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1252361669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13" name="Freeform 237"/>
          <p:cNvSpPr>
            <a:spLocks/>
          </p:cNvSpPr>
          <p:nvPr>
            <p:custDataLst>
              <p:tags r:id="rId164"/>
            </p:custDataLst>
          </p:nvPr>
        </p:nvSpPr>
        <p:spPr bwMode="auto">
          <a:xfrm>
            <a:off x="5077885" y="2479675"/>
            <a:ext cx="658283" cy="579438"/>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14" name="Freeform 238"/>
          <p:cNvSpPr>
            <a:spLocks/>
          </p:cNvSpPr>
          <p:nvPr>
            <p:custDataLst>
              <p:tags r:id="rId165"/>
            </p:custDataLst>
          </p:nvPr>
        </p:nvSpPr>
        <p:spPr bwMode="auto">
          <a:xfrm>
            <a:off x="5659972" y="2614613"/>
            <a:ext cx="512233" cy="436562"/>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885784300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590523131 h 826"/>
              <a:gd name="T46" fmla="*/ 2147483647 w 877"/>
              <a:gd name="T47" fmla="*/ 0 h 826"/>
              <a:gd name="T48" fmla="*/ 2147483647 w 877"/>
              <a:gd name="T49" fmla="*/ 885784300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1344977902 w 877"/>
              <a:gd name="T107" fmla="*/ 2147483647 h 826"/>
              <a:gd name="T108" fmla="*/ 1176879265 w 877"/>
              <a:gd name="T109" fmla="*/ 2147483647 h 826"/>
              <a:gd name="T110" fmla="*/ 1597124544 w 877"/>
              <a:gd name="T111" fmla="*/ 2147483647 h 826"/>
              <a:gd name="T112" fmla="*/ 1429026783 w 877"/>
              <a:gd name="T113" fmla="*/ 2147483647 h 826"/>
              <a:gd name="T114" fmla="*/ 336196508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15" name="Freeform 239"/>
          <p:cNvSpPr>
            <a:spLocks/>
          </p:cNvSpPr>
          <p:nvPr>
            <p:custDataLst>
              <p:tags r:id="rId166"/>
            </p:custDataLst>
          </p:nvPr>
        </p:nvSpPr>
        <p:spPr bwMode="auto">
          <a:xfrm>
            <a:off x="5596467" y="2479675"/>
            <a:ext cx="124884" cy="236538"/>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1545606979 h 455"/>
              <a:gd name="T78" fmla="*/ 2147483647 w 206"/>
              <a:gd name="T79" fmla="*/ 2147483647 h 455"/>
              <a:gd name="T80" fmla="*/ 2147483647 w 206"/>
              <a:gd name="T81" fmla="*/ 2147483647 h 455"/>
              <a:gd name="T82" fmla="*/ 2067912016 w 206"/>
              <a:gd name="T83" fmla="*/ 2147483647 h 455"/>
              <a:gd name="T84" fmla="*/ 1879788118 w 206"/>
              <a:gd name="T85" fmla="*/ 2147483647 h 455"/>
              <a:gd name="T86" fmla="*/ 1879788118 w 206"/>
              <a:gd name="T87" fmla="*/ 2147483647 h 455"/>
              <a:gd name="T88" fmla="*/ 1127913610 w 206"/>
              <a:gd name="T89" fmla="*/ 2147483647 h 455"/>
              <a:gd name="T90" fmla="*/ 751873826 w 206"/>
              <a:gd name="T91" fmla="*/ 2147483647 h 455"/>
              <a:gd name="T92" fmla="*/ 0 w 206"/>
              <a:gd name="T93" fmla="*/ 2147483647 h 455"/>
              <a:gd name="T94" fmla="*/ 2067912016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16" name="Freeform 240"/>
          <p:cNvSpPr>
            <a:spLocks/>
          </p:cNvSpPr>
          <p:nvPr>
            <p:custDataLst>
              <p:tags r:id="rId167"/>
            </p:custDataLst>
          </p:nvPr>
        </p:nvSpPr>
        <p:spPr bwMode="auto">
          <a:xfrm>
            <a:off x="4773089" y="2790825"/>
            <a:ext cx="309033" cy="215900"/>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1970812322 w 518"/>
              <a:gd name="T21" fmla="*/ 2147483647 h 406"/>
              <a:gd name="T22" fmla="*/ 447857212 w 518"/>
              <a:gd name="T23" fmla="*/ 2147483647 h 406"/>
              <a:gd name="T24" fmla="*/ 89491535 w 518"/>
              <a:gd name="T25" fmla="*/ 2147483647 h 406"/>
              <a:gd name="T26" fmla="*/ 89491535 w 518"/>
              <a:gd name="T27" fmla="*/ 2147483647 h 406"/>
              <a:gd name="T28" fmla="*/ 358365705 w 518"/>
              <a:gd name="T29" fmla="*/ 2147483647 h 406"/>
              <a:gd name="T30" fmla="*/ 985406161 w 518"/>
              <a:gd name="T31" fmla="*/ 2147483647 h 406"/>
              <a:gd name="T32" fmla="*/ 179162840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1202958809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17" name="Freeform 241"/>
          <p:cNvSpPr>
            <a:spLocks/>
          </p:cNvSpPr>
          <p:nvPr>
            <p:custDataLst>
              <p:tags r:id="rId168"/>
            </p:custDataLst>
          </p:nvPr>
        </p:nvSpPr>
        <p:spPr bwMode="auto">
          <a:xfrm>
            <a:off x="4730751" y="1598613"/>
            <a:ext cx="254000" cy="93662"/>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039751920 h 178"/>
              <a:gd name="T10" fmla="*/ 2147483647 w 446"/>
              <a:gd name="T11" fmla="*/ 0 h 178"/>
              <a:gd name="T12" fmla="*/ 2147483647 w 446"/>
              <a:gd name="T13" fmla="*/ 1456926118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1602564163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04080467 w 446"/>
              <a:gd name="T77" fmla="*/ 2147483647 h 178"/>
              <a:gd name="T78" fmla="*/ 701299717 w 446"/>
              <a:gd name="T79" fmla="*/ 2147483647 h 178"/>
              <a:gd name="T80" fmla="*/ 0 w 446"/>
              <a:gd name="T81" fmla="*/ 2147483647 h 178"/>
              <a:gd name="T82" fmla="*/ 2147483647 w 446"/>
              <a:gd name="T83" fmla="*/ 2147483647 h 178"/>
              <a:gd name="T84" fmla="*/ 2147483647 w 446"/>
              <a:gd name="T85" fmla="*/ 2147483647 h 178"/>
              <a:gd name="T86" fmla="*/ 1792290996 w 446"/>
              <a:gd name="T87" fmla="*/ 2147483647 h 178"/>
              <a:gd name="T88" fmla="*/ 1246795250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18" name="Freeform 242"/>
          <p:cNvSpPr>
            <a:spLocks/>
          </p:cNvSpPr>
          <p:nvPr>
            <p:custDataLst>
              <p:tags r:id="rId169"/>
            </p:custDataLst>
          </p:nvPr>
        </p:nvSpPr>
        <p:spPr bwMode="auto">
          <a:xfrm>
            <a:off x="5786969" y="1862138"/>
            <a:ext cx="19051" cy="57150"/>
          </a:xfrm>
          <a:custGeom>
            <a:avLst/>
            <a:gdLst>
              <a:gd name="T0" fmla="*/ 0 w 28"/>
              <a:gd name="T1" fmla="*/ 2147483647 h 73"/>
              <a:gd name="T2" fmla="*/ 265859869 w 28"/>
              <a:gd name="T3" fmla="*/ 2147483647 h 73"/>
              <a:gd name="T4" fmla="*/ 797318915 w 28"/>
              <a:gd name="T5" fmla="*/ 2147483647 h 73"/>
              <a:gd name="T6" fmla="*/ 930118695 w 28"/>
              <a:gd name="T7" fmla="*/ 2147483647 h 73"/>
              <a:gd name="T8" fmla="*/ 797318915 w 28"/>
              <a:gd name="T9" fmla="*/ 2147483647 h 73"/>
              <a:gd name="T10" fmla="*/ 531458982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1594376564 w 28"/>
              <a:gd name="T21" fmla="*/ 2147483647 h 73"/>
              <a:gd name="T22" fmla="*/ 930118695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19" name="Freeform 243"/>
          <p:cNvSpPr>
            <a:spLocks/>
          </p:cNvSpPr>
          <p:nvPr>
            <p:custDataLst>
              <p:tags r:id="rId170"/>
            </p:custDataLst>
          </p:nvPr>
        </p:nvSpPr>
        <p:spPr bwMode="auto">
          <a:xfrm>
            <a:off x="5636685" y="1525590"/>
            <a:ext cx="313267" cy="395287"/>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1212838333 w 531"/>
              <a:gd name="T53" fmla="*/ 2147483647 h 757"/>
              <a:gd name="T54" fmla="*/ 1645897443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1850866292 h 757"/>
              <a:gd name="T88" fmla="*/ 2147483647 w 531"/>
              <a:gd name="T89" fmla="*/ 711934894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20" name="Freeform 244"/>
          <p:cNvSpPr>
            <a:spLocks/>
          </p:cNvSpPr>
          <p:nvPr>
            <p:custDataLst>
              <p:tags r:id="rId171"/>
            </p:custDataLst>
          </p:nvPr>
        </p:nvSpPr>
        <p:spPr bwMode="auto">
          <a:xfrm>
            <a:off x="5820833" y="1839913"/>
            <a:ext cx="35984" cy="57150"/>
          </a:xfrm>
          <a:custGeom>
            <a:avLst/>
            <a:gdLst>
              <a:gd name="T0" fmla="*/ 0 w 60"/>
              <a:gd name="T1" fmla="*/ 2147483647 h 51"/>
              <a:gd name="T2" fmla="*/ 546061784 w 60"/>
              <a:gd name="T3" fmla="*/ 2147483647 h 51"/>
              <a:gd name="T4" fmla="*/ 1365053143 w 60"/>
              <a:gd name="T5" fmla="*/ 2147483647 h 51"/>
              <a:gd name="T6" fmla="*/ 182007070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1820070707 w 60"/>
              <a:gd name="T39" fmla="*/ 2147483647 h 51"/>
              <a:gd name="T40" fmla="*/ 1365053143 w 60"/>
              <a:gd name="T41" fmla="*/ 2147483647 h 51"/>
              <a:gd name="T42" fmla="*/ 637105779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21" name="Freeform 245"/>
          <p:cNvSpPr>
            <a:spLocks/>
          </p:cNvSpPr>
          <p:nvPr>
            <p:custDataLst>
              <p:tags r:id="rId172"/>
            </p:custDataLst>
          </p:nvPr>
        </p:nvSpPr>
        <p:spPr bwMode="auto">
          <a:xfrm>
            <a:off x="5080003" y="2001838"/>
            <a:ext cx="38100" cy="57150"/>
          </a:xfrm>
          <a:custGeom>
            <a:avLst/>
            <a:gdLst>
              <a:gd name="T0" fmla="*/ 2147483647 w 66"/>
              <a:gd name="T1" fmla="*/ 2147483647 h 51"/>
              <a:gd name="T2" fmla="*/ 2147483647 w 66"/>
              <a:gd name="T3" fmla="*/ 2147483647 h 51"/>
              <a:gd name="T4" fmla="*/ 1785457394 w 66"/>
              <a:gd name="T5" fmla="*/ 2147483647 h 51"/>
              <a:gd name="T6" fmla="*/ 1379628504 w 66"/>
              <a:gd name="T7" fmla="*/ 2147483647 h 51"/>
              <a:gd name="T8" fmla="*/ 1054966432 w 66"/>
              <a:gd name="T9" fmla="*/ 2147483647 h 51"/>
              <a:gd name="T10" fmla="*/ 811656697 w 66"/>
              <a:gd name="T11" fmla="*/ 2147483647 h 51"/>
              <a:gd name="T12" fmla="*/ 568159709 w 66"/>
              <a:gd name="T13" fmla="*/ 2147483647 h 51"/>
              <a:gd name="T14" fmla="*/ 243497096 w 66"/>
              <a:gd name="T15" fmla="*/ 2147483647 h 51"/>
              <a:gd name="T16" fmla="*/ 81165545 w 66"/>
              <a:gd name="T17" fmla="*/ 2147483647 h 51"/>
              <a:gd name="T18" fmla="*/ 0 w 66"/>
              <a:gd name="T19" fmla="*/ 2147483647 h 51"/>
              <a:gd name="T20" fmla="*/ 0 w 66"/>
              <a:gd name="T21" fmla="*/ 2147483647 h 51"/>
              <a:gd name="T22" fmla="*/ 324662614 w 66"/>
              <a:gd name="T23" fmla="*/ 2147483647 h 51"/>
              <a:gd name="T24" fmla="*/ 811656697 w 66"/>
              <a:gd name="T25" fmla="*/ 2147483647 h 51"/>
              <a:gd name="T26" fmla="*/ 1136132383 w 66"/>
              <a:gd name="T27" fmla="*/ 2147483647 h 51"/>
              <a:gd name="T28" fmla="*/ 1541960406 w 66"/>
              <a:gd name="T29" fmla="*/ 2147483647 h 51"/>
              <a:gd name="T30" fmla="*/ 2110119899 w 66"/>
              <a:gd name="T31" fmla="*/ 2147483647 h 51"/>
              <a:gd name="T32" fmla="*/ 2147483647 w 66"/>
              <a:gd name="T33" fmla="*/ 0 h 51"/>
              <a:gd name="T34" fmla="*/ 2147483647 w 66"/>
              <a:gd name="T35" fmla="*/ 1407659548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6"/>
              <a:gd name="T76" fmla="*/ 0 h 51"/>
              <a:gd name="T77" fmla="*/ 66 w 66"/>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22" name="Freeform 246"/>
          <p:cNvSpPr>
            <a:spLocks/>
          </p:cNvSpPr>
          <p:nvPr>
            <p:custDataLst>
              <p:tags r:id="rId173"/>
            </p:custDataLst>
          </p:nvPr>
        </p:nvSpPr>
        <p:spPr bwMode="auto">
          <a:xfrm>
            <a:off x="6350000" y="2530475"/>
            <a:ext cx="67733" cy="57150"/>
          </a:xfrm>
          <a:custGeom>
            <a:avLst/>
            <a:gdLst>
              <a:gd name="T0" fmla="*/ 0 w 113"/>
              <a:gd name="T1" fmla="*/ 2147483647 h 74"/>
              <a:gd name="T2" fmla="*/ 1817098876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1381958640 h 74"/>
              <a:gd name="T38" fmla="*/ 2147483647 w 113"/>
              <a:gd name="T39" fmla="*/ 0 h 74"/>
              <a:gd name="T40" fmla="*/ 2147483647 w 113"/>
              <a:gd name="T41" fmla="*/ 1842412525 h 74"/>
              <a:gd name="T42" fmla="*/ 2147483647 w 113"/>
              <a:gd name="T43" fmla="*/ 2147483647 h 74"/>
              <a:gd name="T44" fmla="*/ 2147483647 w 113"/>
              <a:gd name="T45" fmla="*/ 2147483647 h 74"/>
              <a:gd name="T46" fmla="*/ 2147483647 w 113"/>
              <a:gd name="T47" fmla="*/ 2147483647 h 74"/>
              <a:gd name="T48" fmla="*/ 1817098876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23" name="Freeform 247"/>
          <p:cNvSpPr>
            <a:spLocks/>
          </p:cNvSpPr>
          <p:nvPr>
            <p:custDataLst>
              <p:tags r:id="rId174"/>
            </p:custDataLst>
          </p:nvPr>
        </p:nvSpPr>
        <p:spPr bwMode="auto">
          <a:xfrm>
            <a:off x="5827187" y="3322645"/>
            <a:ext cx="433916" cy="244475"/>
          </a:xfrm>
          <a:custGeom>
            <a:avLst/>
            <a:gdLst>
              <a:gd name="T0" fmla="*/ 2147483647 w 746"/>
              <a:gd name="T1" fmla="*/ 2147483647 h 469"/>
              <a:gd name="T2" fmla="*/ 2147483647 w 746"/>
              <a:gd name="T3" fmla="*/ 2147483647 h 469"/>
              <a:gd name="T4" fmla="*/ 1743407754 w 746"/>
              <a:gd name="T5" fmla="*/ 2147483647 h 469"/>
              <a:gd name="T6" fmla="*/ 415060840 w 746"/>
              <a:gd name="T7" fmla="*/ 2147483647 h 469"/>
              <a:gd name="T8" fmla="*/ 0 w 746"/>
              <a:gd name="T9" fmla="*/ 2147483647 h 469"/>
              <a:gd name="T10" fmla="*/ 415060840 w 746"/>
              <a:gd name="T11" fmla="*/ 2147483647 h 469"/>
              <a:gd name="T12" fmla="*/ 1909545906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849943180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24" name="Freeform 248"/>
          <p:cNvSpPr>
            <a:spLocks/>
          </p:cNvSpPr>
          <p:nvPr>
            <p:custDataLst>
              <p:tags r:id="rId175"/>
            </p:custDataLst>
          </p:nvPr>
        </p:nvSpPr>
        <p:spPr bwMode="auto">
          <a:xfrm>
            <a:off x="5742520" y="3490913"/>
            <a:ext cx="666749" cy="552450"/>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49866353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1155229076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25" name="Freeform 249"/>
          <p:cNvSpPr>
            <a:spLocks/>
          </p:cNvSpPr>
          <p:nvPr>
            <p:custDataLst>
              <p:tags r:id="rId176"/>
            </p:custDataLst>
          </p:nvPr>
        </p:nvSpPr>
        <p:spPr bwMode="auto">
          <a:xfrm>
            <a:off x="5657853" y="3590926"/>
            <a:ext cx="74083" cy="55563"/>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614661142 w 125"/>
              <a:gd name="T25" fmla="*/ 2147483647 h 81"/>
              <a:gd name="T26" fmla="*/ 439015368 w 125"/>
              <a:gd name="T27" fmla="*/ 2147483647 h 81"/>
              <a:gd name="T28" fmla="*/ 263369705 w 125"/>
              <a:gd name="T29" fmla="*/ 2147483647 h 81"/>
              <a:gd name="T30" fmla="*/ 87723959 w 125"/>
              <a:gd name="T31" fmla="*/ 2147483647 h 81"/>
              <a:gd name="T32" fmla="*/ 0 w 125"/>
              <a:gd name="T33" fmla="*/ 2147483647 h 81"/>
              <a:gd name="T34" fmla="*/ 0 w 125"/>
              <a:gd name="T35" fmla="*/ 2147483647 h 81"/>
              <a:gd name="T36" fmla="*/ 87723959 w 125"/>
              <a:gd name="T37" fmla="*/ 2147483647 h 81"/>
              <a:gd name="T38" fmla="*/ 175645719 w 125"/>
              <a:gd name="T39" fmla="*/ 2147483647 h 81"/>
              <a:gd name="T40" fmla="*/ 351291437 w 125"/>
              <a:gd name="T41" fmla="*/ 2147483647 h 81"/>
              <a:gd name="T42" fmla="*/ 702582874 w 125"/>
              <a:gd name="T43" fmla="*/ 2147483647 h 81"/>
              <a:gd name="T44" fmla="*/ 965952246 w 125"/>
              <a:gd name="T45" fmla="*/ 2147483647 h 81"/>
              <a:gd name="T46" fmla="*/ 1229519641 w 125"/>
              <a:gd name="T47" fmla="*/ 1613969407 h 81"/>
              <a:gd name="T48" fmla="*/ 1756456185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26" name="Freeform 250"/>
          <p:cNvSpPr>
            <a:spLocks/>
          </p:cNvSpPr>
          <p:nvPr>
            <p:custDataLst>
              <p:tags r:id="rId177"/>
            </p:custDataLst>
          </p:nvPr>
        </p:nvSpPr>
        <p:spPr bwMode="auto">
          <a:xfrm>
            <a:off x="5634567" y="3590929"/>
            <a:ext cx="203200" cy="201613"/>
          </a:xfrm>
          <a:custGeom>
            <a:avLst/>
            <a:gdLst>
              <a:gd name="T0" fmla="*/ 2147483647 w 355"/>
              <a:gd name="T1" fmla="*/ 2104426998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1740664550 w 355"/>
              <a:gd name="T71" fmla="*/ 2147483647 h 388"/>
              <a:gd name="T72" fmla="*/ 395496860 w 355"/>
              <a:gd name="T73" fmla="*/ 2147483647 h 388"/>
              <a:gd name="T74" fmla="*/ 79062544 w 355"/>
              <a:gd name="T75" fmla="*/ 2147483647 h 388"/>
              <a:gd name="T76" fmla="*/ 870240406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1683488286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27" name="Freeform 251"/>
          <p:cNvSpPr>
            <a:spLocks/>
          </p:cNvSpPr>
          <p:nvPr>
            <p:custDataLst>
              <p:tags r:id="rId178"/>
            </p:custDataLst>
          </p:nvPr>
        </p:nvSpPr>
        <p:spPr bwMode="auto">
          <a:xfrm>
            <a:off x="6345768" y="3995738"/>
            <a:ext cx="347133" cy="520700"/>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432519244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28" name="Freeform 252"/>
          <p:cNvSpPr>
            <a:spLocks/>
          </p:cNvSpPr>
          <p:nvPr>
            <p:custDataLst>
              <p:tags r:id="rId179"/>
            </p:custDataLst>
          </p:nvPr>
        </p:nvSpPr>
        <p:spPr bwMode="auto">
          <a:xfrm>
            <a:off x="5992287" y="4235450"/>
            <a:ext cx="317500" cy="287338"/>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86805721 h 549"/>
              <a:gd name="T68" fmla="*/ 2147483647 w 545"/>
              <a:gd name="T69" fmla="*/ 1863826791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417127199 w 545"/>
              <a:gd name="T91" fmla="*/ 2147483647 h 549"/>
              <a:gd name="T92" fmla="*/ 83425445 w 545"/>
              <a:gd name="T93" fmla="*/ 2147483647 h 549"/>
              <a:gd name="T94" fmla="*/ 667212188 w 545"/>
              <a:gd name="T95" fmla="*/ 2147483647 h 549"/>
              <a:gd name="T96" fmla="*/ 667212188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29" name="Freeform 253"/>
          <p:cNvSpPr>
            <a:spLocks/>
          </p:cNvSpPr>
          <p:nvPr>
            <p:custDataLst>
              <p:tags r:id="rId180"/>
            </p:custDataLst>
          </p:nvPr>
        </p:nvSpPr>
        <p:spPr bwMode="auto">
          <a:xfrm>
            <a:off x="6756401" y="4037020"/>
            <a:ext cx="262467" cy="43497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991204373 w 452"/>
              <a:gd name="T89" fmla="*/ 2147483647 h 832"/>
              <a:gd name="T90" fmla="*/ 247896034 w 452"/>
              <a:gd name="T91" fmla="*/ 2147483647 h 832"/>
              <a:gd name="T92" fmla="*/ 0 w 452"/>
              <a:gd name="T93" fmla="*/ 2147483647 h 832"/>
              <a:gd name="T94" fmla="*/ 330401421 w 452"/>
              <a:gd name="T95" fmla="*/ 2147483647 h 832"/>
              <a:gd name="T96" fmla="*/ 1569502482 w 452"/>
              <a:gd name="T97" fmla="*/ 2147483647 h 832"/>
              <a:gd name="T98" fmla="*/ 908699204 w 452"/>
              <a:gd name="T99" fmla="*/ 2147483647 h 832"/>
              <a:gd name="T100" fmla="*/ 0 w 452"/>
              <a:gd name="T101" fmla="*/ 2147483647 h 832"/>
              <a:gd name="T102" fmla="*/ 413096690 w 452"/>
              <a:gd name="T103" fmla="*/ 2147483647 h 832"/>
              <a:gd name="T104" fmla="*/ 660803278 w 452"/>
              <a:gd name="T105" fmla="*/ 2147483647 h 832"/>
              <a:gd name="T106" fmla="*/ 413096690 w 452"/>
              <a:gd name="T107" fmla="*/ 2147483647 h 832"/>
              <a:gd name="T108" fmla="*/ 1486807213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30" name="Freeform 254"/>
          <p:cNvSpPr>
            <a:spLocks/>
          </p:cNvSpPr>
          <p:nvPr>
            <p:custDataLst>
              <p:tags r:id="rId181"/>
            </p:custDataLst>
          </p:nvPr>
        </p:nvSpPr>
        <p:spPr bwMode="auto">
          <a:xfrm>
            <a:off x="6324603" y="3735391"/>
            <a:ext cx="48684" cy="66675"/>
          </a:xfrm>
          <a:custGeom>
            <a:avLst/>
            <a:gdLst>
              <a:gd name="T0" fmla="*/ 2147483647 w 80"/>
              <a:gd name="T1" fmla="*/ 296258252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1235916655 w 80"/>
              <a:gd name="T21" fmla="*/ 2147483647 h 126"/>
              <a:gd name="T22" fmla="*/ 0 w 80"/>
              <a:gd name="T23" fmla="*/ 2147483647 h 126"/>
              <a:gd name="T24" fmla="*/ 665558025 w 80"/>
              <a:gd name="T25" fmla="*/ 2147483647 h 126"/>
              <a:gd name="T26" fmla="*/ 2147483647 w 80"/>
              <a:gd name="T27" fmla="*/ 2147483647 h 126"/>
              <a:gd name="T28" fmla="*/ 2147483647 w 80"/>
              <a:gd name="T29" fmla="*/ 1778110165 h 126"/>
              <a:gd name="T30" fmla="*/ 2147483647 w 80"/>
              <a:gd name="T31" fmla="*/ 740926023 h 126"/>
              <a:gd name="T32" fmla="*/ 2147483647 w 80"/>
              <a:gd name="T33" fmla="*/ 148129126 h 126"/>
              <a:gd name="T34" fmla="*/ 2147483647 w 80"/>
              <a:gd name="T35" fmla="*/ 0 h 126"/>
              <a:gd name="T36" fmla="*/ 2147483647 w 80"/>
              <a:gd name="T37" fmla="*/ 0 h 126"/>
              <a:gd name="T38" fmla="*/ 2147483647 w 80"/>
              <a:gd name="T39" fmla="*/ 148129126 h 126"/>
              <a:gd name="T40" fmla="*/ 2147483647 w 80"/>
              <a:gd name="T41" fmla="*/ 296258252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31" name="Freeform 255"/>
          <p:cNvSpPr>
            <a:spLocks/>
          </p:cNvSpPr>
          <p:nvPr>
            <p:custDataLst>
              <p:tags r:id="rId182"/>
            </p:custDataLst>
          </p:nvPr>
        </p:nvSpPr>
        <p:spPr bwMode="auto">
          <a:xfrm>
            <a:off x="6309785" y="3695706"/>
            <a:ext cx="74083" cy="60325"/>
          </a:xfrm>
          <a:custGeom>
            <a:avLst/>
            <a:gdLst>
              <a:gd name="T0" fmla="*/ 2147483647 w 124"/>
              <a:gd name="T1" fmla="*/ 0 h 117"/>
              <a:gd name="T2" fmla="*/ 2147483647 w 124"/>
              <a:gd name="T3" fmla="*/ 2056018284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069199167 w 124"/>
              <a:gd name="T35" fmla="*/ 2147483647 h 117"/>
              <a:gd name="T36" fmla="*/ 1169522010 w 124"/>
              <a:gd name="T37" fmla="*/ 2147483647 h 117"/>
              <a:gd name="T38" fmla="*/ 359791306 w 124"/>
              <a:gd name="T39" fmla="*/ 2147483647 h 117"/>
              <a:gd name="T40" fmla="*/ 0 w 124"/>
              <a:gd name="T41" fmla="*/ 2147483647 h 117"/>
              <a:gd name="T42" fmla="*/ 89947715 w 124"/>
              <a:gd name="T43" fmla="*/ 2147483647 h 117"/>
              <a:gd name="T44" fmla="*/ 179895429 w 124"/>
              <a:gd name="T45" fmla="*/ 2147483647 h 117"/>
              <a:gd name="T46" fmla="*/ 449738993 w 124"/>
              <a:gd name="T47" fmla="*/ 2147483647 h 117"/>
              <a:gd name="T48" fmla="*/ 809730591 w 124"/>
              <a:gd name="T49" fmla="*/ 2147483647 h 117"/>
              <a:gd name="T50" fmla="*/ 1529312756 w 124"/>
              <a:gd name="T51" fmla="*/ 2147483647 h 117"/>
              <a:gd name="T52" fmla="*/ 2147483647 w 124"/>
              <a:gd name="T53" fmla="*/ 2147483647 h 117"/>
              <a:gd name="T54" fmla="*/ 2147483647 w 124"/>
              <a:gd name="T55" fmla="*/ 2147483647 h 117"/>
              <a:gd name="T56" fmla="*/ 2147483647 w 124"/>
              <a:gd name="T57" fmla="*/ 1644761727 h 117"/>
              <a:gd name="T58" fmla="*/ 2147483647 w 124"/>
              <a:gd name="T59" fmla="*/ 1644761727 h 117"/>
              <a:gd name="T60" fmla="*/ 2147483647 w 124"/>
              <a:gd name="T61" fmla="*/ 1644761727 h 117"/>
              <a:gd name="T62" fmla="*/ 2147483647 w 124"/>
              <a:gd name="T63" fmla="*/ 822513888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32" name="Freeform 256"/>
          <p:cNvSpPr>
            <a:spLocks/>
          </p:cNvSpPr>
          <p:nvPr>
            <p:custDataLst>
              <p:tags r:id="rId183"/>
            </p:custDataLst>
          </p:nvPr>
        </p:nvSpPr>
        <p:spPr bwMode="auto">
          <a:xfrm>
            <a:off x="6722533" y="2395545"/>
            <a:ext cx="670984"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145331820 h 900"/>
              <a:gd name="T26" fmla="*/ 2147483647 w 1156"/>
              <a:gd name="T27" fmla="*/ 2147483647 h 900"/>
              <a:gd name="T28" fmla="*/ 2147483647 w 1156"/>
              <a:gd name="T29" fmla="*/ 2147483647 h 900"/>
              <a:gd name="T30" fmla="*/ 2147483647 w 1156"/>
              <a:gd name="T31" fmla="*/ 2147483647 h 900"/>
              <a:gd name="T32" fmla="*/ 329936036 w 1156"/>
              <a:gd name="T33" fmla="*/ 2147483647 h 900"/>
              <a:gd name="T34" fmla="*/ 412562370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33" name="Freeform 257"/>
          <p:cNvSpPr>
            <a:spLocks/>
          </p:cNvSpPr>
          <p:nvPr>
            <p:custDataLst>
              <p:tags r:id="rId184"/>
            </p:custDataLst>
          </p:nvPr>
        </p:nvSpPr>
        <p:spPr bwMode="auto">
          <a:xfrm>
            <a:off x="6754284" y="3052763"/>
            <a:ext cx="330200" cy="228600"/>
          </a:xfrm>
          <a:custGeom>
            <a:avLst/>
            <a:gdLst>
              <a:gd name="T0" fmla="*/ 2121278781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1305272380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34" name="Freeform 258"/>
          <p:cNvSpPr>
            <a:spLocks/>
          </p:cNvSpPr>
          <p:nvPr>
            <p:custDataLst>
              <p:tags r:id="rId185"/>
            </p:custDataLst>
          </p:nvPr>
        </p:nvSpPr>
        <p:spPr bwMode="auto">
          <a:xfrm>
            <a:off x="7014633" y="2827338"/>
            <a:ext cx="160867" cy="120650"/>
          </a:xfrm>
          <a:custGeom>
            <a:avLst/>
            <a:gdLst>
              <a:gd name="T0" fmla="*/ 0 w 286"/>
              <a:gd name="T1" fmla="*/ 2147483647 h 228"/>
              <a:gd name="T2" fmla="*/ 300218519 w 286"/>
              <a:gd name="T3" fmla="*/ 2147483647 h 228"/>
              <a:gd name="T4" fmla="*/ 525515951 w 286"/>
              <a:gd name="T5" fmla="*/ 2147483647 h 228"/>
              <a:gd name="T6" fmla="*/ 750813278 w 286"/>
              <a:gd name="T7" fmla="*/ 2147483647 h 228"/>
              <a:gd name="T8" fmla="*/ 825734786 w 286"/>
              <a:gd name="T9" fmla="*/ 2147483647 h 228"/>
              <a:gd name="T10" fmla="*/ 900833684 w 286"/>
              <a:gd name="T11" fmla="*/ 2147483647 h 228"/>
              <a:gd name="T12" fmla="*/ 975932793 w 286"/>
              <a:gd name="T13" fmla="*/ 2147483647 h 228"/>
              <a:gd name="T14" fmla="*/ 1051031902 w 286"/>
              <a:gd name="T15" fmla="*/ 2147483647 h 228"/>
              <a:gd name="T16" fmla="*/ 1201230120 w 286"/>
              <a:gd name="T17" fmla="*/ 2147483647 h 228"/>
              <a:gd name="T18" fmla="*/ 1426349424 w 286"/>
              <a:gd name="T19" fmla="*/ 2147483647 h 228"/>
              <a:gd name="T20" fmla="*/ 1801667368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1037184116 h 228"/>
              <a:gd name="T60" fmla="*/ 2147483647 w 286"/>
              <a:gd name="T61" fmla="*/ 1926238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35" name="Freeform 259"/>
          <p:cNvSpPr>
            <a:spLocks/>
          </p:cNvSpPr>
          <p:nvPr>
            <p:custDataLst>
              <p:tags r:id="rId186"/>
            </p:custDataLst>
          </p:nvPr>
        </p:nvSpPr>
        <p:spPr bwMode="auto">
          <a:xfrm>
            <a:off x="6597652" y="2479682"/>
            <a:ext cx="296333"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1563049890 h 505"/>
              <a:gd name="T46" fmla="*/ 2147483647 w 524"/>
              <a:gd name="T47" fmla="*/ 852597360 h 505"/>
              <a:gd name="T48" fmla="*/ 2147483647 w 524"/>
              <a:gd name="T49" fmla="*/ 426162743 h 505"/>
              <a:gd name="T50" fmla="*/ 2147483647 w 524"/>
              <a:gd name="T51" fmla="*/ 1136886756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991944974 w 524"/>
              <a:gd name="T71" fmla="*/ 2147483647 h 505"/>
              <a:gd name="T72" fmla="*/ 152551703 w 524"/>
              <a:gd name="T73" fmla="*/ 2147483647 h 505"/>
              <a:gd name="T74" fmla="*/ 152551703 w 524"/>
              <a:gd name="T75" fmla="*/ 2147483647 h 505"/>
              <a:gd name="T76" fmla="*/ 0 w 524"/>
              <a:gd name="T77" fmla="*/ 2147483647 h 505"/>
              <a:gd name="T78" fmla="*/ 0 w 524"/>
              <a:gd name="T79" fmla="*/ 2147483647 h 505"/>
              <a:gd name="T80" fmla="*/ 534110400 w 524"/>
              <a:gd name="T81" fmla="*/ 2147483647 h 505"/>
              <a:gd name="T82" fmla="*/ 1983889949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36" name="Freeform 260"/>
          <p:cNvSpPr>
            <a:spLocks/>
          </p:cNvSpPr>
          <p:nvPr>
            <p:custDataLst>
              <p:tags r:id="rId187"/>
            </p:custDataLst>
          </p:nvPr>
        </p:nvSpPr>
        <p:spPr bwMode="auto">
          <a:xfrm>
            <a:off x="7264400" y="2439988"/>
            <a:ext cx="442384" cy="290512"/>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573744983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1556113451 w 764"/>
              <a:gd name="T115" fmla="*/ 2147483647 h 555"/>
              <a:gd name="T116" fmla="*/ 819076392 w 764"/>
              <a:gd name="T117" fmla="*/ 2147483647 h 555"/>
              <a:gd name="T118" fmla="*/ 0 w 764"/>
              <a:gd name="T119" fmla="*/ 2147483647 h 555"/>
              <a:gd name="T120" fmla="*/ 163890680 w 764"/>
              <a:gd name="T121" fmla="*/ 2147483647 h 555"/>
              <a:gd name="T122" fmla="*/ 1801854500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37" name="Freeform 261"/>
          <p:cNvSpPr>
            <a:spLocks/>
          </p:cNvSpPr>
          <p:nvPr>
            <p:custDataLst>
              <p:tags r:id="rId188"/>
            </p:custDataLst>
          </p:nvPr>
        </p:nvSpPr>
        <p:spPr bwMode="auto">
          <a:xfrm>
            <a:off x="7306738" y="2489207"/>
            <a:ext cx="486833" cy="423863"/>
          </a:xfrm>
          <a:custGeom>
            <a:avLst/>
            <a:gdLst>
              <a:gd name="T0" fmla="*/ 2147483647 w 831"/>
              <a:gd name="T1" fmla="*/ 2147483647 h 812"/>
              <a:gd name="T2" fmla="*/ 2147483647 w 831"/>
              <a:gd name="T3" fmla="*/ 2147483647 h 812"/>
              <a:gd name="T4" fmla="*/ 2147483647 w 831"/>
              <a:gd name="T5" fmla="*/ 142236008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38" name="Freeform 262"/>
          <p:cNvSpPr>
            <a:spLocks/>
          </p:cNvSpPr>
          <p:nvPr>
            <p:custDataLst>
              <p:tags r:id="rId189"/>
            </p:custDataLst>
          </p:nvPr>
        </p:nvSpPr>
        <p:spPr bwMode="auto">
          <a:xfrm>
            <a:off x="8360838" y="2757495"/>
            <a:ext cx="294217" cy="585787"/>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667494708 w 505"/>
              <a:gd name="T33" fmla="*/ 2147483647 h 1121"/>
              <a:gd name="T34" fmla="*/ 1918856145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39" name="Freeform 263"/>
          <p:cNvSpPr>
            <a:spLocks/>
          </p:cNvSpPr>
          <p:nvPr>
            <p:custDataLst>
              <p:tags r:id="rId190"/>
            </p:custDataLst>
          </p:nvPr>
        </p:nvSpPr>
        <p:spPr bwMode="auto">
          <a:xfrm>
            <a:off x="4792138" y="3267075"/>
            <a:ext cx="107951" cy="58738"/>
          </a:xfrm>
          <a:custGeom>
            <a:avLst/>
            <a:gdLst>
              <a:gd name="T0" fmla="*/ 2147483647 w 180"/>
              <a:gd name="T1" fmla="*/ 1009686803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1637942556 w 180"/>
              <a:gd name="T43" fmla="*/ 2147483647 h 112"/>
              <a:gd name="T44" fmla="*/ 0 w 180"/>
              <a:gd name="T45" fmla="*/ 2147483647 h 112"/>
              <a:gd name="T46" fmla="*/ 2147483647 w 180"/>
              <a:gd name="T47" fmla="*/ 2019373605 h 112"/>
              <a:gd name="T48" fmla="*/ 2147483647 w 180"/>
              <a:gd name="T49" fmla="*/ 1298207518 h 112"/>
              <a:gd name="T50" fmla="*/ 2147483647 w 180"/>
              <a:gd name="T51" fmla="*/ 721165825 h 112"/>
              <a:gd name="T52" fmla="*/ 2147483647 w 180"/>
              <a:gd name="T53" fmla="*/ 432644192 h 112"/>
              <a:gd name="T54" fmla="*/ 2147483647 w 180"/>
              <a:gd name="T55" fmla="*/ 144123149 h 112"/>
              <a:gd name="T56" fmla="*/ 2147483647 w 180"/>
              <a:gd name="T57" fmla="*/ 0 h 112"/>
              <a:gd name="T58" fmla="*/ 2147483647 w 180"/>
              <a:gd name="T59" fmla="*/ 144123149 h 112"/>
              <a:gd name="T60" fmla="*/ 2147483647 w 180"/>
              <a:gd name="T61" fmla="*/ 432644192 h 112"/>
              <a:gd name="T62" fmla="*/ 2147483647 w 180"/>
              <a:gd name="T63" fmla="*/ 1009686803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40" name="Freeform 264"/>
          <p:cNvSpPr>
            <a:spLocks/>
          </p:cNvSpPr>
          <p:nvPr>
            <p:custDataLst>
              <p:tags r:id="rId191"/>
            </p:custDataLst>
          </p:nvPr>
        </p:nvSpPr>
        <p:spPr bwMode="auto">
          <a:xfrm>
            <a:off x="4904317" y="3349632"/>
            <a:ext cx="99483" cy="100013"/>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1696132950 h 192"/>
              <a:gd name="T10" fmla="*/ 2147483647 w 173"/>
              <a:gd name="T11" fmla="*/ 1130664837 h 192"/>
              <a:gd name="T12" fmla="*/ 2147483647 w 173"/>
              <a:gd name="T13" fmla="*/ 847931041 h 192"/>
              <a:gd name="T14" fmla="*/ 2147483647 w 173"/>
              <a:gd name="T15" fmla="*/ 424100955 h 192"/>
              <a:gd name="T16" fmla="*/ 2147483647 w 173"/>
              <a:gd name="T17" fmla="*/ 282734187 h 192"/>
              <a:gd name="T18" fmla="*/ 2147483647 w 173"/>
              <a:gd name="T19" fmla="*/ 141366833 h 192"/>
              <a:gd name="T20" fmla="*/ 2147483647 w 173"/>
              <a:gd name="T21" fmla="*/ 0 h 192"/>
              <a:gd name="T22" fmla="*/ 2147483647 w 173"/>
              <a:gd name="T23" fmla="*/ 141366833 h 192"/>
              <a:gd name="T24" fmla="*/ 2147483647 w 173"/>
              <a:gd name="T25" fmla="*/ 282734187 h 192"/>
              <a:gd name="T26" fmla="*/ 2147483647 w 173"/>
              <a:gd name="T27" fmla="*/ 706835142 h 192"/>
              <a:gd name="T28" fmla="*/ 2147483647 w 173"/>
              <a:gd name="T29" fmla="*/ 1130664837 h 192"/>
              <a:gd name="T30" fmla="*/ 2147483647 w 173"/>
              <a:gd name="T31" fmla="*/ 1837500239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1764816852 w 173"/>
              <a:gd name="T79" fmla="*/ 2147483647 h 192"/>
              <a:gd name="T80" fmla="*/ 1283622239 w 173"/>
              <a:gd name="T81" fmla="*/ 2147483647 h 192"/>
              <a:gd name="T82" fmla="*/ 722072470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41" name="Freeform 265"/>
          <p:cNvSpPr>
            <a:spLocks/>
          </p:cNvSpPr>
          <p:nvPr>
            <p:custDataLst>
              <p:tags r:id="rId192"/>
            </p:custDataLst>
          </p:nvPr>
        </p:nvSpPr>
        <p:spPr bwMode="auto">
          <a:xfrm>
            <a:off x="4961467" y="3400432"/>
            <a:ext cx="139700" cy="131763"/>
          </a:xfrm>
          <a:custGeom>
            <a:avLst/>
            <a:gdLst>
              <a:gd name="T0" fmla="*/ 2147483647 w 233"/>
              <a:gd name="T1" fmla="*/ 0 h 252"/>
              <a:gd name="T2" fmla="*/ 2147483647 w 233"/>
              <a:gd name="T3" fmla="*/ 285968124 h 252"/>
              <a:gd name="T4" fmla="*/ 2147483647 w 233"/>
              <a:gd name="T5" fmla="*/ 428952382 h 252"/>
              <a:gd name="T6" fmla="*/ 2147483647 w 233"/>
              <a:gd name="T7" fmla="*/ 428952382 h 252"/>
              <a:gd name="T8" fmla="*/ 2147483647 w 233"/>
              <a:gd name="T9" fmla="*/ 285968124 h 252"/>
              <a:gd name="T10" fmla="*/ 2147483647 w 233"/>
              <a:gd name="T11" fmla="*/ 142984323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1545898061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001229031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42" name="Freeform 266"/>
          <p:cNvSpPr>
            <a:spLocks/>
          </p:cNvSpPr>
          <p:nvPr>
            <p:custDataLst>
              <p:tags r:id="rId193"/>
            </p:custDataLst>
          </p:nvPr>
        </p:nvSpPr>
        <p:spPr bwMode="auto">
          <a:xfrm>
            <a:off x="5247219" y="3319463"/>
            <a:ext cx="139700" cy="201612"/>
          </a:xfrm>
          <a:custGeom>
            <a:avLst/>
            <a:gdLst>
              <a:gd name="T0" fmla="*/ 1004429547 w 246"/>
              <a:gd name="T1" fmla="*/ 2147483647 h 380"/>
              <a:gd name="T2" fmla="*/ 1081707479 w 246"/>
              <a:gd name="T3" fmla="*/ 2147483647 h 380"/>
              <a:gd name="T4" fmla="*/ 1158985412 w 246"/>
              <a:gd name="T5" fmla="*/ 2147483647 h 380"/>
              <a:gd name="T6" fmla="*/ 1390637768 w 246"/>
              <a:gd name="T7" fmla="*/ 2147483647 h 380"/>
              <a:gd name="T8" fmla="*/ 1545192780 w 246"/>
              <a:gd name="T9" fmla="*/ 2147483647 h 380"/>
              <a:gd name="T10" fmla="*/ 1931581163 w 246"/>
              <a:gd name="T11" fmla="*/ 2147483647 h 380"/>
              <a:gd name="T12" fmla="*/ 2008859095 w 246"/>
              <a:gd name="T13" fmla="*/ 2147483647 h 380"/>
              <a:gd name="T14" fmla="*/ 1931581163 w 246"/>
              <a:gd name="T15" fmla="*/ 2147483647 h 380"/>
              <a:gd name="T16" fmla="*/ 1777026576 w 246"/>
              <a:gd name="T17" fmla="*/ 2147483647 h 380"/>
              <a:gd name="T18" fmla="*/ 1467914848 w 246"/>
              <a:gd name="T19" fmla="*/ 2147483647 h 380"/>
              <a:gd name="T20" fmla="*/ 1004429547 w 246"/>
              <a:gd name="T21" fmla="*/ 2147483647 h 380"/>
              <a:gd name="T22" fmla="*/ 695318884 w 246"/>
              <a:gd name="T23" fmla="*/ 2147483647 h 380"/>
              <a:gd name="T24" fmla="*/ 309111409 w 246"/>
              <a:gd name="T25" fmla="*/ 2147483647 h 380"/>
              <a:gd name="T26" fmla="*/ 77277959 w 246"/>
              <a:gd name="T27" fmla="*/ 2147483647 h 380"/>
              <a:gd name="T28" fmla="*/ 0 w 246"/>
              <a:gd name="T29" fmla="*/ 2147483647 h 380"/>
              <a:gd name="T30" fmla="*/ 77277959 w 246"/>
              <a:gd name="T31" fmla="*/ 2147483647 h 380"/>
              <a:gd name="T32" fmla="*/ 154555491 w 246"/>
              <a:gd name="T33" fmla="*/ 2147483647 h 380"/>
              <a:gd name="T34" fmla="*/ 231833477 w 246"/>
              <a:gd name="T35" fmla="*/ 2147483647 h 380"/>
              <a:gd name="T36" fmla="*/ 463485514 w 246"/>
              <a:gd name="T37" fmla="*/ 2147483647 h 380"/>
              <a:gd name="T38" fmla="*/ 849874322 w 246"/>
              <a:gd name="T39" fmla="*/ 2147483647 h 380"/>
              <a:gd name="T40" fmla="*/ 1467914848 w 246"/>
              <a:gd name="T41" fmla="*/ 2147483647 h 380"/>
              <a:gd name="T42" fmla="*/ 2008859095 w 246"/>
              <a:gd name="T43" fmla="*/ 2147483647 h 380"/>
              <a:gd name="T44" fmla="*/ 2147483647 w 246"/>
              <a:gd name="T45" fmla="*/ 2147483647 h 380"/>
              <a:gd name="T46" fmla="*/ 2147483647 w 246"/>
              <a:gd name="T47" fmla="*/ 2147483647 h 380"/>
              <a:gd name="T48" fmla="*/ 2147483647 w 246"/>
              <a:gd name="T49" fmla="*/ 2147483647 h 380"/>
              <a:gd name="T50" fmla="*/ 2008859095 w 246"/>
              <a:gd name="T51" fmla="*/ 2147483647 h 380"/>
              <a:gd name="T52" fmla="*/ 2008859095 w 246"/>
              <a:gd name="T53" fmla="*/ 2147483647 h 380"/>
              <a:gd name="T54" fmla="*/ 1854303231 w 246"/>
              <a:gd name="T55" fmla="*/ 2147483647 h 380"/>
              <a:gd name="T56" fmla="*/ 1854303231 w 246"/>
              <a:gd name="T57" fmla="*/ 2147483647 h 380"/>
              <a:gd name="T58" fmla="*/ 1854303231 w 246"/>
              <a:gd name="T59" fmla="*/ 2147483647 h 380"/>
              <a:gd name="T60" fmla="*/ 1931581163 w 246"/>
              <a:gd name="T61" fmla="*/ 1194650992 h 380"/>
              <a:gd name="T62" fmla="*/ 2008859095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1931581163 w 246"/>
              <a:gd name="T117" fmla="*/ 2147483647 h 380"/>
              <a:gd name="T118" fmla="*/ 1545192780 w 246"/>
              <a:gd name="T119" fmla="*/ 2147483647 h 380"/>
              <a:gd name="T120" fmla="*/ 10044295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43" name="Freeform 267"/>
          <p:cNvSpPr>
            <a:spLocks/>
          </p:cNvSpPr>
          <p:nvPr>
            <p:custDataLst>
              <p:tags r:id="rId194"/>
            </p:custDataLst>
          </p:nvPr>
        </p:nvSpPr>
        <p:spPr bwMode="auto">
          <a:xfrm>
            <a:off x="4783672" y="3235325"/>
            <a:ext cx="116417" cy="58738"/>
          </a:xfrm>
          <a:custGeom>
            <a:avLst/>
            <a:gdLst>
              <a:gd name="T0" fmla="*/ 648173732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1759298034 w 193"/>
              <a:gd name="T59" fmla="*/ 2147483647 h 38"/>
              <a:gd name="T60" fmla="*/ 0 w 193"/>
              <a:gd name="T61" fmla="*/ 2147483647 h 38"/>
              <a:gd name="T62" fmla="*/ 0 w 193"/>
              <a:gd name="T63" fmla="*/ 2147483647 h 38"/>
              <a:gd name="T64" fmla="*/ 92508349 w 193"/>
              <a:gd name="T65" fmla="*/ 2147483647 h 38"/>
              <a:gd name="T66" fmla="*/ 277730011 w 193"/>
              <a:gd name="T67" fmla="*/ 2147483647 h 38"/>
              <a:gd name="T68" fmla="*/ 648173732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44" name="Freeform 268"/>
          <p:cNvSpPr>
            <a:spLocks/>
          </p:cNvSpPr>
          <p:nvPr>
            <p:custDataLst>
              <p:tags r:id="rId195"/>
            </p:custDataLst>
          </p:nvPr>
        </p:nvSpPr>
        <p:spPr bwMode="auto">
          <a:xfrm>
            <a:off x="5350938" y="3313120"/>
            <a:ext cx="57151" cy="155575"/>
          </a:xfrm>
          <a:custGeom>
            <a:avLst/>
            <a:gdLst>
              <a:gd name="T0" fmla="*/ 2147483647 w 99"/>
              <a:gd name="T1" fmla="*/ 1656831212 h 301"/>
              <a:gd name="T2" fmla="*/ 2147483647 w 99"/>
              <a:gd name="T3" fmla="*/ 1656831212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828415606 h 301"/>
              <a:gd name="T58" fmla="*/ 405838124 w 99"/>
              <a:gd name="T59" fmla="*/ 276227823 h 301"/>
              <a:gd name="T60" fmla="*/ 811675815 w 99"/>
              <a:gd name="T61" fmla="*/ 0 h 301"/>
              <a:gd name="T62" fmla="*/ 1136158800 w 99"/>
              <a:gd name="T63" fmla="*/ 0 h 301"/>
              <a:gd name="T64" fmla="*/ 1623163726 w 99"/>
              <a:gd name="T65" fmla="*/ 0 h 301"/>
              <a:gd name="T66" fmla="*/ 2110169085 w 99"/>
              <a:gd name="T67" fmla="*/ 0 h 301"/>
              <a:gd name="T68" fmla="*/ 2147483647 w 99"/>
              <a:gd name="T69" fmla="*/ 276227823 h 301"/>
              <a:gd name="T70" fmla="*/ 2147483647 w 99"/>
              <a:gd name="T71" fmla="*/ 552188429 h 301"/>
              <a:gd name="T72" fmla="*/ 2147483647 w 99"/>
              <a:gd name="T73" fmla="*/ 828415606 h 301"/>
              <a:gd name="T74" fmla="*/ 2147483647 w 99"/>
              <a:gd name="T75" fmla="*/ 1380871252 h 301"/>
              <a:gd name="T76" fmla="*/ 2147483647 w 99"/>
              <a:gd name="T77" fmla="*/ 165683121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45" name="Freeform 269"/>
          <p:cNvSpPr>
            <a:spLocks/>
          </p:cNvSpPr>
          <p:nvPr>
            <p:custDataLst>
              <p:tags r:id="rId196"/>
            </p:custDataLst>
          </p:nvPr>
        </p:nvSpPr>
        <p:spPr bwMode="auto">
          <a:xfrm>
            <a:off x="5384800" y="3275013"/>
            <a:ext cx="101600" cy="188912"/>
          </a:xfrm>
          <a:custGeom>
            <a:avLst/>
            <a:gdLst>
              <a:gd name="T0" fmla="*/ 0 w 173"/>
              <a:gd name="T1" fmla="*/ 2147483647 h 357"/>
              <a:gd name="T2" fmla="*/ 769044265 w 173"/>
              <a:gd name="T3" fmla="*/ 2147483647 h 357"/>
              <a:gd name="T4" fmla="*/ 1452725179 w 173"/>
              <a:gd name="T5" fmla="*/ 2147483647 h 357"/>
              <a:gd name="T6" fmla="*/ 2136406754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444385033 h 357"/>
              <a:gd name="T18" fmla="*/ 2147483647 w 173"/>
              <a:gd name="T19" fmla="*/ 1037178648 h 357"/>
              <a:gd name="T20" fmla="*/ 2147483647 w 173"/>
              <a:gd name="T21" fmla="*/ 1778099990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1709009033 w 173"/>
              <a:gd name="T109" fmla="*/ 2147483647 h 357"/>
              <a:gd name="T110" fmla="*/ 1110885052 w 173"/>
              <a:gd name="T111" fmla="*/ 2147483647 h 357"/>
              <a:gd name="T112" fmla="*/ 598124201 w 173"/>
              <a:gd name="T113" fmla="*/ 2147483647 h 357"/>
              <a:gd name="T114" fmla="*/ 341840677 w 173"/>
              <a:gd name="T115" fmla="*/ 2147483647 h 357"/>
              <a:gd name="T116" fmla="*/ 256283524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46" name="Freeform 270"/>
          <p:cNvSpPr>
            <a:spLocks/>
          </p:cNvSpPr>
          <p:nvPr>
            <p:custDataLst>
              <p:tags r:id="rId197"/>
            </p:custDataLst>
          </p:nvPr>
        </p:nvSpPr>
        <p:spPr bwMode="auto">
          <a:xfrm>
            <a:off x="6356353" y="4479932"/>
            <a:ext cx="33867" cy="60325"/>
          </a:xfrm>
          <a:custGeom>
            <a:avLst/>
            <a:gdLst>
              <a:gd name="T0" fmla="*/ 1310965228 w 50"/>
              <a:gd name="T1" fmla="*/ 0 h 74"/>
              <a:gd name="T2" fmla="*/ 786579086 w 50"/>
              <a:gd name="T3" fmla="*/ 2147483647 h 74"/>
              <a:gd name="T4" fmla="*/ 262193007 w 50"/>
              <a:gd name="T5" fmla="*/ 2147483647 h 74"/>
              <a:gd name="T6" fmla="*/ 0 w 50"/>
              <a:gd name="T7" fmla="*/ 2147483647 h 74"/>
              <a:gd name="T8" fmla="*/ 0 w 50"/>
              <a:gd name="T9" fmla="*/ 2147483647 h 74"/>
              <a:gd name="T10" fmla="*/ 0 w 50"/>
              <a:gd name="T11" fmla="*/ 2147483647 h 74"/>
              <a:gd name="T12" fmla="*/ 262193007 w 50"/>
              <a:gd name="T13" fmla="*/ 2147483647 h 74"/>
              <a:gd name="T14" fmla="*/ 786579086 w 50"/>
              <a:gd name="T15" fmla="*/ 2147483647 h 74"/>
              <a:gd name="T16" fmla="*/ 1310965228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1835351116 w 50"/>
              <a:gd name="T33" fmla="*/ 0 h 74"/>
              <a:gd name="T34" fmla="*/ 1310965228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47" name="Freeform 271"/>
          <p:cNvSpPr>
            <a:spLocks/>
          </p:cNvSpPr>
          <p:nvPr>
            <p:custDataLst>
              <p:tags r:id="rId198"/>
            </p:custDataLst>
          </p:nvPr>
        </p:nvSpPr>
        <p:spPr bwMode="auto">
          <a:xfrm>
            <a:off x="6216652" y="4576763"/>
            <a:ext cx="82549" cy="57150"/>
          </a:xfrm>
          <a:custGeom>
            <a:avLst/>
            <a:gdLst>
              <a:gd name="T0" fmla="*/ 289401437 w 135"/>
              <a:gd name="T1" fmla="*/ 2147483647 h 98"/>
              <a:gd name="T2" fmla="*/ 1061068014 w 135"/>
              <a:gd name="T3" fmla="*/ 2147483647 h 98"/>
              <a:gd name="T4" fmla="*/ 1736197431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1586470093 h 98"/>
              <a:gd name="T18" fmla="*/ 2147483647 w 135"/>
              <a:gd name="T19" fmla="*/ 991671448 h 98"/>
              <a:gd name="T20" fmla="*/ 2147483647 w 135"/>
              <a:gd name="T21" fmla="*/ 396532381 h 98"/>
              <a:gd name="T22" fmla="*/ 2147483647 w 135"/>
              <a:gd name="T23" fmla="*/ 0 h 98"/>
              <a:gd name="T24" fmla="*/ 2147483647 w 135"/>
              <a:gd name="T25" fmla="*/ 0 h 98"/>
              <a:gd name="T26" fmla="*/ 2147483647 w 135"/>
              <a:gd name="T27" fmla="*/ 0 h 98"/>
              <a:gd name="T28" fmla="*/ 2147483647 w 135"/>
              <a:gd name="T29" fmla="*/ 594799083 h 98"/>
              <a:gd name="T30" fmla="*/ 2147483647 w 135"/>
              <a:gd name="T31" fmla="*/ 1189937566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025599212 w 135"/>
              <a:gd name="T69" fmla="*/ 2147483647 h 98"/>
              <a:gd name="T70" fmla="*/ 1061068014 w 135"/>
              <a:gd name="T71" fmla="*/ 2147483647 h 98"/>
              <a:gd name="T72" fmla="*/ 482265599 w 135"/>
              <a:gd name="T73" fmla="*/ 2147483647 h 98"/>
              <a:gd name="T74" fmla="*/ 96537303 w 135"/>
              <a:gd name="T75" fmla="*/ 2147483647 h 98"/>
              <a:gd name="T76" fmla="*/ 0 w 135"/>
              <a:gd name="T77" fmla="*/ 2147483647 h 98"/>
              <a:gd name="T78" fmla="*/ 0 w 135"/>
              <a:gd name="T79" fmla="*/ 2147483647 h 98"/>
              <a:gd name="T80" fmla="*/ 28940143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48" name="Freeform 272"/>
          <p:cNvSpPr>
            <a:spLocks/>
          </p:cNvSpPr>
          <p:nvPr>
            <p:custDataLst>
              <p:tags r:id="rId199"/>
            </p:custDataLst>
          </p:nvPr>
        </p:nvSpPr>
        <p:spPr bwMode="auto">
          <a:xfrm>
            <a:off x="9173633" y="2290763"/>
            <a:ext cx="160867" cy="171450"/>
          </a:xfrm>
          <a:custGeom>
            <a:avLst/>
            <a:gdLst>
              <a:gd name="T0" fmla="*/ 2147483647 w 266"/>
              <a:gd name="T1" fmla="*/ 1309110192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1212966011 w 266"/>
              <a:gd name="T79" fmla="*/ 2147483647 h 326"/>
              <a:gd name="T80" fmla="*/ 373188989 w 266"/>
              <a:gd name="T81" fmla="*/ 2147483647 h 326"/>
              <a:gd name="T82" fmla="*/ 1772955019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581949730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49" name="Freeform 273"/>
          <p:cNvSpPr>
            <a:spLocks/>
          </p:cNvSpPr>
          <p:nvPr>
            <p:custDataLst>
              <p:tags r:id="rId200"/>
            </p:custDataLst>
          </p:nvPr>
        </p:nvSpPr>
        <p:spPr bwMode="auto">
          <a:xfrm>
            <a:off x="7935389" y="2705107"/>
            <a:ext cx="275167" cy="123825"/>
          </a:xfrm>
          <a:custGeom>
            <a:avLst/>
            <a:gdLst>
              <a:gd name="T0" fmla="*/ 2147483647 w 471"/>
              <a:gd name="T1" fmla="*/ 0 h 237"/>
              <a:gd name="T2" fmla="*/ 2147483647 w 471"/>
              <a:gd name="T3" fmla="*/ 998263048 h 237"/>
              <a:gd name="T4" fmla="*/ 2147483647 w 471"/>
              <a:gd name="T5" fmla="*/ 185403333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1009469249 w 471"/>
              <a:gd name="T73" fmla="*/ 2147483647 h 237"/>
              <a:gd name="T74" fmla="*/ 5888247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50" name="Freeform 274"/>
          <p:cNvSpPr>
            <a:spLocks/>
          </p:cNvSpPr>
          <p:nvPr>
            <p:custDataLst>
              <p:tags r:id="rId201"/>
            </p:custDataLst>
          </p:nvPr>
        </p:nvSpPr>
        <p:spPr bwMode="auto">
          <a:xfrm>
            <a:off x="8223255" y="2760670"/>
            <a:ext cx="97367" cy="65087"/>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1755879361 w 167"/>
              <a:gd name="T47" fmla="*/ 2147483647 h 123"/>
              <a:gd name="T48" fmla="*/ 0 w 167"/>
              <a:gd name="T49" fmla="*/ 2147483647 h 123"/>
              <a:gd name="T50" fmla="*/ 167308577 w 167"/>
              <a:gd name="T51" fmla="*/ 2147483647 h 123"/>
              <a:gd name="T52" fmla="*/ 417984562 w 167"/>
              <a:gd name="T53" fmla="*/ 2147483647 h 123"/>
              <a:gd name="T54" fmla="*/ 752410626 w 167"/>
              <a:gd name="T55" fmla="*/ 2147483647 h 123"/>
              <a:gd name="T56" fmla="*/ 1254145322 w 167"/>
              <a:gd name="T57" fmla="*/ 2147483647 h 123"/>
              <a:gd name="T58" fmla="*/ 1672320426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1778082737 h 123"/>
              <a:gd name="T72" fmla="*/ 2147483647 w 167"/>
              <a:gd name="T73" fmla="*/ 0 h 123"/>
              <a:gd name="T74" fmla="*/ 2147483647 w 167"/>
              <a:gd name="T75" fmla="*/ 592787643 h 123"/>
              <a:gd name="T76" fmla="*/ 2147483647 w 167"/>
              <a:gd name="T77" fmla="*/ 1037168231 h 123"/>
              <a:gd name="T78" fmla="*/ 2147483647 w 167"/>
              <a:gd name="T79" fmla="*/ 1629956403 h 123"/>
              <a:gd name="T80" fmla="*/ 2147483647 w 167"/>
              <a:gd name="T81" fmla="*/ 2074336463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51" name="Freeform 275"/>
          <p:cNvSpPr>
            <a:spLocks/>
          </p:cNvSpPr>
          <p:nvPr>
            <p:custDataLst>
              <p:tags r:id="rId202"/>
            </p:custDataLst>
          </p:nvPr>
        </p:nvSpPr>
        <p:spPr bwMode="auto">
          <a:xfrm>
            <a:off x="8210551" y="2832100"/>
            <a:ext cx="177800" cy="166688"/>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1680181687 h 321"/>
              <a:gd name="T42" fmla="*/ 2147483647 w 306"/>
              <a:gd name="T43" fmla="*/ 560060822 h 321"/>
              <a:gd name="T44" fmla="*/ 2147483647 w 306"/>
              <a:gd name="T45" fmla="*/ 0 h 321"/>
              <a:gd name="T46" fmla="*/ 2147483647 w 306"/>
              <a:gd name="T47" fmla="*/ 0 h 321"/>
              <a:gd name="T48" fmla="*/ 2147483647 w 306"/>
              <a:gd name="T49" fmla="*/ 139947829 h 321"/>
              <a:gd name="T50" fmla="*/ 1820647306 w 306"/>
              <a:gd name="T51" fmla="*/ 700008586 h 321"/>
              <a:gd name="T52" fmla="*/ 827618796 w 306"/>
              <a:gd name="T53" fmla="*/ 1960347239 h 321"/>
              <a:gd name="T54" fmla="*/ 82799885 w 306"/>
              <a:gd name="T55" fmla="*/ 2147483647 h 321"/>
              <a:gd name="T56" fmla="*/ 165599771 w 306"/>
              <a:gd name="T57" fmla="*/ 2147483647 h 321"/>
              <a:gd name="T58" fmla="*/ 1241428302 w 306"/>
              <a:gd name="T59" fmla="*/ 2147483647 h 321"/>
              <a:gd name="T60" fmla="*/ 2147483647 w 306"/>
              <a:gd name="T61" fmla="*/ 2147483647 h 321"/>
              <a:gd name="T62" fmla="*/ 2147483647 w 306"/>
              <a:gd name="T63" fmla="*/ 2147483647 h 321"/>
              <a:gd name="T64" fmla="*/ 2147483647 w 306"/>
              <a:gd name="T65" fmla="*/ 2147483647 h 321"/>
              <a:gd name="T66" fmla="*/ 2069046444 w 306"/>
              <a:gd name="T67" fmla="*/ 2147483647 h 321"/>
              <a:gd name="T68" fmla="*/ 1406838017 w 306"/>
              <a:gd name="T69" fmla="*/ 2147483647 h 321"/>
              <a:gd name="T70" fmla="*/ 1158628444 w 306"/>
              <a:gd name="T71" fmla="*/ 2147483647 h 321"/>
              <a:gd name="T72" fmla="*/ 1158628444 w 306"/>
              <a:gd name="T73" fmla="*/ 2147483647 h 321"/>
              <a:gd name="T74" fmla="*/ 1489637875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52" name="Freeform 276"/>
          <p:cNvSpPr>
            <a:spLocks/>
          </p:cNvSpPr>
          <p:nvPr>
            <p:custDataLst>
              <p:tags r:id="rId203"/>
            </p:custDataLst>
          </p:nvPr>
        </p:nvSpPr>
        <p:spPr bwMode="auto">
          <a:xfrm>
            <a:off x="8633884" y="2947995"/>
            <a:ext cx="268816" cy="269875"/>
          </a:xfrm>
          <a:custGeom>
            <a:avLst/>
            <a:gdLst>
              <a:gd name="T0" fmla="*/ 2147483647 w 471"/>
              <a:gd name="T1" fmla="*/ 1697011233 h 518"/>
              <a:gd name="T2" fmla="*/ 2147483647 w 471"/>
              <a:gd name="T3" fmla="*/ 2147483647 h 518"/>
              <a:gd name="T4" fmla="*/ 2147483647 w 471"/>
              <a:gd name="T5" fmla="*/ 2147483647 h 518"/>
              <a:gd name="T6" fmla="*/ 2117561535 w 471"/>
              <a:gd name="T7" fmla="*/ 2147483647 h 518"/>
              <a:gd name="T8" fmla="*/ 627371222 w 471"/>
              <a:gd name="T9" fmla="*/ 2147483647 h 518"/>
              <a:gd name="T10" fmla="*/ 54895016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1979846351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53" name="Freeform 277"/>
          <p:cNvSpPr>
            <a:spLocks/>
          </p:cNvSpPr>
          <p:nvPr>
            <p:custDataLst>
              <p:tags r:id="rId204"/>
            </p:custDataLst>
          </p:nvPr>
        </p:nvSpPr>
        <p:spPr bwMode="auto">
          <a:xfrm>
            <a:off x="8743951" y="3198820"/>
            <a:ext cx="17780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1481852037 h 246"/>
              <a:gd name="T10" fmla="*/ 2147483647 w 293"/>
              <a:gd name="T11" fmla="*/ 889055077 h 246"/>
              <a:gd name="T12" fmla="*/ 2147483647 w 293"/>
              <a:gd name="T13" fmla="*/ 296258250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754173809 w 293"/>
              <a:gd name="T59" fmla="*/ 2147483647 h 246"/>
              <a:gd name="T60" fmla="*/ 188491796 w 293"/>
              <a:gd name="T61" fmla="*/ 2147483647 h 246"/>
              <a:gd name="T62" fmla="*/ 0 w 293"/>
              <a:gd name="T63" fmla="*/ 2147483647 h 246"/>
              <a:gd name="T64" fmla="*/ 188491796 w 293"/>
              <a:gd name="T65" fmla="*/ 2147483647 h 246"/>
              <a:gd name="T66" fmla="*/ 754173809 w 293"/>
              <a:gd name="T67" fmla="*/ 2147483647 h 246"/>
              <a:gd name="T68" fmla="*/ 1602592806 w 293"/>
              <a:gd name="T69" fmla="*/ 2147483647 h 246"/>
              <a:gd name="T70" fmla="*/ 2147483647 w 293"/>
              <a:gd name="T71" fmla="*/ 2147483647 h 246"/>
              <a:gd name="T72" fmla="*/ 2147483647 w 293"/>
              <a:gd name="T73" fmla="*/ 2074368273 h 246"/>
              <a:gd name="T74" fmla="*/ 2147483647 w 293"/>
              <a:gd name="T75" fmla="*/ 1778110155 h 246"/>
              <a:gd name="T76" fmla="*/ 2147483647 w 293"/>
              <a:gd name="T77" fmla="*/ 1778110155 h 246"/>
              <a:gd name="T78" fmla="*/ 2147483647 w 293"/>
              <a:gd name="T79" fmla="*/ 1778110155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54" name="Freeform 278"/>
          <p:cNvSpPr>
            <a:spLocks/>
          </p:cNvSpPr>
          <p:nvPr>
            <p:custDataLst>
              <p:tags r:id="rId205"/>
            </p:custDataLst>
          </p:nvPr>
        </p:nvSpPr>
        <p:spPr bwMode="auto">
          <a:xfrm>
            <a:off x="9279467" y="2435232"/>
            <a:ext cx="114300" cy="130175"/>
          </a:xfrm>
          <a:custGeom>
            <a:avLst/>
            <a:gdLst>
              <a:gd name="T0" fmla="*/ 1417395148 w 200"/>
              <a:gd name="T1" fmla="*/ 2147483647 h 246"/>
              <a:gd name="T2" fmla="*/ 2147483647 w 200"/>
              <a:gd name="T3" fmla="*/ 2147483647 h 246"/>
              <a:gd name="T4" fmla="*/ 2147483647 w 200"/>
              <a:gd name="T5" fmla="*/ 2147483647 h 246"/>
              <a:gd name="T6" fmla="*/ 2147483647 w 200"/>
              <a:gd name="T7" fmla="*/ 1333722448 h 246"/>
              <a:gd name="T8" fmla="*/ 2147483647 w 200"/>
              <a:gd name="T9" fmla="*/ 148129125 h 246"/>
              <a:gd name="T10" fmla="*/ 2147483647 w 200"/>
              <a:gd name="T11" fmla="*/ 1778110155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1417395148 w 200"/>
              <a:gd name="T69" fmla="*/ 2147483647 h 246"/>
              <a:gd name="T70" fmla="*/ 472526557 w 200"/>
              <a:gd name="T71" fmla="*/ 2147483647 h 246"/>
              <a:gd name="T72" fmla="*/ 78815568 w 200"/>
              <a:gd name="T73" fmla="*/ 2147483647 h 246"/>
              <a:gd name="T74" fmla="*/ 78815568 w 200"/>
              <a:gd name="T75" fmla="*/ 2147483647 h 246"/>
              <a:gd name="T76" fmla="*/ 393710480 w 200"/>
              <a:gd name="T77" fmla="*/ 2147483647 h 246"/>
              <a:gd name="T78" fmla="*/ 787421389 w 200"/>
              <a:gd name="T79" fmla="*/ 2147483647 h 246"/>
              <a:gd name="T80" fmla="*/ 1023684346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55" name="Freeform 279"/>
          <p:cNvSpPr>
            <a:spLocks/>
          </p:cNvSpPr>
          <p:nvPr>
            <p:custDataLst>
              <p:tags r:id="rId206"/>
            </p:custDataLst>
          </p:nvPr>
        </p:nvSpPr>
        <p:spPr bwMode="auto">
          <a:xfrm>
            <a:off x="10037238" y="3732213"/>
            <a:ext cx="309033" cy="254000"/>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1599094699 w 538"/>
              <a:gd name="T85" fmla="*/ 2147483647 h 487"/>
              <a:gd name="T86" fmla="*/ 1599094699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56" name="Freeform 280"/>
          <p:cNvSpPr>
            <a:spLocks/>
          </p:cNvSpPr>
          <p:nvPr>
            <p:custDataLst>
              <p:tags r:id="rId207"/>
            </p:custDataLst>
          </p:nvPr>
        </p:nvSpPr>
        <p:spPr bwMode="auto">
          <a:xfrm>
            <a:off x="10293351" y="3716341"/>
            <a:ext cx="141816" cy="128587"/>
          </a:xfrm>
          <a:custGeom>
            <a:avLst/>
            <a:gdLst>
              <a:gd name="T0" fmla="*/ 2147483647 w 253"/>
              <a:gd name="T1" fmla="*/ 142897822 h 246"/>
              <a:gd name="T2" fmla="*/ 2147483647 w 253"/>
              <a:gd name="T3" fmla="*/ 1142635821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817240218 w 253"/>
              <a:gd name="T39" fmla="*/ 2147483647 h 246"/>
              <a:gd name="T40" fmla="*/ 222867539 w 253"/>
              <a:gd name="T41" fmla="*/ 2147483647 h 246"/>
              <a:gd name="T42" fmla="*/ 743010069 w 253"/>
              <a:gd name="T43" fmla="*/ 2147483647 h 246"/>
              <a:gd name="T44" fmla="*/ 1634657004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1571056236 h 246"/>
              <a:gd name="T102" fmla="*/ 2147483647 w 253"/>
              <a:gd name="T103" fmla="*/ 1713953993 h 246"/>
              <a:gd name="T104" fmla="*/ 2147483647 w 253"/>
              <a:gd name="T105" fmla="*/ 2147483647 h 246"/>
              <a:gd name="T106" fmla="*/ 2147483647 w 253"/>
              <a:gd name="T107" fmla="*/ 714216190 h 246"/>
              <a:gd name="T108" fmla="*/ 2147483647 w 253"/>
              <a:gd name="T109" fmla="*/ 142897822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57" name="Freeform 281"/>
          <p:cNvSpPr>
            <a:spLocks/>
          </p:cNvSpPr>
          <p:nvPr>
            <p:custDataLst>
              <p:tags r:id="rId208"/>
            </p:custDataLst>
          </p:nvPr>
        </p:nvSpPr>
        <p:spPr bwMode="auto">
          <a:xfrm>
            <a:off x="7994653" y="3349632"/>
            <a:ext cx="84667" cy="119063"/>
          </a:xfrm>
          <a:custGeom>
            <a:avLst/>
            <a:gdLst>
              <a:gd name="T0" fmla="*/ 2147483647 w 141"/>
              <a:gd name="T1" fmla="*/ 2147483647 h 228"/>
              <a:gd name="T2" fmla="*/ 2147483647 w 141"/>
              <a:gd name="T3" fmla="*/ 2147483647 h 228"/>
              <a:gd name="T4" fmla="*/ 2147483647 w 141"/>
              <a:gd name="T5" fmla="*/ 2147483647 h 228"/>
              <a:gd name="T6" fmla="*/ 2009532740 w 141"/>
              <a:gd name="T7" fmla="*/ 2147483647 h 228"/>
              <a:gd name="T8" fmla="*/ 1461514917 w 141"/>
              <a:gd name="T9" fmla="*/ 2147483647 h 228"/>
              <a:gd name="T10" fmla="*/ 913497769 w 141"/>
              <a:gd name="T11" fmla="*/ 2147483647 h 228"/>
              <a:gd name="T12" fmla="*/ 456749110 w 141"/>
              <a:gd name="T13" fmla="*/ 2147483647 h 228"/>
              <a:gd name="T14" fmla="*/ 182740367 w 141"/>
              <a:gd name="T15" fmla="*/ 2147483647 h 228"/>
              <a:gd name="T16" fmla="*/ 0 w 141"/>
              <a:gd name="T17" fmla="*/ 2147483647 h 228"/>
              <a:gd name="T18" fmla="*/ 182740367 w 141"/>
              <a:gd name="T19" fmla="*/ 2147483647 h 228"/>
              <a:gd name="T20" fmla="*/ 365277625 w 141"/>
              <a:gd name="T21" fmla="*/ 2147483647 h 228"/>
              <a:gd name="T22" fmla="*/ 548017598 w 141"/>
              <a:gd name="T23" fmla="*/ 2147483647 h 228"/>
              <a:gd name="T24" fmla="*/ 822026284 w 141"/>
              <a:gd name="T25" fmla="*/ 2147483647 h 228"/>
              <a:gd name="T26" fmla="*/ 1644052568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258" name="Group 282"/>
          <p:cNvGrpSpPr>
            <a:grpSpLocks/>
          </p:cNvGrpSpPr>
          <p:nvPr>
            <p:custDataLst>
              <p:tags r:id="rId209"/>
            </p:custDataLst>
          </p:nvPr>
        </p:nvGrpSpPr>
        <p:grpSpPr bwMode="auto">
          <a:xfrm>
            <a:off x="9247720" y="3060700"/>
            <a:ext cx="311149" cy="439738"/>
            <a:chOff x="5062" y="2295"/>
            <a:chExt cx="177" cy="279"/>
          </a:xfrm>
          <a:solidFill>
            <a:schemeClr val="accent5">
              <a:lumMod val="75000"/>
            </a:schemeClr>
          </a:solidFill>
        </p:grpSpPr>
        <p:sp>
          <p:nvSpPr>
            <p:cNvPr id="2504" name="Freeform 283"/>
            <p:cNvSpPr>
              <a:spLocks/>
            </p:cNvSpPr>
            <p:nvPr/>
          </p:nvSpPr>
          <p:spPr bwMode="auto">
            <a:xfrm>
              <a:off x="5154" y="2449"/>
              <a:ext cx="19" cy="37"/>
            </a:xfrm>
            <a:custGeom>
              <a:avLst/>
              <a:gdLst>
                <a:gd name="T0" fmla="*/ 1 w 60"/>
                <a:gd name="T1" fmla="*/ 4 h 110"/>
                <a:gd name="T2" fmla="*/ 1 w 60"/>
                <a:gd name="T3" fmla="*/ 4 h 110"/>
                <a:gd name="T4" fmla="*/ 2 w 60"/>
                <a:gd name="T5" fmla="*/ 4 h 110"/>
                <a:gd name="T6" fmla="*/ 2 w 60"/>
                <a:gd name="T7" fmla="*/ 4 h 110"/>
                <a:gd name="T8" fmla="*/ 2 w 60"/>
                <a:gd name="T9" fmla="*/ 4 h 110"/>
                <a:gd name="T10" fmla="*/ 2 w 60"/>
                <a:gd name="T11" fmla="*/ 3 h 110"/>
                <a:gd name="T12" fmla="*/ 2 w 60"/>
                <a:gd name="T13" fmla="*/ 3 h 110"/>
                <a:gd name="T14" fmla="*/ 2 w 60"/>
                <a:gd name="T15" fmla="*/ 3 h 110"/>
                <a:gd name="T16" fmla="*/ 2 w 60"/>
                <a:gd name="T17" fmla="*/ 3 h 110"/>
                <a:gd name="T18" fmla="*/ 2 w 60"/>
                <a:gd name="T19" fmla="*/ 2 h 110"/>
                <a:gd name="T20" fmla="*/ 2 w 60"/>
                <a:gd name="T21" fmla="*/ 2 h 110"/>
                <a:gd name="T22" fmla="*/ 2 w 60"/>
                <a:gd name="T23" fmla="*/ 1 h 110"/>
                <a:gd name="T24" fmla="*/ 2 w 60"/>
                <a:gd name="T25" fmla="*/ 1 h 110"/>
                <a:gd name="T26" fmla="*/ 2 w 60"/>
                <a:gd name="T27" fmla="*/ 1 h 110"/>
                <a:gd name="T28" fmla="*/ 2 w 60"/>
                <a:gd name="T29" fmla="*/ 0 h 110"/>
                <a:gd name="T30" fmla="*/ 1 w 60"/>
                <a:gd name="T31" fmla="*/ 0 h 110"/>
                <a:gd name="T32" fmla="*/ 1 w 60"/>
                <a:gd name="T33" fmla="*/ 0 h 110"/>
                <a:gd name="T34" fmla="*/ 1 w 60"/>
                <a:gd name="T35" fmla="*/ 0 h 110"/>
                <a:gd name="T36" fmla="*/ 1 w 60"/>
                <a:gd name="T37" fmla="*/ 0 h 110"/>
                <a:gd name="T38" fmla="*/ 1 w 60"/>
                <a:gd name="T39" fmla="*/ 0 h 110"/>
                <a:gd name="T40" fmla="*/ 1 w 60"/>
                <a:gd name="T41" fmla="*/ 1 h 110"/>
                <a:gd name="T42" fmla="*/ 1 w 60"/>
                <a:gd name="T43" fmla="*/ 1 h 110"/>
                <a:gd name="T44" fmla="*/ 1 w 60"/>
                <a:gd name="T45" fmla="*/ 1 h 110"/>
                <a:gd name="T46" fmla="*/ 0 w 60"/>
                <a:gd name="T47" fmla="*/ 2 h 110"/>
                <a:gd name="T48" fmla="*/ 0 w 60"/>
                <a:gd name="T49" fmla="*/ 2 h 110"/>
                <a:gd name="T50" fmla="*/ 0 w 60"/>
                <a:gd name="T51" fmla="*/ 2 h 110"/>
                <a:gd name="T52" fmla="*/ 0 w 60"/>
                <a:gd name="T53" fmla="*/ 3 h 110"/>
                <a:gd name="T54" fmla="*/ 0 w 60"/>
                <a:gd name="T55" fmla="*/ 3 h 110"/>
                <a:gd name="T56" fmla="*/ 0 w 60"/>
                <a:gd name="T57" fmla="*/ 3 h 110"/>
                <a:gd name="T58" fmla="*/ 0 w 60"/>
                <a:gd name="T59" fmla="*/ 3 h 110"/>
                <a:gd name="T60" fmla="*/ 0 w 60"/>
                <a:gd name="T61" fmla="*/ 3 h 110"/>
                <a:gd name="T62" fmla="*/ 0 w 60"/>
                <a:gd name="T63" fmla="*/ 3 h 110"/>
                <a:gd name="T64" fmla="*/ 0 w 60"/>
                <a:gd name="T65" fmla="*/ 4 h 110"/>
                <a:gd name="T66" fmla="*/ 1 w 60"/>
                <a:gd name="T67" fmla="*/ 4 h 110"/>
                <a:gd name="T68" fmla="*/ 1 w 60"/>
                <a:gd name="T69" fmla="*/ 4 h 110"/>
                <a:gd name="T70" fmla="*/ 1 w 60"/>
                <a:gd name="T71" fmla="*/ 4 h 110"/>
                <a:gd name="T72" fmla="*/ 1 w 60"/>
                <a:gd name="T73" fmla="*/ 4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0"/>
                <a:gd name="T112" fmla="*/ 0 h 110"/>
                <a:gd name="T113" fmla="*/ 60 w 60"/>
                <a:gd name="T114" fmla="*/ 110 h 11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05" name="Freeform 284"/>
            <p:cNvSpPr>
              <a:spLocks/>
            </p:cNvSpPr>
            <p:nvPr/>
          </p:nvSpPr>
          <p:spPr bwMode="auto">
            <a:xfrm>
              <a:off x="5189" y="2422"/>
              <a:ext cx="24" cy="25"/>
            </a:xfrm>
            <a:custGeom>
              <a:avLst/>
              <a:gdLst>
                <a:gd name="T0" fmla="*/ 0 w 72"/>
                <a:gd name="T1" fmla="*/ 0 h 75"/>
                <a:gd name="T2" fmla="*/ 0 w 72"/>
                <a:gd name="T3" fmla="*/ 1 h 75"/>
                <a:gd name="T4" fmla="*/ 1 w 72"/>
                <a:gd name="T5" fmla="*/ 1 h 75"/>
                <a:gd name="T6" fmla="*/ 1 w 72"/>
                <a:gd name="T7" fmla="*/ 1 h 75"/>
                <a:gd name="T8" fmla="*/ 1 w 72"/>
                <a:gd name="T9" fmla="*/ 1 h 75"/>
                <a:gd name="T10" fmla="*/ 1 w 72"/>
                <a:gd name="T11" fmla="*/ 2 h 75"/>
                <a:gd name="T12" fmla="*/ 2 w 72"/>
                <a:gd name="T13" fmla="*/ 2 h 75"/>
                <a:gd name="T14" fmla="*/ 2 w 72"/>
                <a:gd name="T15" fmla="*/ 2 h 75"/>
                <a:gd name="T16" fmla="*/ 2 w 72"/>
                <a:gd name="T17" fmla="*/ 3 h 75"/>
                <a:gd name="T18" fmla="*/ 3 w 72"/>
                <a:gd name="T19" fmla="*/ 3 h 75"/>
                <a:gd name="T20" fmla="*/ 2 w 72"/>
                <a:gd name="T21" fmla="*/ 2 h 75"/>
                <a:gd name="T22" fmla="*/ 2 w 72"/>
                <a:gd name="T23" fmla="*/ 1 h 75"/>
                <a:gd name="T24" fmla="*/ 2 w 72"/>
                <a:gd name="T25" fmla="*/ 1 h 75"/>
                <a:gd name="T26" fmla="*/ 2 w 72"/>
                <a:gd name="T27" fmla="*/ 1 h 75"/>
                <a:gd name="T28" fmla="*/ 2 w 72"/>
                <a:gd name="T29" fmla="*/ 0 h 75"/>
                <a:gd name="T30" fmla="*/ 3 w 72"/>
                <a:gd name="T31" fmla="*/ 0 h 75"/>
                <a:gd name="T32" fmla="*/ 2 w 72"/>
                <a:gd name="T33" fmla="*/ 0 h 75"/>
                <a:gd name="T34" fmla="*/ 1 w 72"/>
                <a:gd name="T35" fmla="*/ 0 h 75"/>
                <a:gd name="T36" fmla="*/ 1 w 72"/>
                <a:gd name="T37" fmla="*/ 0 h 75"/>
                <a:gd name="T38" fmla="*/ 0 w 72"/>
                <a:gd name="T39" fmla="*/ 0 h 75"/>
                <a:gd name="T40" fmla="*/ 0 w 72"/>
                <a:gd name="T41" fmla="*/ 0 h 75"/>
                <a:gd name="T42" fmla="*/ 0 w 72"/>
                <a:gd name="T43" fmla="*/ 0 h 75"/>
                <a:gd name="T44" fmla="*/ 0 w 72"/>
                <a:gd name="T45" fmla="*/ 0 h 75"/>
                <a:gd name="T46" fmla="*/ 0 w 72"/>
                <a:gd name="T47" fmla="*/ 0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72"/>
                <a:gd name="T73" fmla="*/ 0 h 75"/>
                <a:gd name="T74" fmla="*/ 72 w 72"/>
                <a:gd name="T75" fmla="*/ 75 h 7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06" name="Freeform 285"/>
            <p:cNvSpPr>
              <a:spLocks/>
            </p:cNvSpPr>
            <p:nvPr/>
          </p:nvSpPr>
          <p:spPr bwMode="auto">
            <a:xfrm>
              <a:off x="5160" y="2389"/>
              <a:ext cx="5" cy="16"/>
            </a:xfrm>
            <a:custGeom>
              <a:avLst/>
              <a:gdLst>
                <a:gd name="T0" fmla="*/ 1 w 15"/>
                <a:gd name="T1" fmla="*/ 2 h 49"/>
                <a:gd name="T2" fmla="*/ 1 w 15"/>
                <a:gd name="T3" fmla="*/ 1 h 49"/>
                <a:gd name="T4" fmla="*/ 1 w 15"/>
                <a:gd name="T5" fmla="*/ 1 h 49"/>
                <a:gd name="T6" fmla="*/ 1 w 15"/>
                <a:gd name="T7" fmla="*/ 0 h 49"/>
                <a:gd name="T8" fmla="*/ 0 w 15"/>
                <a:gd name="T9" fmla="*/ 0 h 49"/>
                <a:gd name="T10" fmla="*/ 0 w 15"/>
                <a:gd name="T11" fmla="*/ 0 h 49"/>
                <a:gd name="T12" fmla="*/ 0 w 15"/>
                <a:gd name="T13" fmla="*/ 0 h 49"/>
                <a:gd name="T14" fmla="*/ 0 w 15"/>
                <a:gd name="T15" fmla="*/ 0 h 49"/>
                <a:gd name="T16" fmla="*/ 0 w 15"/>
                <a:gd name="T17" fmla="*/ 1 h 49"/>
                <a:gd name="T18" fmla="*/ 0 w 15"/>
                <a:gd name="T19" fmla="*/ 1 h 49"/>
                <a:gd name="T20" fmla="*/ 0 w 15"/>
                <a:gd name="T21" fmla="*/ 1 h 49"/>
                <a:gd name="T22" fmla="*/ 0 w 15"/>
                <a:gd name="T23" fmla="*/ 1 h 49"/>
                <a:gd name="T24" fmla="*/ 0 w 15"/>
                <a:gd name="T25" fmla="*/ 2 h 49"/>
                <a:gd name="T26" fmla="*/ 0 w 15"/>
                <a:gd name="T27" fmla="*/ 2 h 49"/>
                <a:gd name="T28" fmla="*/ 0 w 15"/>
                <a:gd name="T29" fmla="*/ 2 h 49"/>
                <a:gd name="T30" fmla="*/ 0 w 15"/>
                <a:gd name="T31" fmla="*/ 2 h 49"/>
                <a:gd name="T32" fmla="*/ 1 w 15"/>
                <a:gd name="T33" fmla="*/ 2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
                <a:gd name="T52" fmla="*/ 0 h 49"/>
                <a:gd name="T53" fmla="*/ 15 w 15"/>
                <a:gd name="T54" fmla="*/ 49 h 4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07" name="Freeform 286"/>
            <p:cNvSpPr>
              <a:spLocks/>
            </p:cNvSpPr>
            <p:nvPr/>
          </p:nvSpPr>
          <p:spPr bwMode="auto">
            <a:xfrm>
              <a:off x="5139" y="2387"/>
              <a:ext cx="15" cy="13"/>
            </a:xfrm>
            <a:custGeom>
              <a:avLst/>
              <a:gdLst>
                <a:gd name="T0" fmla="*/ 1 w 47"/>
                <a:gd name="T1" fmla="*/ 0 h 40"/>
                <a:gd name="T2" fmla="*/ 0 w 47"/>
                <a:gd name="T3" fmla="*/ 1 h 40"/>
                <a:gd name="T4" fmla="*/ 0 w 47"/>
                <a:gd name="T5" fmla="*/ 1 h 40"/>
                <a:gd name="T6" fmla="*/ 0 w 47"/>
                <a:gd name="T7" fmla="*/ 1 h 40"/>
                <a:gd name="T8" fmla="*/ 1 w 47"/>
                <a:gd name="T9" fmla="*/ 1 h 40"/>
                <a:gd name="T10" fmla="*/ 1 w 47"/>
                <a:gd name="T11" fmla="*/ 1 h 40"/>
                <a:gd name="T12" fmla="*/ 1 w 47"/>
                <a:gd name="T13" fmla="*/ 1 h 40"/>
                <a:gd name="T14" fmla="*/ 1 w 47"/>
                <a:gd name="T15" fmla="*/ 1 h 40"/>
                <a:gd name="T16" fmla="*/ 1 w 47"/>
                <a:gd name="T17" fmla="*/ 1 h 40"/>
                <a:gd name="T18" fmla="*/ 2 w 47"/>
                <a:gd name="T19" fmla="*/ 1 h 40"/>
                <a:gd name="T20" fmla="*/ 2 w 47"/>
                <a:gd name="T21" fmla="*/ 0 h 40"/>
                <a:gd name="T22" fmla="*/ 1 w 47"/>
                <a:gd name="T23" fmla="*/ 0 h 40"/>
                <a:gd name="T24" fmla="*/ 1 w 47"/>
                <a:gd name="T25" fmla="*/ 0 h 40"/>
                <a:gd name="T26" fmla="*/ 1 w 47"/>
                <a:gd name="T27" fmla="*/ 0 h 40"/>
                <a:gd name="T28" fmla="*/ 1 w 47"/>
                <a:gd name="T29" fmla="*/ 0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7"/>
                <a:gd name="T46" fmla="*/ 0 h 40"/>
                <a:gd name="T47" fmla="*/ 47 w 47"/>
                <a:gd name="T48" fmla="*/ 40 h 4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08" name="Freeform 287"/>
            <p:cNvSpPr>
              <a:spLocks/>
            </p:cNvSpPr>
            <p:nvPr/>
          </p:nvSpPr>
          <p:spPr bwMode="auto">
            <a:xfrm>
              <a:off x="5184" y="2465"/>
              <a:ext cx="13" cy="10"/>
            </a:xfrm>
            <a:custGeom>
              <a:avLst/>
              <a:gdLst>
                <a:gd name="T0" fmla="*/ 0 w 39"/>
                <a:gd name="T1" fmla="*/ 0 h 31"/>
                <a:gd name="T2" fmla="*/ 0 w 39"/>
                <a:gd name="T3" fmla="*/ 0 h 31"/>
                <a:gd name="T4" fmla="*/ 0 w 39"/>
                <a:gd name="T5" fmla="*/ 0 h 31"/>
                <a:gd name="T6" fmla="*/ 0 w 39"/>
                <a:gd name="T7" fmla="*/ 1 h 31"/>
                <a:gd name="T8" fmla="*/ 1 w 39"/>
                <a:gd name="T9" fmla="*/ 1 h 31"/>
                <a:gd name="T10" fmla="*/ 1 w 39"/>
                <a:gd name="T11" fmla="*/ 1 h 31"/>
                <a:gd name="T12" fmla="*/ 1 w 39"/>
                <a:gd name="T13" fmla="*/ 1 h 31"/>
                <a:gd name="T14" fmla="*/ 1 w 39"/>
                <a:gd name="T15" fmla="*/ 1 h 31"/>
                <a:gd name="T16" fmla="*/ 1 w 39"/>
                <a:gd name="T17" fmla="*/ 1 h 31"/>
                <a:gd name="T18" fmla="*/ 1 w 39"/>
                <a:gd name="T19" fmla="*/ 1 h 31"/>
                <a:gd name="T20" fmla="*/ 1 w 39"/>
                <a:gd name="T21" fmla="*/ 1 h 31"/>
                <a:gd name="T22" fmla="*/ 1 w 39"/>
                <a:gd name="T23" fmla="*/ 0 h 31"/>
                <a:gd name="T24" fmla="*/ 0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09" name="Freeform 288"/>
            <p:cNvSpPr>
              <a:spLocks/>
            </p:cNvSpPr>
            <p:nvPr/>
          </p:nvSpPr>
          <p:spPr bwMode="auto">
            <a:xfrm>
              <a:off x="5172" y="2410"/>
              <a:ext cx="10" cy="6"/>
            </a:xfrm>
            <a:custGeom>
              <a:avLst/>
              <a:gdLst>
                <a:gd name="T0" fmla="*/ 0 w 34"/>
                <a:gd name="T1" fmla="*/ 0 h 19"/>
                <a:gd name="T2" fmla="*/ 1 w 34"/>
                <a:gd name="T3" fmla="*/ 1 h 19"/>
                <a:gd name="T4" fmla="*/ 1 w 34"/>
                <a:gd name="T5" fmla="*/ 0 h 19"/>
                <a:gd name="T6" fmla="*/ 1 w 34"/>
                <a:gd name="T7" fmla="*/ 0 h 19"/>
                <a:gd name="T8" fmla="*/ 0 w 34"/>
                <a:gd name="T9" fmla="*/ 0 h 19"/>
                <a:gd name="T10" fmla="*/ 0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 name="T21" fmla="*/ 0 w 34"/>
                <a:gd name="T22" fmla="*/ 0 h 19"/>
                <a:gd name="T23" fmla="*/ 34 w 34"/>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10" name="Freeform 289"/>
            <p:cNvSpPr>
              <a:spLocks/>
            </p:cNvSpPr>
            <p:nvPr/>
          </p:nvSpPr>
          <p:spPr bwMode="auto">
            <a:xfrm>
              <a:off x="5180" y="2471"/>
              <a:ext cx="6" cy="4"/>
            </a:xfrm>
            <a:custGeom>
              <a:avLst/>
              <a:gdLst>
                <a:gd name="T0" fmla="*/ 0 w 19"/>
                <a:gd name="T1" fmla="*/ 0 h 12"/>
                <a:gd name="T2" fmla="*/ 1 w 19"/>
                <a:gd name="T3" fmla="*/ 0 h 12"/>
                <a:gd name="T4" fmla="*/ 0 w 19"/>
                <a:gd name="T5" fmla="*/ 0 h 12"/>
                <a:gd name="T6" fmla="*/ 0 w 19"/>
                <a:gd name="T7" fmla="*/ 0 h 12"/>
                <a:gd name="T8" fmla="*/ 0 60000 65536"/>
                <a:gd name="T9" fmla="*/ 0 60000 65536"/>
                <a:gd name="T10" fmla="*/ 0 60000 65536"/>
                <a:gd name="T11" fmla="*/ 0 60000 65536"/>
                <a:gd name="T12" fmla="*/ 0 w 19"/>
                <a:gd name="T13" fmla="*/ 0 h 12"/>
                <a:gd name="T14" fmla="*/ 19 w 19"/>
                <a:gd name="T15" fmla="*/ 12 h 12"/>
              </a:gdLst>
              <a:ahLst/>
              <a:cxnLst>
                <a:cxn ang="T8">
                  <a:pos x="T0" y="T1"/>
                </a:cxn>
                <a:cxn ang="T9">
                  <a:pos x="T2" y="T3"/>
                </a:cxn>
                <a:cxn ang="T10">
                  <a:pos x="T4" y="T5"/>
                </a:cxn>
                <a:cxn ang="T11">
                  <a:pos x="T6" y="T7"/>
                </a:cxn>
              </a:cxnLst>
              <a:rect l="T12" t="T13" r="T14" b="T15"/>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11" name="Freeform 290"/>
            <p:cNvSpPr>
              <a:spLocks/>
            </p:cNvSpPr>
            <p:nvPr/>
          </p:nvSpPr>
          <p:spPr bwMode="auto">
            <a:xfrm>
              <a:off x="5062" y="2447"/>
              <a:ext cx="42" cy="55"/>
            </a:xfrm>
            <a:custGeom>
              <a:avLst/>
              <a:gdLst>
                <a:gd name="T0" fmla="*/ 4 w 126"/>
                <a:gd name="T1" fmla="*/ 0 h 166"/>
                <a:gd name="T2" fmla="*/ 4 w 126"/>
                <a:gd name="T3" fmla="*/ 0 h 166"/>
                <a:gd name="T4" fmla="*/ 4 w 126"/>
                <a:gd name="T5" fmla="*/ 0 h 166"/>
                <a:gd name="T6" fmla="*/ 5 w 126"/>
                <a:gd name="T7" fmla="*/ 0 h 166"/>
                <a:gd name="T8" fmla="*/ 5 w 126"/>
                <a:gd name="T9" fmla="*/ 1 h 166"/>
                <a:gd name="T10" fmla="*/ 5 w 126"/>
                <a:gd name="T11" fmla="*/ 1 h 166"/>
                <a:gd name="T12" fmla="*/ 5 w 126"/>
                <a:gd name="T13" fmla="*/ 1 h 166"/>
                <a:gd name="T14" fmla="*/ 5 w 126"/>
                <a:gd name="T15" fmla="*/ 1 h 166"/>
                <a:gd name="T16" fmla="*/ 4 w 126"/>
                <a:gd name="T17" fmla="*/ 2 h 166"/>
                <a:gd name="T18" fmla="*/ 4 w 126"/>
                <a:gd name="T19" fmla="*/ 2 h 166"/>
                <a:gd name="T20" fmla="*/ 4 w 126"/>
                <a:gd name="T21" fmla="*/ 2 h 166"/>
                <a:gd name="T22" fmla="*/ 3 w 126"/>
                <a:gd name="T23" fmla="*/ 3 h 166"/>
                <a:gd name="T24" fmla="*/ 3 w 126"/>
                <a:gd name="T25" fmla="*/ 4 h 166"/>
                <a:gd name="T26" fmla="*/ 2 w 126"/>
                <a:gd name="T27" fmla="*/ 5 h 166"/>
                <a:gd name="T28" fmla="*/ 1 w 126"/>
                <a:gd name="T29" fmla="*/ 5 h 166"/>
                <a:gd name="T30" fmla="*/ 1 w 126"/>
                <a:gd name="T31" fmla="*/ 6 h 166"/>
                <a:gd name="T32" fmla="*/ 1 w 126"/>
                <a:gd name="T33" fmla="*/ 6 h 166"/>
                <a:gd name="T34" fmla="*/ 0 w 126"/>
                <a:gd name="T35" fmla="*/ 6 h 166"/>
                <a:gd name="T36" fmla="*/ 0 w 126"/>
                <a:gd name="T37" fmla="*/ 6 h 166"/>
                <a:gd name="T38" fmla="*/ 0 w 126"/>
                <a:gd name="T39" fmla="*/ 6 h 166"/>
                <a:gd name="T40" fmla="*/ 0 w 126"/>
                <a:gd name="T41" fmla="*/ 6 h 166"/>
                <a:gd name="T42" fmla="*/ 0 w 126"/>
                <a:gd name="T43" fmla="*/ 5 h 166"/>
                <a:gd name="T44" fmla="*/ 0 w 126"/>
                <a:gd name="T45" fmla="*/ 5 h 166"/>
                <a:gd name="T46" fmla="*/ 0 w 126"/>
                <a:gd name="T47" fmla="*/ 5 h 166"/>
                <a:gd name="T48" fmla="*/ 0 w 126"/>
                <a:gd name="T49" fmla="*/ 5 h 166"/>
                <a:gd name="T50" fmla="*/ 0 w 126"/>
                <a:gd name="T51" fmla="*/ 5 h 166"/>
                <a:gd name="T52" fmla="*/ 1 w 126"/>
                <a:gd name="T53" fmla="*/ 4 h 166"/>
                <a:gd name="T54" fmla="*/ 1 w 126"/>
                <a:gd name="T55" fmla="*/ 4 h 166"/>
                <a:gd name="T56" fmla="*/ 1 w 126"/>
                <a:gd name="T57" fmla="*/ 4 h 166"/>
                <a:gd name="T58" fmla="*/ 1 w 126"/>
                <a:gd name="T59" fmla="*/ 4 h 166"/>
                <a:gd name="T60" fmla="*/ 2 w 126"/>
                <a:gd name="T61" fmla="*/ 4 h 166"/>
                <a:gd name="T62" fmla="*/ 2 w 126"/>
                <a:gd name="T63" fmla="*/ 3 h 166"/>
                <a:gd name="T64" fmla="*/ 2 w 126"/>
                <a:gd name="T65" fmla="*/ 3 h 166"/>
                <a:gd name="T66" fmla="*/ 2 w 126"/>
                <a:gd name="T67" fmla="*/ 2 h 166"/>
                <a:gd name="T68" fmla="*/ 3 w 126"/>
                <a:gd name="T69" fmla="*/ 2 h 166"/>
                <a:gd name="T70" fmla="*/ 3 w 126"/>
                <a:gd name="T71" fmla="*/ 1 h 166"/>
                <a:gd name="T72" fmla="*/ 3 w 126"/>
                <a:gd name="T73" fmla="*/ 1 h 166"/>
                <a:gd name="T74" fmla="*/ 3 w 126"/>
                <a:gd name="T75" fmla="*/ 1 h 166"/>
                <a:gd name="T76" fmla="*/ 4 w 126"/>
                <a:gd name="T77" fmla="*/ 0 h 166"/>
                <a:gd name="T78" fmla="*/ 4 w 126"/>
                <a:gd name="T79" fmla="*/ 0 h 166"/>
                <a:gd name="T80" fmla="*/ 4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26"/>
                <a:gd name="T124" fmla="*/ 0 h 166"/>
                <a:gd name="T125" fmla="*/ 126 w 126"/>
                <a:gd name="T126" fmla="*/ 166 h 16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12" name="Freeform 291"/>
            <p:cNvSpPr>
              <a:spLocks/>
            </p:cNvSpPr>
            <p:nvPr/>
          </p:nvSpPr>
          <p:spPr bwMode="auto">
            <a:xfrm>
              <a:off x="5154" y="2465"/>
              <a:ext cx="85" cy="86"/>
            </a:xfrm>
            <a:custGeom>
              <a:avLst/>
              <a:gdLst>
                <a:gd name="T0" fmla="*/ 0 w 259"/>
                <a:gd name="T1" fmla="*/ 7 h 259"/>
                <a:gd name="T2" fmla="*/ 0 w 259"/>
                <a:gd name="T3" fmla="*/ 6 h 259"/>
                <a:gd name="T4" fmla="*/ 0 w 259"/>
                <a:gd name="T5" fmla="*/ 5 h 259"/>
                <a:gd name="T6" fmla="*/ 0 w 259"/>
                <a:gd name="T7" fmla="*/ 5 h 259"/>
                <a:gd name="T8" fmla="*/ 1 w 259"/>
                <a:gd name="T9" fmla="*/ 5 h 259"/>
                <a:gd name="T10" fmla="*/ 1 w 259"/>
                <a:gd name="T11" fmla="*/ 4 h 259"/>
                <a:gd name="T12" fmla="*/ 2 w 259"/>
                <a:gd name="T13" fmla="*/ 4 h 259"/>
                <a:gd name="T14" fmla="*/ 2 w 259"/>
                <a:gd name="T15" fmla="*/ 3 h 259"/>
                <a:gd name="T16" fmla="*/ 2 w 259"/>
                <a:gd name="T17" fmla="*/ 3 h 259"/>
                <a:gd name="T18" fmla="*/ 3 w 259"/>
                <a:gd name="T19" fmla="*/ 3 h 259"/>
                <a:gd name="T20" fmla="*/ 3 w 259"/>
                <a:gd name="T21" fmla="*/ 3 h 259"/>
                <a:gd name="T22" fmla="*/ 4 w 259"/>
                <a:gd name="T23" fmla="*/ 4 h 259"/>
                <a:gd name="T24" fmla="*/ 4 w 259"/>
                <a:gd name="T25" fmla="*/ 4 h 259"/>
                <a:gd name="T26" fmla="*/ 4 w 259"/>
                <a:gd name="T27" fmla="*/ 4 h 259"/>
                <a:gd name="T28" fmla="*/ 5 w 259"/>
                <a:gd name="T29" fmla="*/ 4 h 259"/>
                <a:gd name="T30" fmla="*/ 5 w 259"/>
                <a:gd name="T31" fmla="*/ 3 h 259"/>
                <a:gd name="T32" fmla="*/ 6 w 259"/>
                <a:gd name="T33" fmla="*/ 3 h 259"/>
                <a:gd name="T34" fmla="*/ 6 w 259"/>
                <a:gd name="T35" fmla="*/ 2 h 259"/>
                <a:gd name="T36" fmla="*/ 7 w 259"/>
                <a:gd name="T37" fmla="*/ 1 h 259"/>
                <a:gd name="T38" fmla="*/ 7 w 259"/>
                <a:gd name="T39" fmla="*/ 0 h 259"/>
                <a:gd name="T40" fmla="*/ 7 w 259"/>
                <a:gd name="T41" fmla="*/ 0 h 259"/>
                <a:gd name="T42" fmla="*/ 8 w 259"/>
                <a:gd name="T43" fmla="*/ 1 h 259"/>
                <a:gd name="T44" fmla="*/ 8 w 259"/>
                <a:gd name="T45" fmla="*/ 1 h 259"/>
                <a:gd name="T46" fmla="*/ 8 w 259"/>
                <a:gd name="T47" fmla="*/ 2 h 259"/>
                <a:gd name="T48" fmla="*/ 8 w 259"/>
                <a:gd name="T49" fmla="*/ 2 h 259"/>
                <a:gd name="T50" fmla="*/ 8 w 259"/>
                <a:gd name="T51" fmla="*/ 3 h 259"/>
                <a:gd name="T52" fmla="*/ 8 w 259"/>
                <a:gd name="T53" fmla="*/ 3 h 259"/>
                <a:gd name="T54" fmla="*/ 8 w 259"/>
                <a:gd name="T55" fmla="*/ 4 h 259"/>
                <a:gd name="T56" fmla="*/ 9 w 259"/>
                <a:gd name="T57" fmla="*/ 4 h 259"/>
                <a:gd name="T58" fmla="*/ 9 w 259"/>
                <a:gd name="T59" fmla="*/ 4 h 259"/>
                <a:gd name="T60" fmla="*/ 9 w 259"/>
                <a:gd name="T61" fmla="*/ 5 h 259"/>
                <a:gd name="T62" fmla="*/ 9 w 259"/>
                <a:gd name="T63" fmla="*/ 6 h 259"/>
                <a:gd name="T64" fmla="*/ 9 w 259"/>
                <a:gd name="T65" fmla="*/ 9 h 259"/>
                <a:gd name="T66" fmla="*/ 9 w 259"/>
                <a:gd name="T67" fmla="*/ 8 h 259"/>
                <a:gd name="T68" fmla="*/ 9 w 259"/>
                <a:gd name="T69" fmla="*/ 8 h 259"/>
                <a:gd name="T70" fmla="*/ 9 w 259"/>
                <a:gd name="T71" fmla="*/ 7 h 259"/>
                <a:gd name="T72" fmla="*/ 8 w 259"/>
                <a:gd name="T73" fmla="*/ 7 h 259"/>
                <a:gd name="T74" fmla="*/ 7 w 259"/>
                <a:gd name="T75" fmla="*/ 7 h 259"/>
                <a:gd name="T76" fmla="*/ 7 w 259"/>
                <a:gd name="T77" fmla="*/ 7 h 259"/>
                <a:gd name="T78" fmla="*/ 7 w 259"/>
                <a:gd name="T79" fmla="*/ 8 h 259"/>
                <a:gd name="T80" fmla="*/ 7 w 259"/>
                <a:gd name="T81" fmla="*/ 10 h 259"/>
                <a:gd name="T82" fmla="*/ 4 w 259"/>
                <a:gd name="T83" fmla="*/ 9 h 259"/>
                <a:gd name="T84" fmla="*/ 4 w 259"/>
                <a:gd name="T85" fmla="*/ 8 h 259"/>
                <a:gd name="T86" fmla="*/ 4 w 259"/>
                <a:gd name="T87" fmla="*/ 8 h 259"/>
                <a:gd name="T88" fmla="*/ 4 w 259"/>
                <a:gd name="T89" fmla="*/ 7 h 259"/>
                <a:gd name="T90" fmla="*/ 4 w 259"/>
                <a:gd name="T91" fmla="*/ 7 h 259"/>
                <a:gd name="T92" fmla="*/ 4 w 259"/>
                <a:gd name="T93" fmla="*/ 7 h 259"/>
                <a:gd name="T94" fmla="*/ 4 w 259"/>
                <a:gd name="T95" fmla="*/ 6 h 259"/>
                <a:gd name="T96" fmla="*/ 3 w 259"/>
                <a:gd name="T97" fmla="*/ 6 h 259"/>
                <a:gd name="T98" fmla="*/ 1 w 259"/>
                <a:gd name="T99" fmla="*/ 6 h 259"/>
                <a:gd name="T100" fmla="*/ 1 w 259"/>
                <a:gd name="T101" fmla="*/ 6 h 259"/>
                <a:gd name="T102" fmla="*/ 1 w 259"/>
                <a:gd name="T103" fmla="*/ 6 h 259"/>
                <a:gd name="T104" fmla="*/ 0 w 259"/>
                <a:gd name="T105" fmla="*/ 7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59"/>
                <a:gd name="T160" fmla="*/ 0 h 259"/>
                <a:gd name="T161" fmla="*/ 259 w 259"/>
                <a:gd name="T162" fmla="*/ 259 h 25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13" name="Freeform 292"/>
            <p:cNvSpPr>
              <a:spLocks/>
            </p:cNvSpPr>
            <p:nvPr/>
          </p:nvSpPr>
          <p:spPr bwMode="auto">
            <a:xfrm>
              <a:off x="5104" y="2395"/>
              <a:ext cx="23" cy="31"/>
            </a:xfrm>
            <a:custGeom>
              <a:avLst/>
              <a:gdLst>
                <a:gd name="T0" fmla="*/ 2 w 72"/>
                <a:gd name="T1" fmla="*/ 2 h 92"/>
                <a:gd name="T2" fmla="*/ 2 w 72"/>
                <a:gd name="T3" fmla="*/ 3 h 92"/>
                <a:gd name="T4" fmla="*/ 2 w 72"/>
                <a:gd name="T5" fmla="*/ 3 h 92"/>
                <a:gd name="T6" fmla="*/ 2 w 72"/>
                <a:gd name="T7" fmla="*/ 3 h 92"/>
                <a:gd name="T8" fmla="*/ 2 w 72"/>
                <a:gd name="T9" fmla="*/ 3 h 92"/>
                <a:gd name="T10" fmla="*/ 2 w 72"/>
                <a:gd name="T11" fmla="*/ 3 h 92"/>
                <a:gd name="T12" fmla="*/ 1 w 72"/>
                <a:gd name="T13" fmla="*/ 2 h 92"/>
                <a:gd name="T14" fmla="*/ 1 w 72"/>
                <a:gd name="T15" fmla="*/ 2 h 92"/>
                <a:gd name="T16" fmla="*/ 1 w 72"/>
                <a:gd name="T17" fmla="*/ 1 h 92"/>
                <a:gd name="T18" fmla="*/ 1 w 72"/>
                <a:gd name="T19" fmla="*/ 1 h 92"/>
                <a:gd name="T20" fmla="*/ 0 w 72"/>
                <a:gd name="T21" fmla="*/ 0 h 92"/>
                <a:gd name="T22" fmla="*/ 0 w 72"/>
                <a:gd name="T23" fmla="*/ 0 h 92"/>
                <a:gd name="T24" fmla="*/ 1 w 72"/>
                <a:gd name="T25" fmla="*/ 0 h 92"/>
                <a:gd name="T26" fmla="*/ 1 w 72"/>
                <a:gd name="T27" fmla="*/ 1 h 92"/>
                <a:gd name="T28" fmla="*/ 2 w 72"/>
                <a:gd name="T29" fmla="*/ 1 h 92"/>
                <a:gd name="T30" fmla="*/ 2 w 72"/>
                <a:gd name="T31" fmla="*/ 1 h 92"/>
                <a:gd name="T32" fmla="*/ 2 w 72"/>
                <a:gd name="T33" fmla="*/ 1 h 92"/>
                <a:gd name="T34" fmla="*/ 2 w 72"/>
                <a:gd name="T35" fmla="*/ 2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92"/>
                <a:gd name="T56" fmla="*/ 72 w 72"/>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14" name="Freeform 293"/>
            <p:cNvSpPr>
              <a:spLocks/>
            </p:cNvSpPr>
            <p:nvPr/>
          </p:nvSpPr>
          <p:spPr bwMode="auto">
            <a:xfrm>
              <a:off x="5143" y="2436"/>
              <a:ext cx="16" cy="21"/>
            </a:xfrm>
            <a:custGeom>
              <a:avLst/>
              <a:gdLst>
                <a:gd name="T0" fmla="*/ 0 w 46"/>
                <a:gd name="T1" fmla="*/ 0 h 62"/>
                <a:gd name="T2" fmla="*/ 1 w 46"/>
                <a:gd name="T3" fmla="*/ 0 h 62"/>
                <a:gd name="T4" fmla="*/ 1 w 46"/>
                <a:gd name="T5" fmla="*/ 0 h 62"/>
                <a:gd name="T6" fmla="*/ 2 w 46"/>
                <a:gd name="T7" fmla="*/ 0 h 62"/>
                <a:gd name="T8" fmla="*/ 2 w 46"/>
                <a:gd name="T9" fmla="*/ 0 h 62"/>
                <a:gd name="T10" fmla="*/ 2 w 46"/>
                <a:gd name="T11" fmla="*/ 0 h 62"/>
                <a:gd name="T12" fmla="*/ 2 w 46"/>
                <a:gd name="T13" fmla="*/ 1 h 62"/>
                <a:gd name="T14" fmla="*/ 2 w 46"/>
                <a:gd name="T15" fmla="*/ 1 h 62"/>
                <a:gd name="T16" fmla="*/ 2 w 46"/>
                <a:gd name="T17" fmla="*/ 1 h 62"/>
                <a:gd name="T18" fmla="*/ 2 w 46"/>
                <a:gd name="T19" fmla="*/ 2 h 62"/>
                <a:gd name="T20" fmla="*/ 2 w 46"/>
                <a:gd name="T21" fmla="*/ 2 h 62"/>
                <a:gd name="T22" fmla="*/ 2 w 46"/>
                <a:gd name="T23" fmla="*/ 2 h 62"/>
                <a:gd name="T24" fmla="*/ 2 w 46"/>
                <a:gd name="T25" fmla="*/ 2 h 62"/>
                <a:gd name="T26" fmla="*/ 1 w 46"/>
                <a:gd name="T27" fmla="*/ 2 h 62"/>
                <a:gd name="T28" fmla="*/ 1 w 46"/>
                <a:gd name="T29" fmla="*/ 2 h 62"/>
                <a:gd name="T30" fmla="*/ 1 w 46"/>
                <a:gd name="T31" fmla="*/ 2 h 62"/>
                <a:gd name="T32" fmla="*/ 1 w 46"/>
                <a:gd name="T33" fmla="*/ 2 h 62"/>
                <a:gd name="T34" fmla="*/ 1 w 46"/>
                <a:gd name="T35" fmla="*/ 2 h 62"/>
                <a:gd name="T36" fmla="*/ 1 w 46"/>
                <a:gd name="T37" fmla="*/ 2 h 62"/>
                <a:gd name="T38" fmla="*/ 0 w 46"/>
                <a:gd name="T39" fmla="*/ 2 h 62"/>
                <a:gd name="T40" fmla="*/ 0 w 46"/>
                <a:gd name="T41" fmla="*/ 2 h 62"/>
                <a:gd name="T42" fmla="*/ 0 w 46"/>
                <a:gd name="T43" fmla="*/ 2 h 62"/>
                <a:gd name="T44" fmla="*/ 0 w 46"/>
                <a:gd name="T45" fmla="*/ 2 h 62"/>
                <a:gd name="T46" fmla="*/ 0 w 46"/>
                <a:gd name="T47" fmla="*/ 1 h 62"/>
                <a:gd name="T48" fmla="*/ 0 w 46"/>
                <a:gd name="T49" fmla="*/ 1 h 62"/>
                <a:gd name="T50" fmla="*/ 0 w 46"/>
                <a:gd name="T51" fmla="*/ 1 h 62"/>
                <a:gd name="T52" fmla="*/ 0 w 46"/>
                <a:gd name="T53" fmla="*/ 0 h 62"/>
                <a:gd name="T54" fmla="*/ 0 w 46"/>
                <a:gd name="T55" fmla="*/ 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6"/>
                <a:gd name="T85" fmla="*/ 0 h 62"/>
                <a:gd name="T86" fmla="*/ 46 w 4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15" name="Freeform 294"/>
            <p:cNvSpPr>
              <a:spLocks/>
            </p:cNvSpPr>
            <p:nvPr/>
          </p:nvSpPr>
          <p:spPr bwMode="auto">
            <a:xfrm>
              <a:off x="5089" y="2295"/>
              <a:ext cx="50" cy="98"/>
            </a:xfrm>
            <a:custGeom>
              <a:avLst/>
              <a:gdLst>
                <a:gd name="T0" fmla="*/ 2 w 152"/>
                <a:gd name="T1" fmla="*/ 0 h 296"/>
                <a:gd name="T2" fmla="*/ 2 w 152"/>
                <a:gd name="T3" fmla="*/ 0 h 296"/>
                <a:gd name="T4" fmla="*/ 3 w 152"/>
                <a:gd name="T5" fmla="*/ 1 h 296"/>
                <a:gd name="T6" fmla="*/ 3 w 152"/>
                <a:gd name="T7" fmla="*/ 1 h 296"/>
                <a:gd name="T8" fmla="*/ 4 w 152"/>
                <a:gd name="T9" fmla="*/ 1 h 296"/>
                <a:gd name="T10" fmla="*/ 4 w 152"/>
                <a:gd name="T11" fmla="*/ 1 h 296"/>
                <a:gd name="T12" fmla="*/ 4 w 152"/>
                <a:gd name="T13" fmla="*/ 0 h 296"/>
                <a:gd name="T14" fmla="*/ 4 w 152"/>
                <a:gd name="T15" fmla="*/ 1 h 296"/>
                <a:gd name="T16" fmla="*/ 5 w 152"/>
                <a:gd name="T17" fmla="*/ 2 h 296"/>
                <a:gd name="T18" fmla="*/ 5 w 152"/>
                <a:gd name="T19" fmla="*/ 3 h 296"/>
                <a:gd name="T20" fmla="*/ 5 w 152"/>
                <a:gd name="T21" fmla="*/ 3 h 296"/>
                <a:gd name="T22" fmla="*/ 5 w 152"/>
                <a:gd name="T23" fmla="*/ 4 h 296"/>
                <a:gd name="T24" fmla="*/ 5 w 152"/>
                <a:gd name="T25" fmla="*/ 4 h 296"/>
                <a:gd name="T26" fmla="*/ 5 w 152"/>
                <a:gd name="T27" fmla="*/ 5 h 296"/>
                <a:gd name="T28" fmla="*/ 4 w 152"/>
                <a:gd name="T29" fmla="*/ 6 h 296"/>
                <a:gd name="T30" fmla="*/ 4 w 152"/>
                <a:gd name="T31" fmla="*/ 6 h 296"/>
                <a:gd name="T32" fmla="*/ 4 w 152"/>
                <a:gd name="T33" fmla="*/ 7 h 296"/>
                <a:gd name="T34" fmla="*/ 4 w 152"/>
                <a:gd name="T35" fmla="*/ 8 h 296"/>
                <a:gd name="T36" fmla="*/ 4 w 152"/>
                <a:gd name="T37" fmla="*/ 8 h 296"/>
                <a:gd name="T38" fmla="*/ 4 w 152"/>
                <a:gd name="T39" fmla="*/ 8 h 296"/>
                <a:gd name="T40" fmla="*/ 5 w 152"/>
                <a:gd name="T41" fmla="*/ 8 h 296"/>
                <a:gd name="T42" fmla="*/ 5 w 152"/>
                <a:gd name="T43" fmla="*/ 9 h 296"/>
                <a:gd name="T44" fmla="*/ 5 w 152"/>
                <a:gd name="T45" fmla="*/ 10 h 296"/>
                <a:gd name="T46" fmla="*/ 5 w 152"/>
                <a:gd name="T47" fmla="*/ 10 h 296"/>
                <a:gd name="T48" fmla="*/ 4 w 152"/>
                <a:gd name="T49" fmla="*/ 11 h 296"/>
                <a:gd name="T50" fmla="*/ 4 w 152"/>
                <a:gd name="T51" fmla="*/ 11 h 296"/>
                <a:gd name="T52" fmla="*/ 3 w 152"/>
                <a:gd name="T53" fmla="*/ 11 h 296"/>
                <a:gd name="T54" fmla="*/ 3 w 152"/>
                <a:gd name="T55" fmla="*/ 10 h 296"/>
                <a:gd name="T56" fmla="*/ 2 w 152"/>
                <a:gd name="T57" fmla="*/ 10 h 296"/>
                <a:gd name="T58" fmla="*/ 2 w 152"/>
                <a:gd name="T59" fmla="*/ 10 h 296"/>
                <a:gd name="T60" fmla="*/ 3 w 152"/>
                <a:gd name="T61" fmla="*/ 9 h 296"/>
                <a:gd name="T62" fmla="*/ 3 w 152"/>
                <a:gd name="T63" fmla="*/ 9 h 296"/>
                <a:gd name="T64" fmla="*/ 2 w 152"/>
                <a:gd name="T65" fmla="*/ 9 h 296"/>
                <a:gd name="T66" fmla="*/ 1 w 152"/>
                <a:gd name="T67" fmla="*/ 8 h 296"/>
                <a:gd name="T68" fmla="*/ 1 w 152"/>
                <a:gd name="T69" fmla="*/ 8 h 296"/>
                <a:gd name="T70" fmla="*/ 1 w 152"/>
                <a:gd name="T71" fmla="*/ 8 h 296"/>
                <a:gd name="T72" fmla="*/ 0 w 152"/>
                <a:gd name="T73" fmla="*/ 7 h 296"/>
                <a:gd name="T74" fmla="*/ 0 w 152"/>
                <a:gd name="T75" fmla="*/ 6 h 296"/>
                <a:gd name="T76" fmla="*/ 0 w 152"/>
                <a:gd name="T77" fmla="*/ 6 h 296"/>
                <a:gd name="T78" fmla="*/ 0 w 152"/>
                <a:gd name="T79" fmla="*/ 5 h 296"/>
                <a:gd name="T80" fmla="*/ 1 w 152"/>
                <a:gd name="T81" fmla="*/ 4 h 296"/>
                <a:gd name="T82" fmla="*/ 1 w 152"/>
                <a:gd name="T83" fmla="*/ 2 h 296"/>
                <a:gd name="T84" fmla="*/ 1 w 152"/>
                <a:gd name="T85" fmla="*/ 1 h 296"/>
                <a:gd name="T86" fmla="*/ 1 w 152"/>
                <a:gd name="T87" fmla="*/ 0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2"/>
                <a:gd name="T133" fmla="*/ 0 h 296"/>
                <a:gd name="T134" fmla="*/ 152 w 152"/>
                <a:gd name="T135" fmla="*/ 296 h 29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16" name="Freeform 295"/>
            <p:cNvSpPr>
              <a:spLocks/>
            </p:cNvSpPr>
            <p:nvPr/>
          </p:nvSpPr>
          <p:spPr bwMode="auto">
            <a:xfrm>
              <a:off x="5189" y="2442"/>
              <a:ext cx="8" cy="13"/>
            </a:xfrm>
            <a:custGeom>
              <a:avLst/>
              <a:gdLst>
                <a:gd name="T0" fmla="*/ 1 w 26"/>
                <a:gd name="T1" fmla="*/ 1 h 38"/>
                <a:gd name="T2" fmla="*/ 1 w 26"/>
                <a:gd name="T3" fmla="*/ 0 h 38"/>
                <a:gd name="T4" fmla="*/ 1 w 26"/>
                <a:gd name="T5" fmla="*/ 0 h 38"/>
                <a:gd name="T6" fmla="*/ 0 w 26"/>
                <a:gd name="T7" fmla="*/ 0 h 38"/>
                <a:gd name="T8" fmla="*/ 0 w 26"/>
                <a:gd name="T9" fmla="*/ 0 h 38"/>
                <a:gd name="T10" fmla="*/ 0 w 26"/>
                <a:gd name="T11" fmla="*/ 0 h 38"/>
                <a:gd name="T12" fmla="*/ 1 w 26"/>
                <a:gd name="T13" fmla="*/ 1 h 38"/>
                <a:gd name="T14" fmla="*/ 1 w 26"/>
                <a:gd name="T15" fmla="*/ 1 h 38"/>
                <a:gd name="T16" fmla="*/ 0 60000 65536"/>
                <a:gd name="T17" fmla="*/ 0 60000 65536"/>
                <a:gd name="T18" fmla="*/ 0 60000 65536"/>
                <a:gd name="T19" fmla="*/ 0 60000 65536"/>
                <a:gd name="T20" fmla="*/ 0 60000 65536"/>
                <a:gd name="T21" fmla="*/ 0 60000 65536"/>
                <a:gd name="T22" fmla="*/ 0 60000 65536"/>
                <a:gd name="T23" fmla="*/ 0 60000 65536"/>
                <a:gd name="T24" fmla="*/ 0 w 26"/>
                <a:gd name="T25" fmla="*/ 0 h 38"/>
                <a:gd name="T26" fmla="*/ 26 w 26"/>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17" name="Freeform 296"/>
            <p:cNvSpPr>
              <a:spLocks/>
            </p:cNvSpPr>
            <p:nvPr/>
          </p:nvSpPr>
          <p:spPr bwMode="auto">
            <a:xfrm>
              <a:off x="5165" y="2420"/>
              <a:ext cx="10" cy="10"/>
            </a:xfrm>
            <a:custGeom>
              <a:avLst/>
              <a:gdLst>
                <a:gd name="T0" fmla="*/ 0 w 34"/>
                <a:gd name="T1" fmla="*/ 1 h 31"/>
                <a:gd name="T2" fmla="*/ 0 w 34"/>
                <a:gd name="T3" fmla="*/ 1 h 31"/>
                <a:gd name="T4" fmla="*/ 0 w 34"/>
                <a:gd name="T5" fmla="*/ 1 h 31"/>
                <a:gd name="T6" fmla="*/ 1 w 34"/>
                <a:gd name="T7" fmla="*/ 1 h 31"/>
                <a:gd name="T8" fmla="*/ 1 w 34"/>
                <a:gd name="T9" fmla="*/ 1 h 31"/>
                <a:gd name="T10" fmla="*/ 1 w 34"/>
                <a:gd name="T11" fmla="*/ 1 h 31"/>
                <a:gd name="T12" fmla="*/ 1 w 34"/>
                <a:gd name="T13" fmla="*/ 1 h 31"/>
                <a:gd name="T14" fmla="*/ 1 w 34"/>
                <a:gd name="T15" fmla="*/ 0 h 31"/>
                <a:gd name="T16" fmla="*/ 1 w 34"/>
                <a:gd name="T17" fmla="*/ 0 h 31"/>
                <a:gd name="T18" fmla="*/ 0 w 34"/>
                <a:gd name="T19" fmla="*/ 0 h 31"/>
                <a:gd name="T20" fmla="*/ 0 w 34"/>
                <a:gd name="T21" fmla="*/ 0 h 31"/>
                <a:gd name="T22" fmla="*/ 0 w 34"/>
                <a:gd name="T23" fmla="*/ 1 h 31"/>
                <a:gd name="T24" fmla="*/ 0 w 34"/>
                <a:gd name="T25" fmla="*/ 1 h 31"/>
                <a:gd name="T26" fmla="*/ 0 w 34"/>
                <a:gd name="T27" fmla="*/ 1 h 31"/>
                <a:gd name="T28" fmla="*/ 0 w 34"/>
                <a:gd name="T29" fmla="*/ 1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
                <a:gd name="T46" fmla="*/ 0 h 31"/>
                <a:gd name="T47" fmla="*/ 34 w 34"/>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18" name="Freeform 297"/>
            <p:cNvSpPr>
              <a:spLocks/>
            </p:cNvSpPr>
            <p:nvPr/>
          </p:nvSpPr>
          <p:spPr bwMode="auto">
            <a:xfrm>
              <a:off x="5139" y="2418"/>
              <a:ext cx="6" cy="12"/>
            </a:xfrm>
            <a:custGeom>
              <a:avLst/>
              <a:gdLst>
                <a:gd name="T0" fmla="*/ 0 w 20"/>
                <a:gd name="T1" fmla="*/ 0 h 37"/>
                <a:gd name="T2" fmla="*/ 0 w 20"/>
                <a:gd name="T3" fmla="*/ 1 h 37"/>
                <a:gd name="T4" fmla="*/ 0 w 20"/>
                <a:gd name="T5" fmla="*/ 1 h 37"/>
                <a:gd name="T6" fmla="*/ 1 w 20"/>
                <a:gd name="T7" fmla="*/ 1 h 37"/>
                <a:gd name="T8" fmla="*/ 1 w 20"/>
                <a:gd name="T9" fmla="*/ 0 h 37"/>
                <a:gd name="T10" fmla="*/ 0 w 20"/>
                <a:gd name="T11" fmla="*/ 0 h 37"/>
                <a:gd name="T12" fmla="*/ 0 60000 65536"/>
                <a:gd name="T13" fmla="*/ 0 60000 65536"/>
                <a:gd name="T14" fmla="*/ 0 60000 65536"/>
                <a:gd name="T15" fmla="*/ 0 60000 65536"/>
                <a:gd name="T16" fmla="*/ 0 60000 65536"/>
                <a:gd name="T17" fmla="*/ 0 60000 65536"/>
                <a:gd name="T18" fmla="*/ 0 w 20"/>
                <a:gd name="T19" fmla="*/ 0 h 37"/>
                <a:gd name="T20" fmla="*/ 20 w 20"/>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19" name="Line 298"/>
            <p:cNvSpPr>
              <a:spLocks noChangeShapeType="1"/>
            </p:cNvSpPr>
            <p:nvPr/>
          </p:nvSpPr>
          <p:spPr bwMode="auto">
            <a:xfrm>
              <a:off x="5180" y="2449"/>
              <a:ext cx="1" cy="10"/>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20" name="Freeform 299"/>
            <p:cNvSpPr>
              <a:spLocks/>
            </p:cNvSpPr>
            <p:nvPr/>
          </p:nvSpPr>
          <p:spPr bwMode="auto">
            <a:xfrm>
              <a:off x="5180" y="2453"/>
              <a:ext cx="4" cy="6"/>
            </a:xfrm>
            <a:custGeom>
              <a:avLst/>
              <a:gdLst>
                <a:gd name="T0" fmla="*/ 0 w 13"/>
                <a:gd name="T1" fmla="*/ 1 h 18"/>
                <a:gd name="T2" fmla="*/ 0 w 13"/>
                <a:gd name="T3" fmla="*/ 0 h 18"/>
                <a:gd name="T4" fmla="*/ 0 w 13"/>
                <a:gd name="T5" fmla="*/ 0 h 18"/>
                <a:gd name="T6" fmla="*/ 0 w 13"/>
                <a:gd name="T7" fmla="*/ 0 h 18"/>
                <a:gd name="T8" fmla="*/ 0 w 13"/>
                <a:gd name="T9" fmla="*/ 0 h 18"/>
                <a:gd name="T10" fmla="*/ 0 60000 65536"/>
                <a:gd name="T11" fmla="*/ 0 60000 65536"/>
                <a:gd name="T12" fmla="*/ 0 60000 65536"/>
                <a:gd name="T13" fmla="*/ 0 60000 65536"/>
                <a:gd name="T14" fmla="*/ 0 60000 65536"/>
                <a:gd name="T15" fmla="*/ 0 w 13"/>
                <a:gd name="T16" fmla="*/ 0 h 18"/>
                <a:gd name="T17" fmla="*/ 13 w 13"/>
                <a:gd name="T18" fmla="*/ 18 h 18"/>
              </a:gdLst>
              <a:ahLst/>
              <a:cxnLst>
                <a:cxn ang="T10">
                  <a:pos x="T0" y="T1"/>
                </a:cxn>
                <a:cxn ang="T11">
                  <a:pos x="T2" y="T3"/>
                </a:cxn>
                <a:cxn ang="T12">
                  <a:pos x="T4" y="T5"/>
                </a:cxn>
                <a:cxn ang="T13">
                  <a:pos x="T6" y="T7"/>
                </a:cxn>
                <a:cxn ang="T14">
                  <a:pos x="T8" y="T9"/>
                </a:cxn>
              </a:cxnLst>
              <a:rect l="T15" t="T16" r="T17" b="T18"/>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21" name="Line 300"/>
            <p:cNvSpPr>
              <a:spLocks noChangeShapeType="1"/>
            </p:cNvSpPr>
            <p:nvPr/>
          </p:nvSpPr>
          <p:spPr bwMode="auto">
            <a:xfrm flipH="1" flipV="1">
              <a:off x="5178" y="2447"/>
              <a:ext cx="6" cy="6"/>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22" name="Freeform 301"/>
            <p:cNvSpPr>
              <a:spLocks/>
            </p:cNvSpPr>
            <p:nvPr/>
          </p:nvSpPr>
          <p:spPr bwMode="auto">
            <a:xfrm>
              <a:off x="5116" y="2564"/>
              <a:ext cx="9" cy="10"/>
            </a:xfrm>
            <a:custGeom>
              <a:avLst/>
              <a:gdLst>
                <a:gd name="T0" fmla="*/ 0 w 27"/>
                <a:gd name="T1" fmla="*/ 0 h 31"/>
                <a:gd name="T2" fmla="*/ 1 w 27"/>
                <a:gd name="T3" fmla="*/ 1 h 31"/>
                <a:gd name="T4" fmla="*/ 1 w 27"/>
                <a:gd name="T5" fmla="*/ 0 h 31"/>
                <a:gd name="T6" fmla="*/ 0 60000 65536"/>
                <a:gd name="T7" fmla="*/ 0 60000 65536"/>
                <a:gd name="T8" fmla="*/ 0 60000 65536"/>
                <a:gd name="T9" fmla="*/ 0 w 27"/>
                <a:gd name="T10" fmla="*/ 0 h 31"/>
                <a:gd name="T11" fmla="*/ 27 w 27"/>
                <a:gd name="T12" fmla="*/ 31 h 31"/>
              </a:gdLst>
              <a:ahLst/>
              <a:cxnLst>
                <a:cxn ang="T6">
                  <a:pos x="T0" y="T1"/>
                </a:cxn>
                <a:cxn ang="T7">
                  <a:pos x="T2" y="T3"/>
                </a:cxn>
                <a:cxn ang="T8">
                  <a:pos x="T4" y="T5"/>
                </a:cxn>
              </a:cxnLst>
              <a:rect l="T9" t="T10" r="T11" b="T12"/>
              <a:pathLst>
                <a:path w="27" h="31">
                  <a:moveTo>
                    <a:pt x="0" y="0"/>
                  </a:moveTo>
                  <a:lnTo>
                    <a:pt x="20" y="31"/>
                  </a:lnTo>
                  <a:lnTo>
                    <a:pt x="27" y="13"/>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23" name="Freeform 302"/>
            <p:cNvSpPr>
              <a:spLocks/>
            </p:cNvSpPr>
            <p:nvPr/>
          </p:nvSpPr>
          <p:spPr bwMode="auto">
            <a:xfrm>
              <a:off x="5119" y="2568"/>
              <a:ext cx="6" cy="1"/>
            </a:xfrm>
            <a:custGeom>
              <a:avLst/>
              <a:gdLst>
                <a:gd name="T0" fmla="*/ 1 w 20"/>
                <a:gd name="T1" fmla="*/ 0 h 1"/>
                <a:gd name="T2" fmla="*/ 0 w 20"/>
                <a:gd name="T3" fmla="*/ 0 h 1"/>
                <a:gd name="T4" fmla="*/ 0 w 20"/>
                <a:gd name="T5" fmla="*/ 0 h 1"/>
                <a:gd name="T6" fmla="*/ 0 60000 65536"/>
                <a:gd name="T7" fmla="*/ 0 60000 65536"/>
                <a:gd name="T8" fmla="*/ 0 60000 65536"/>
                <a:gd name="T9" fmla="*/ 0 w 20"/>
                <a:gd name="T10" fmla="*/ 0 h 1"/>
                <a:gd name="T11" fmla="*/ 20 w 20"/>
                <a:gd name="T12" fmla="*/ 1 h 1"/>
              </a:gdLst>
              <a:ahLst/>
              <a:cxnLst>
                <a:cxn ang="T6">
                  <a:pos x="T0" y="T1"/>
                </a:cxn>
                <a:cxn ang="T7">
                  <a:pos x="T2" y="T3"/>
                </a:cxn>
                <a:cxn ang="T8">
                  <a:pos x="T4" y="T5"/>
                </a:cxn>
              </a:cxnLst>
              <a:rect l="T9" t="T10" r="T11" b="T12"/>
              <a:pathLst>
                <a:path w="20" h="1">
                  <a:moveTo>
                    <a:pt x="20" y="0"/>
                  </a:moveTo>
                  <a:lnTo>
                    <a:pt x="10" y="0"/>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24" name="Freeform 303"/>
            <p:cNvSpPr>
              <a:spLocks/>
            </p:cNvSpPr>
            <p:nvPr/>
          </p:nvSpPr>
          <p:spPr bwMode="auto">
            <a:xfrm>
              <a:off x="5127" y="2557"/>
              <a:ext cx="12" cy="5"/>
            </a:xfrm>
            <a:custGeom>
              <a:avLst/>
              <a:gdLst>
                <a:gd name="T0" fmla="*/ 0 w 34"/>
                <a:gd name="T1" fmla="*/ 1 h 13"/>
                <a:gd name="T2" fmla="*/ 0 w 34"/>
                <a:gd name="T3" fmla="*/ 1 h 13"/>
                <a:gd name="T4" fmla="*/ 0 w 34"/>
                <a:gd name="T5" fmla="*/ 1 h 13"/>
                <a:gd name="T6" fmla="*/ 1 w 34"/>
                <a:gd name="T7" fmla="*/ 1 h 13"/>
                <a:gd name="T8" fmla="*/ 1 w 34"/>
                <a:gd name="T9" fmla="*/ 0 h 13"/>
                <a:gd name="T10" fmla="*/ 1 w 34"/>
                <a:gd name="T11" fmla="*/ 0 h 13"/>
                <a:gd name="T12" fmla="*/ 1 w 34"/>
                <a:gd name="T13" fmla="*/ 0 h 13"/>
                <a:gd name="T14" fmla="*/ 1 w 34"/>
                <a:gd name="T15" fmla="*/ 0 h 13"/>
                <a:gd name="T16" fmla="*/ 1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4"/>
                <a:gd name="T28" fmla="*/ 0 h 13"/>
                <a:gd name="T29" fmla="*/ 34 w 34"/>
                <a:gd name="T30" fmla="*/ 13 h 1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25" name="Freeform 304"/>
            <p:cNvSpPr>
              <a:spLocks/>
            </p:cNvSpPr>
            <p:nvPr/>
          </p:nvSpPr>
          <p:spPr bwMode="auto">
            <a:xfrm>
              <a:off x="5127" y="2547"/>
              <a:ext cx="12" cy="6"/>
            </a:xfrm>
            <a:custGeom>
              <a:avLst/>
              <a:gdLst>
                <a:gd name="T0" fmla="*/ 1 w 34"/>
                <a:gd name="T1" fmla="*/ 1 h 18"/>
                <a:gd name="T2" fmla="*/ 1 w 34"/>
                <a:gd name="T3" fmla="*/ 0 h 18"/>
                <a:gd name="T4" fmla="*/ 1 w 34"/>
                <a:gd name="T5" fmla="*/ 0 h 18"/>
                <a:gd name="T6" fmla="*/ 1 w 34"/>
                <a:gd name="T7" fmla="*/ 0 h 18"/>
                <a:gd name="T8" fmla="*/ 0 w 34"/>
                <a:gd name="T9" fmla="*/ 0 h 18"/>
                <a:gd name="T10" fmla="*/ 0 w 34"/>
                <a:gd name="T11" fmla="*/ 0 h 18"/>
                <a:gd name="T12" fmla="*/ 1 w 34"/>
                <a:gd name="T13" fmla="*/ 1 h 18"/>
                <a:gd name="T14" fmla="*/ 0 60000 65536"/>
                <a:gd name="T15" fmla="*/ 0 60000 65536"/>
                <a:gd name="T16" fmla="*/ 0 60000 65536"/>
                <a:gd name="T17" fmla="*/ 0 60000 65536"/>
                <a:gd name="T18" fmla="*/ 0 60000 65536"/>
                <a:gd name="T19" fmla="*/ 0 60000 65536"/>
                <a:gd name="T20" fmla="*/ 0 60000 65536"/>
                <a:gd name="T21" fmla="*/ 0 w 34"/>
                <a:gd name="T22" fmla="*/ 0 h 18"/>
                <a:gd name="T23" fmla="*/ 34 w 34"/>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26" name="Freeform 305"/>
            <p:cNvSpPr>
              <a:spLocks/>
            </p:cNvSpPr>
            <p:nvPr/>
          </p:nvSpPr>
          <p:spPr bwMode="auto">
            <a:xfrm>
              <a:off x="5141" y="2535"/>
              <a:ext cx="20" cy="8"/>
            </a:xfrm>
            <a:custGeom>
              <a:avLst/>
              <a:gdLst>
                <a:gd name="T0" fmla="*/ 2 w 59"/>
                <a:gd name="T1" fmla="*/ 1 h 25"/>
                <a:gd name="T2" fmla="*/ 2 w 59"/>
                <a:gd name="T3" fmla="*/ 0 h 25"/>
                <a:gd name="T4" fmla="*/ 2 w 59"/>
                <a:gd name="T5" fmla="*/ 0 h 25"/>
                <a:gd name="T6" fmla="*/ 2 w 59"/>
                <a:gd name="T7" fmla="*/ 0 h 25"/>
                <a:gd name="T8" fmla="*/ 1 w 59"/>
                <a:gd name="T9" fmla="*/ 0 h 25"/>
                <a:gd name="T10" fmla="*/ 1 w 59"/>
                <a:gd name="T11" fmla="*/ 0 h 25"/>
                <a:gd name="T12" fmla="*/ 0 w 59"/>
                <a:gd name="T13" fmla="*/ 0 h 25"/>
                <a:gd name="T14" fmla="*/ 0 w 59"/>
                <a:gd name="T15" fmla="*/ 0 h 25"/>
                <a:gd name="T16" fmla="*/ 0 w 59"/>
                <a:gd name="T17" fmla="*/ 0 h 25"/>
                <a:gd name="T18" fmla="*/ 0 w 59"/>
                <a:gd name="T19" fmla="*/ 0 h 25"/>
                <a:gd name="T20" fmla="*/ 1 w 59"/>
                <a:gd name="T21" fmla="*/ 1 h 25"/>
                <a:gd name="T22" fmla="*/ 1 w 59"/>
                <a:gd name="T23" fmla="*/ 1 h 25"/>
                <a:gd name="T24" fmla="*/ 1 w 59"/>
                <a:gd name="T25" fmla="*/ 1 h 25"/>
                <a:gd name="T26" fmla="*/ 2 w 59"/>
                <a:gd name="T27" fmla="*/ 1 h 25"/>
                <a:gd name="T28" fmla="*/ 2 w 59"/>
                <a:gd name="T29" fmla="*/ 1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9"/>
                <a:gd name="T46" fmla="*/ 0 h 25"/>
                <a:gd name="T47" fmla="*/ 59 w 59"/>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27" name="Line 306"/>
            <p:cNvSpPr>
              <a:spLocks noChangeShapeType="1"/>
            </p:cNvSpPr>
            <p:nvPr/>
          </p:nvSpPr>
          <p:spPr bwMode="auto">
            <a:xfrm flipV="1">
              <a:off x="5191" y="2516"/>
              <a:ext cx="6" cy="2"/>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259" name="Freeform 307"/>
          <p:cNvSpPr>
            <a:spLocks/>
          </p:cNvSpPr>
          <p:nvPr>
            <p:custDataLst>
              <p:tags r:id="rId210"/>
            </p:custDataLst>
          </p:nvPr>
        </p:nvSpPr>
        <p:spPr bwMode="auto">
          <a:xfrm>
            <a:off x="9707033" y="3879850"/>
            <a:ext cx="19051" cy="55563"/>
          </a:xfrm>
          <a:custGeom>
            <a:avLst/>
            <a:gdLst>
              <a:gd name="T0" fmla="*/ 0 w 33"/>
              <a:gd name="T1" fmla="*/ 2147483647 h 43"/>
              <a:gd name="T2" fmla="*/ 81171416 w 33"/>
              <a:gd name="T3" fmla="*/ 2147483647 h 43"/>
              <a:gd name="T4" fmla="*/ 162342833 w 33"/>
              <a:gd name="T5" fmla="*/ 2147483647 h 43"/>
              <a:gd name="T6" fmla="*/ 405856622 w 33"/>
              <a:gd name="T7" fmla="*/ 2147483647 h 43"/>
              <a:gd name="T8" fmla="*/ 730542288 w 33"/>
              <a:gd name="T9" fmla="*/ 2147483647 h 43"/>
              <a:gd name="T10" fmla="*/ 1136399018 w 33"/>
              <a:gd name="T11" fmla="*/ 2147483647 h 43"/>
              <a:gd name="T12" fmla="*/ 1623239446 w 33"/>
              <a:gd name="T13" fmla="*/ 2147483647 h 43"/>
              <a:gd name="T14" fmla="*/ 2110268215 w 33"/>
              <a:gd name="T15" fmla="*/ 2147483647 h 43"/>
              <a:gd name="T16" fmla="*/ 2147483647 w 33"/>
              <a:gd name="T17" fmla="*/ 0 h 43"/>
              <a:gd name="T18" fmla="*/ 2147483647 w 33"/>
              <a:gd name="T19" fmla="*/ 2147483647 h 43"/>
              <a:gd name="T20" fmla="*/ 1866754047 w 33"/>
              <a:gd name="T21" fmla="*/ 2147483647 h 43"/>
              <a:gd name="T22" fmla="*/ 1460896667 w 33"/>
              <a:gd name="T23" fmla="*/ 2147483647 h 43"/>
              <a:gd name="T24" fmla="*/ 1298741797 w 33"/>
              <a:gd name="T25" fmla="*/ 2147483647 h 43"/>
              <a:gd name="T26" fmla="*/ 1298741797 w 33"/>
              <a:gd name="T27" fmla="*/ 2147483647 h 43"/>
              <a:gd name="T28" fmla="*/ 1298741797 w 33"/>
              <a:gd name="T29" fmla="*/ 2147483647 h 43"/>
              <a:gd name="T30" fmla="*/ 1136399018 w 33"/>
              <a:gd name="T31" fmla="*/ 2147483647 h 43"/>
              <a:gd name="T32" fmla="*/ 81171367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60" name="Freeform 308"/>
          <p:cNvSpPr>
            <a:spLocks/>
          </p:cNvSpPr>
          <p:nvPr>
            <p:custDataLst>
              <p:tags r:id="rId211"/>
            </p:custDataLst>
          </p:nvPr>
        </p:nvSpPr>
        <p:spPr bwMode="auto">
          <a:xfrm>
            <a:off x="9808638" y="3819525"/>
            <a:ext cx="29633" cy="58738"/>
          </a:xfrm>
          <a:custGeom>
            <a:avLst/>
            <a:gdLst>
              <a:gd name="T0" fmla="*/ 0 w 54"/>
              <a:gd name="T1" fmla="*/ 2147483647 h 92"/>
              <a:gd name="T2" fmla="*/ 69790210 w 54"/>
              <a:gd name="T3" fmla="*/ 2147483647 h 92"/>
              <a:gd name="T4" fmla="*/ 139410440 w 54"/>
              <a:gd name="T5" fmla="*/ 2147483647 h 92"/>
              <a:gd name="T6" fmla="*/ 209200625 w 54"/>
              <a:gd name="T7" fmla="*/ 2147483647 h 92"/>
              <a:gd name="T8" fmla="*/ 418231681 w 54"/>
              <a:gd name="T9" fmla="*/ 2147483647 h 92"/>
              <a:gd name="T10" fmla="*/ 766843158 w 54"/>
              <a:gd name="T11" fmla="*/ 2147483647 h 92"/>
              <a:gd name="T12" fmla="*/ 1254864714 w 54"/>
              <a:gd name="T13" fmla="*/ 2147483647 h 92"/>
              <a:gd name="T14" fmla="*/ 2147483647 w 54"/>
              <a:gd name="T15" fmla="*/ 1821683766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1952087873 w 54"/>
              <a:gd name="T31" fmla="*/ 2147483647 h 92"/>
              <a:gd name="T32" fmla="*/ 1812676250 w 54"/>
              <a:gd name="T33" fmla="*/ 2147483647 h 92"/>
              <a:gd name="T34" fmla="*/ 1812676250 w 54"/>
              <a:gd name="T35" fmla="*/ 2147483647 h 92"/>
              <a:gd name="T36" fmla="*/ 1673265861 w 54"/>
              <a:gd name="T37" fmla="*/ 2147483647 h 92"/>
              <a:gd name="T38" fmla="*/ 1394275515 w 54"/>
              <a:gd name="T39" fmla="*/ 2147483647 h 92"/>
              <a:gd name="T40" fmla="*/ 976043937 w 54"/>
              <a:gd name="T41" fmla="*/ 2147483647 h 92"/>
              <a:gd name="T42" fmla="*/ 557811741 w 54"/>
              <a:gd name="T43" fmla="*/ 2147483647 h 92"/>
              <a:gd name="T44" fmla="*/ 348611065 w 54"/>
              <a:gd name="T45" fmla="*/ 2147483647 h 92"/>
              <a:gd name="T46" fmla="*/ 139410440 w 54"/>
              <a:gd name="T47" fmla="*/ 2147483647 h 92"/>
              <a:gd name="T48" fmla="*/ 69790210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61" name="Freeform 309"/>
          <p:cNvSpPr>
            <a:spLocks/>
          </p:cNvSpPr>
          <p:nvPr>
            <p:custDataLst>
              <p:tags r:id="rId212"/>
            </p:custDataLst>
          </p:nvPr>
        </p:nvSpPr>
        <p:spPr bwMode="auto">
          <a:xfrm>
            <a:off x="9872138" y="3698875"/>
            <a:ext cx="31751" cy="57150"/>
          </a:xfrm>
          <a:custGeom>
            <a:avLst/>
            <a:gdLst>
              <a:gd name="T0" fmla="*/ 0 w 60"/>
              <a:gd name="T1" fmla="*/ 0 h 18"/>
              <a:gd name="T2" fmla="*/ 1187830636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1437809127 w 60"/>
              <a:gd name="T17" fmla="*/ 2147483647 h 18"/>
              <a:gd name="T18" fmla="*/ 625182573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62" name="Freeform 310"/>
          <p:cNvSpPr>
            <a:spLocks/>
          </p:cNvSpPr>
          <p:nvPr>
            <p:custDataLst>
              <p:tags r:id="rId213"/>
            </p:custDataLst>
          </p:nvPr>
        </p:nvSpPr>
        <p:spPr bwMode="auto">
          <a:xfrm>
            <a:off x="9850969" y="3668713"/>
            <a:ext cx="33867" cy="57150"/>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1995018987 w 66"/>
              <a:gd name="T9" fmla="*/ 2147483647 h 18"/>
              <a:gd name="T10" fmla="*/ 1653036624 w 66"/>
              <a:gd name="T11" fmla="*/ 2147483647 h 18"/>
              <a:gd name="T12" fmla="*/ 1424949732 w 66"/>
              <a:gd name="T13" fmla="*/ 2147483647 h 18"/>
              <a:gd name="T14" fmla="*/ 1082968139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63" name="Freeform 311"/>
          <p:cNvSpPr>
            <a:spLocks/>
          </p:cNvSpPr>
          <p:nvPr>
            <p:custDataLst>
              <p:tags r:id="rId214"/>
            </p:custDataLst>
          </p:nvPr>
        </p:nvSpPr>
        <p:spPr bwMode="auto">
          <a:xfrm>
            <a:off x="9618133" y="3565525"/>
            <a:ext cx="10584" cy="57150"/>
          </a:xfrm>
          <a:custGeom>
            <a:avLst/>
            <a:gdLst>
              <a:gd name="T0" fmla="*/ 0 w 17"/>
              <a:gd name="T1" fmla="*/ 2147483647 h 42"/>
              <a:gd name="T2" fmla="*/ 1323466192 w 17"/>
              <a:gd name="T3" fmla="*/ 2147483647 h 42"/>
              <a:gd name="T4" fmla="*/ 1425288273 w 17"/>
              <a:gd name="T5" fmla="*/ 2147483647 h 42"/>
              <a:gd name="T6" fmla="*/ 1628932435 w 17"/>
              <a:gd name="T7" fmla="*/ 2147483647 h 42"/>
              <a:gd name="T8" fmla="*/ 1730753582 w 17"/>
              <a:gd name="T9" fmla="*/ 2147483647 h 42"/>
              <a:gd name="T10" fmla="*/ 1628932435 w 17"/>
              <a:gd name="T11" fmla="*/ 2147483647 h 42"/>
              <a:gd name="T12" fmla="*/ 1628932435 w 17"/>
              <a:gd name="T13" fmla="*/ 2147483647 h 42"/>
              <a:gd name="T14" fmla="*/ 1323466192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64" name="Freeform 312"/>
          <p:cNvSpPr>
            <a:spLocks/>
          </p:cNvSpPr>
          <p:nvPr>
            <p:custDataLst>
              <p:tags r:id="rId215"/>
            </p:custDataLst>
          </p:nvPr>
        </p:nvSpPr>
        <p:spPr bwMode="auto">
          <a:xfrm>
            <a:off x="9520772" y="3700465"/>
            <a:ext cx="40217" cy="58737"/>
          </a:xfrm>
          <a:custGeom>
            <a:avLst/>
            <a:gdLst>
              <a:gd name="T0" fmla="*/ 441213913 w 72"/>
              <a:gd name="T1" fmla="*/ 2147483647 h 29"/>
              <a:gd name="T2" fmla="*/ 1102859775 w 72"/>
              <a:gd name="T3" fmla="*/ 2147483647 h 29"/>
              <a:gd name="T4" fmla="*/ 176450542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1985112488 w 72"/>
              <a:gd name="T25" fmla="*/ 2147483647 h 29"/>
              <a:gd name="T26" fmla="*/ 1544073060 w 72"/>
              <a:gd name="T27" fmla="*/ 2147483647 h 29"/>
              <a:gd name="T28" fmla="*/ 882252713 w 72"/>
              <a:gd name="T29" fmla="*/ 2147483647 h 29"/>
              <a:gd name="T30" fmla="*/ 0 w 72"/>
              <a:gd name="T31" fmla="*/ 2147483647 h 29"/>
              <a:gd name="T32" fmla="*/ 220607166 w 72"/>
              <a:gd name="T33" fmla="*/ 2147483647 h 29"/>
              <a:gd name="T34" fmla="*/ 441213913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65" name="Freeform 313"/>
          <p:cNvSpPr>
            <a:spLocks/>
          </p:cNvSpPr>
          <p:nvPr>
            <p:custDataLst>
              <p:tags r:id="rId216"/>
            </p:custDataLst>
          </p:nvPr>
        </p:nvSpPr>
        <p:spPr bwMode="auto">
          <a:xfrm>
            <a:off x="9531351" y="3886207"/>
            <a:ext cx="25400" cy="55563"/>
          </a:xfrm>
          <a:custGeom>
            <a:avLst/>
            <a:gdLst>
              <a:gd name="T0" fmla="*/ 0 w 46"/>
              <a:gd name="T1" fmla="*/ 0 h 37"/>
              <a:gd name="T2" fmla="*/ 639195412 w 46"/>
              <a:gd name="T3" fmla="*/ 2147483647 h 37"/>
              <a:gd name="T4" fmla="*/ 1420567554 w 46"/>
              <a:gd name="T5" fmla="*/ 2147483647 h 37"/>
              <a:gd name="T6" fmla="*/ 2147483647 w 46"/>
              <a:gd name="T7" fmla="*/ 2147483647 h 37"/>
              <a:gd name="T8" fmla="*/ 2147483647 w 46"/>
              <a:gd name="T9" fmla="*/ 2147483647 h 37"/>
              <a:gd name="T10" fmla="*/ 2147483647 w 46"/>
              <a:gd name="T11" fmla="*/ 2147483647 h 37"/>
              <a:gd name="T12" fmla="*/ 2059762345 w 46"/>
              <a:gd name="T13" fmla="*/ 2147483647 h 37"/>
              <a:gd name="T14" fmla="*/ 1491570193 w 46"/>
              <a:gd name="T15" fmla="*/ 2147483647 h 37"/>
              <a:gd name="T16" fmla="*/ 923377627 w 46"/>
              <a:gd name="T17" fmla="*/ 2147483647 h 37"/>
              <a:gd name="T18" fmla="*/ 639195412 w 46"/>
              <a:gd name="T19" fmla="*/ 2147483647 h 37"/>
              <a:gd name="T20" fmla="*/ 497190133 w 46"/>
              <a:gd name="T21" fmla="*/ 2147483647 h 37"/>
              <a:gd name="T22" fmla="*/ 355184751 w 46"/>
              <a:gd name="T23" fmla="*/ 2147483647 h 37"/>
              <a:gd name="T24" fmla="*/ 213007970 w 46"/>
              <a:gd name="T25" fmla="*/ 2147483647 h 37"/>
              <a:gd name="T26" fmla="*/ 71002665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66" name="Freeform 314"/>
          <p:cNvSpPr>
            <a:spLocks/>
          </p:cNvSpPr>
          <p:nvPr>
            <p:custDataLst>
              <p:tags r:id="rId217"/>
            </p:custDataLst>
          </p:nvPr>
        </p:nvSpPr>
        <p:spPr bwMode="auto">
          <a:xfrm>
            <a:off x="9681638" y="3705225"/>
            <a:ext cx="14817" cy="57150"/>
          </a:xfrm>
          <a:custGeom>
            <a:avLst/>
            <a:gdLst>
              <a:gd name="T0" fmla="*/ 0 w 26"/>
              <a:gd name="T1" fmla="*/ 0 h 19"/>
              <a:gd name="T2" fmla="*/ 2030239358 w 26"/>
              <a:gd name="T3" fmla="*/ 2147483647 h 19"/>
              <a:gd name="T4" fmla="*/ 2030239358 w 26"/>
              <a:gd name="T5" fmla="*/ 2147483647 h 19"/>
              <a:gd name="T6" fmla="*/ 2030239358 w 26"/>
              <a:gd name="T7" fmla="*/ 0 h 19"/>
              <a:gd name="T8" fmla="*/ 1171228219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67" name="Freeform 315"/>
          <p:cNvSpPr>
            <a:spLocks/>
          </p:cNvSpPr>
          <p:nvPr>
            <p:custDataLst>
              <p:tags r:id="rId218"/>
            </p:custDataLst>
          </p:nvPr>
        </p:nvSpPr>
        <p:spPr bwMode="auto">
          <a:xfrm>
            <a:off x="9495367" y="3700465"/>
            <a:ext cx="25400" cy="58737"/>
          </a:xfrm>
          <a:custGeom>
            <a:avLst/>
            <a:gdLst>
              <a:gd name="T0" fmla="*/ 173895039 w 43"/>
              <a:gd name="T1" fmla="*/ 0 h 31"/>
              <a:gd name="T2" fmla="*/ 86947298 w 43"/>
              <a:gd name="T3" fmla="*/ 2147483647 h 31"/>
              <a:gd name="T4" fmla="*/ 0 w 43"/>
              <a:gd name="T5" fmla="*/ 2147483647 h 31"/>
              <a:gd name="T6" fmla="*/ 0 w 43"/>
              <a:gd name="T7" fmla="*/ 2147483647 h 31"/>
              <a:gd name="T8" fmla="*/ 0 w 43"/>
              <a:gd name="T9" fmla="*/ 2147483647 h 31"/>
              <a:gd name="T10" fmla="*/ 0 w 43"/>
              <a:gd name="T11" fmla="*/ 2147483647 h 31"/>
              <a:gd name="T12" fmla="*/ 173895039 w 43"/>
              <a:gd name="T13" fmla="*/ 2147483647 h 31"/>
              <a:gd name="T14" fmla="*/ 1130316286 w 43"/>
              <a:gd name="T15" fmla="*/ 2147483647 h 31"/>
              <a:gd name="T16" fmla="*/ 2147483647 w 43"/>
              <a:gd name="T17" fmla="*/ 2147483647 h 31"/>
              <a:gd name="T18" fmla="*/ 2147483647 w 43"/>
              <a:gd name="T19" fmla="*/ 2147483647 h 31"/>
              <a:gd name="T20" fmla="*/ 2147483647 w 43"/>
              <a:gd name="T21" fmla="*/ 0 h 31"/>
              <a:gd name="T22" fmla="*/ 173895039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68" name="Freeform 316"/>
          <p:cNvSpPr>
            <a:spLocks/>
          </p:cNvSpPr>
          <p:nvPr>
            <p:custDataLst>
              <p:tags r:id="rId219"/>
            </p:custDataLst>
          </p:nvPr>
        </p:nvSpPr>
        <p:spPr bwMode="auto">
          <a:xfrm>
            <a:off x="9554638" y="3748088"/>
            <a:ext cx="40217" cy="57150"/>
          </a:xfrm>
          <a:custGeom>
            <a:avLst/>
            <a:gdLst>
              <a:gd name="T0" fmla="*/ 306637882 w 71"/>
              <a:gd name="T1" fmla="*/ 2147483647 h 49"/>
              <a:gd name="T2" fmla="*/ 306637882 w 71"/>
              <a:gd name="T3" fmla="*/ 2147483647 h 49"/>
              <a:gd name="T4" fmla="*/ 383342358 w 71"/>
              <a:gd name="T5" fmla="*/ 2147483647 h 49"/>
              <a:gd name="T6" fmla="*/ 536751416 w 71"/>
              <a:gd name="T7" fmla="*/ 2147483647 h 49"/>
              <a:gd name="T8" fmla="*/ 689980240 w 71"/>
              <a:gd name="T9" fmla="*/ 2147483647 h 49"/>
              <a:gd name="T10" fmla="*/ 1073502833 w 71"/>
              <a:gd name="T11" fmla="*/ 2147483647 h 49"/>
              <a:gd name="T12" fmla="*/ 1380140609 w 71"/>
              <a:gd name="T13" fmla="*/ 2147483647 h 49"/>
              <a:gd name="T14" fmla="*/ 1763483285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1610073484 w 71"/>
              <a:gd name="T41" fmla="*/ 2147483647 h 49"/>
              <a:gd name="T42" fmla="*/ 1073502833 w 71"/>
              <a:gd name="T43" fmla="*/ 2147483647 h 49"/>
              <a:gd name="T44" fmla="*/ 306637882 w 71"/>
              <a:gd name="T45" fmla="*/ 0 h 49"/>
              <a:gd name="T46" fmla="*/ 229933406 w 71"/>
              <a:gd name="T47" fmla="*/ 1586130692 h 49"/>
              <a:gd name="T48" fmla="*/ 76704503 w 71"/>
              <a:gd name="T49" fmla="*/ 2147483647 h 49"/>
              <a:gd name="T50" fmla="*/ 0 w 71"/>
              <a:gd name="T51" fmla="*/ 2147483647 h 49"/>
              <a:gd name="T52" fmla="*/ 0 w 71"/>
              <a:gd name="T53" fmla="*/ 2147483647 h 49"/>
              <a:gd name="T54" fmla="*/ 76704503 w 71"/>
              <a:gd name="T55" fmla="*/ 2147483647 h 49"/>
              <a:gd name="T56" fmla="*/ 306637882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69" name="Freeform 317"/>
          <p:cNvSpPr>
            <a:spLocks/>
          </p:cNvSpPr>
          <p:nvPr>
            <p:custDataLst>
              <p:tags r:id="rId220"/>
            </p:custDataLst>
          </p:nvPr>
        </p:nvSpPr>
        <p:spPr bwMode="auto">
          <a:xfrm>
            <a:off x="9290055" y="3951292"/>
            <a:ext cx="61383" cy="58737"/>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1111234638 w 112"/>
              <a:gd name="T35" fmla="*/ 2147483647 h 26"/>
              <a:gd name="T36" fmla="*/ 0 w 112"/>
              <a:gd name="T37" fmla="*/ 2147483647 h 26"/>
              <a:gd name="T38" fmla="*/ 347208185 w 112"/>
              <a:gd name="T39" fmla="*/ 2147483647 h 26"/>
              <a:gd name="T40" fmla="*/ 763857822 w 112"/>
              <a:gd name="T41" fmla="*/ 2147483647 h 26"/>
              <a:gd name="T42" fmla="*/ 1250117542 w 112"/>
              <a:gd name="T43" fmla="*/ 2147483647 h 26"/>
              <a:gd name="T44" fmla="*/ 1736208528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70" name="Freeform 318"/>
          <p:cNvSpPr>
            <a:spLocks/>
          </p:cNvSpPr>
          <p:nvPr>
            <p:custDataLst>
              <p:tags r:id="rId221"/>
            </p:custDataLst>
          </p:nvPr>
        </p:nvSpPr>
        <p:spPr bwMode="auto">
          <a:xfrm>
            <a:off x="9421289" y="3989390"/>
            <a:ext cx="19049" cy="58737"/>
          </a:xfrm>
          <a:custGeom>
            <a:avLst/>
            <a:gdLst>
              <a:gd name="T0" fmla="*/ 0 w 41"/>
              <a:gd name="T1" fmla="*/ 0 h 25"/>
              <a:gd name="T2" fmla="*/ 1734823767 w 41"/>
              <a:gd name="T3" fmla="*/ 0 h 25"/>
              <a:gd name="T4" fmla="*/ 1184760882 w 41"/>
              <a:gd name="T5" fmla="*/ 2147483647 h 25"/>
              <a:gd name="T6" fmla="*/ 761588462 w 41"/>
              <a:gd name="T7" fmla="*/ 2147483647 h 25"/>
              <a:gd name="T8" fmla="*/ 380794231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71" name="Freeform 319"/>
          <p:cNvSpPr>
            <a:spLocks/>
          </p:cNvSpPr>
          <p:nvPr>
            <p:custDataLst>
              <p:tags r:id="rId222"/>
            </p:custDataLst>
          </p:nvPr>
        </p:nvSpPr>
        <p:spPr bwMode="auto">
          <a:xfrm>
            <a:off x="9199035" y="3921127"/>
            <a:ext cx="48684" cy="55563"/>
          </a:xfrm>
          <a:custGeom>
            <a:avLst/>
            <a:gdLst>
              <a:gd name="T0" fmla="*/ 0 w 81"/>
              <a:gd name="T1" fmla="*/ 2147483647 h 31"/>
              <a:gd name="T2" fmla="*/ 0 w 81"/>
              <a:gd name="T3" fmla="*/ 2147483647 h 31"/>
              <a:gd name="T4" fmla="*/ 0 w 81"/>
              <a:gd name="T5" fmla="*/ 2147483647 h 31"/>
              <a:gd name="T6" fmla="*/ 0 w 81"/>
              <a:gd name="T7" fmla="*/ 2147483647 h 31"/>
              <a:gd name="T8" fmla="*/ 183287133 w 81"/>
              <a:gd name="T9" fmla="*/ 2147483647 h 31"/>
              <a:gd name="T10" fmla="*/ 274727427 w 81"/>
              <a:gd name="T11" fmla="*/ 2147483647 h 31"/>
              <a:gd name="T12" fmla="*/ 366370515 w 81"/>
              <a:gd name="T13" fmla="*/ 2147483647 h 31"/>
              <a:gd name="T14" fmla="*/ 732741481 w 81"/>
              <a:gd name="T15" fmla="*/ 2147483647 h 31"/>
              <a:gd name="T16" fmla="*/ 1282398735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72" name="Freeform 320"/>
          <p:cNvSpPr>
            <a:spLocks/>
          </p:cNvSpPr>
          <p:nvPr>
            <p:custDataLst>
              <p:tags r:id="rId223"/>
            </p:custDataLst>
          </p:nvPr>
        </p:nvSpPr>
        <p:spPr bwMode="auto">
          <a:xfrm>
            <a:off x="9258300" y="3906838"/>
            <a:ext cx="52917" cy="55562"/>
          </a:xfrm>
          <a:custGeom>
            <a:avLst/>
            <a:gdLst>
              <a:gd name="T0" fmla="*/ 177379491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1418836149 w 89"/>
              <a:gd name="T17" fmla="*/ 2147483647 h 49"/>
              <a:gd name="T18" fmla="*/ 798008349 w 89"/>
              <a:gd name="T19" fmla="*/ 0 h 49"/>
              <a:gd name="T20" fmla="*/ 354758982 w 89"/>
              <a:gd name="T21" fmla="*/ 2147483647 h 49"/>
              <a:gd name="T22" fmla="*/ 88689745 w 89"/>
              <a:gd name="T23" fmla="*/ 2147483647 h 49"/>
              <a:gd name="T24" fmla="*/ 0 w 89"/>
              <a:gd name="T25" fmla="*/ 2147483647 h 49"/>
              <a:gd name="T26" fmla="*/ 0 w 89"/>
              <a:gd name="T27" fmla="*/ 2147483647 h 49"/>
              <a:gd name="T28" fmla="*/ 0 w 89"/>
              <a:gd name="T29" fmla="*/ 2147483647 h 49"/>
              <a:gd name="T30" fmla="*/ 177379491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73" name="Freeform 321"/>
          <p:cNvSpPr>
            <a:spLocks/>
          </p:cNvSpPr>
          <p:nvPr>
            <p:custDataLst>
              <p:tags r:id="rId224"/>
            </p:custDataLst>
          </p:nvPr>
        </p:nvSpPr>
        <p:spPr bwMode="auto">
          <a:xfrm>
            <a:off x="9328153" y="3916363"/>
            <a:ext cx="48683" cy="58737"/>
          </a:xfrm>
          <a:custGeom>
            <a:avLst/>
            <a:gdLst>
              <a:gd name="T0" fmla="*/ 0 w 86"/>
              <a:gd name="T1" fmla="*/ 2147483647 h 46"/>
              <a:gd name="T2" fmla="*/ 1071403927 w 86"/>
              <a:gd name="T3" fmla="*/ 2147483647 h 46"/>
              <a:gd name="T4" fmla="*/ 1913169532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082086140 h 46"/>
              <a:gd name="T42" fmla="*/ 2147483647 w 86"/>
              <a:gd name="T43" fmla="*/ 0 h 46"/>
              <a:gd name="T44" fmla="*/ 2147483647 w 86"/>
              <a:gd name="T45" fmla="*/ 0 h 46"/>
              <a:gd name="T46" fmla="*/ 1989775077 w 86"/>
              <a:gd name="T47" fmla="*/ 2082086140 h 46"/>
              <a:gd name="T48" fmla="*/ 1454073326 w 86"/>
              <a:gd name="T49" fmla="*/ 2147483647 h 46"/>
              <a:gd name="T50" fmla="*/ 1071403927 w 86"/>
              <a:gd name="T51" fmla="*/ 2147483647 h 46"/>
              <a:gd name="T52" fmla="*/ 612127496 w 86"/>
              <a:gd name="T53" fmla="*/ 2147483647 h 46"/>
              <a:gd name="T54" fmla="*/ 306063960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74" name="Freeform 322"/>
          <p:cNvSpPr>
            <a:spLocks/>
          </p:cNvSpPr>
          <p:nvPr>
            <p:custDataLst>
              <p:tags r:id="rId225"/>
            </p:custDataLst>
          </p:nvPr>
        </p:nvSpPr>
        <p:spPr bwMode="auto">
          <a:xfrm>
            <a:off x="9398001" y="3921127"/>
            <a:ext cx="33867" cy="55563"/>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1755331983 w 59"/>
              <a:gd name="T17" fmla="*/ 2147483647 h 18"/>
              <a:gd name="T18" fmla="*/ 1117029287 w 59"/>
              <a:gd name="T19" fmla="*/ 2147483647 h 18"/>
              <a:gd name="T20" fmla="*/ 558607633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75" name="Freeform 323"/>
          <p:cNvSpPr>
            <a:spLocks/>
          </p:cNvSpPr>
          <p:nvPr>
            <p:custDataLst>
              <p:tags r:id="rId226"/>
            </p:custDataLst>
          </p:nvPr>
        </p:nvSpPr>
        <p:spPr bwMode="auto">
          <a:xfrm>
            <a:off x="9495368" y="3913188"/>
            <a:ext cx="2117" cy="55562"/>
          </a:xfrm>
          <a:custGeom>
            <a:avLst/>
            <a:gdLst>
              <a:gd name="T0" fmla="*/ 250283072 w 4"/>
              <a:gd name="T1" fmla="*/ 2147483647 h 19"/>
              <a:gd name="T2" fmla="*/ 250283072 w 4"/>
              <a:gd name="T3" fmla="*/ 0 h 19"/>
              <a:gd name="T4" fmla="*/ 125141536 w 4"/>
              <a:gd name="T5" fmla="*/ 2147483647 h 19"/>
              <a:gd name="T6" fmla="*/ 62570768 w 4"/>
              <a:gd name="T7" fmla="*/ 2147483647 h 19"/>
              <a:gd name="T8" fmla="*/ 0 w 4"/>
              <a:gd name="T9" fmla="*/ 2147483647 h 19"/>
              <a:gd name="T10" fmla="*/ 0 w 4"/>
              <a:gd name="T11" fmla="*/ 2147483647 h 19"/>
              <a:gd name="T12" fmla="*/ 0 w 4"/>
              <a:gd name="T13" fmla="*/ 2147483647 h 19"/>
              <a:gd name="T14" fmla="*/ 62570768 w 4"/>
              <a:gd name="T15" fmla="*/ 2147483647 h 19"/>
              <a:gd name="T16" fmla="*/ 125141536 w 4"/>
              <a:gd name="T17" fmla="*/ 2147483647 h 19"/>
              <a:gd name="T18" fmla="*/ 250283072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76" name="Freeform 324"/>
          <p:cNvSpPr>
            <a:spLocks/>
          </p:cNvSpPr>
          <p:nvPr>
            <p:custDataLst>
              <p:tags r:id="rId227"/>
            </p:custDataLst>
          </p:nvPr>
        </p:nvSpPr>
        <p:spPr bwMode="auto">
          <a:xfrm>
            <a:off x="8928100" y="3727450"/>
            <a:ext cx="27517" cy="58738"/>
          </a:xfrm>
          <a:custGeom>
            <a:avLst/>
            <a:gdLst>
              <a:gd name="T0" fmla="*/ 0 w 46"/>
              <a:gd name="T1" fmla="*/ 2147483647 h 50"/>
              <a:gd name="T2" fmla="*/ 632247837 w 46"/>
              <a:gd name="T3" fmla="*/ 0 h 50"/>
              <a:gd name="T4" fmla="*/ 2077098259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1896542738 w 46"/>
              <a:gd name="T19" fmla="*/ 2147483647 h 50"/>
              <a:gd name="T20" fmla="*/ 722425548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77" name="Freeform 325"/>
          <p:cNvSpPr>
            <a:spLocks/>
          </p:cNvSpPr>
          <p:nvPr>
            <p:custDataLst>
              <p:tags r:id="rId228"/>
            </p:custDataLst>
          </p:nvPr>
        </p:nvSpPr>
        <p:spPr bwMode="auto">
          <a:xfrm>
            <a:off x="8856138" y="3700465"/>
            <a:ext cx="40217" cy="58737"/>
          </a:xfrm>
          <a:custGeom>
            <a:avLst/>
            <a:gdLst>
              <a:gd name="T0" fmla="*/ 0 w 66"/>
              <a:gd name="T1" fmla="*/ 0 h 80"/>
              <a:gd name="T2" fmla="*/ 954502895 w 66"/>
              <a:gd name="T3" fmla="*/ 0 h 80"/>
              <a:gd name="T4" fmla="*/ 1718105165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78" name="Freeform 326"/>
          <p:cNvSpPr>
            <a:spLocks/>
          </p:cNvSpPr>
          <p:nvPr>
            <p:custDataLst>
              <p:tags r:id="rId229"/>
            </p:custDataLst>
          </p:nvPr>
        </p:nvSpPr>
        <p:spPr bwMode="auto">
          <a:xfrm>
            <a:off x="8636000" y="3684588"/>
            <a:ext cx="10584" cy="57150"/>
          </a:xfrm>
          <a:custGeom>
            <a:avLst/>
            <a:gdLst>
              <a:gd name="T0" fmla="*/ 1250469885 w 20"/>
              <a:gd name="T1" fmla="*/ 2147483647 h 48"/>
              <a:gd name="T2" fmla="*/ 1250469885 w 20"/>
              <a:gd name="T3" fmla="*/ 2147483647 h 48"/>
              <a:gd name="T4" fmla="*/ 1187930376 w 20"/>
              <a:gd name="T5" fmla="*/ 2147483647 h 48"/>
              <a:gd name="T6" fmla="*/ 1000312642 w 20"/>
              <a:gd name="T7" fmla="*/ 2147483647 h 48"/>
              <a:gd name="T8" fmla="*/ 875391590 w 20"/>
              <a:gd name="T9" fmla="*/ 2147483647 h 48"/>
              <a:gd name="T10" fmla="*/ 750313564 w 20"/>
              <a:gd name="T11" fmla="*/ 2147483647 h 48"/>
              <a:gd name="T12" fmla="*/ 562695830 w 20"/>
              <a:gd name="T13" fmla="*/ 2147483647 h 48"/>
              <a:gd name="T14" fmla="*/ 250156945 w 20"/>
              <a:gd name="T15" fmla="*/ 2147483647 h 48"/>
              <a:gd name="T16" fmla="*/ 0 w 20"/>
              <a:gd name="T17" fmla="*/ 0 h 48"/>
              <a:gd name="T18" fmla="*/ 0 w 20"/>
              <a:gd name="T19" fmla="*/ 2147483647 h 48"/>
              <a:gd name="T20" fmla="*/ 125078671 w 20"/>
              <a:gd name="T21" fmla="*/ 2147483647 h 48"/>
              <a:gd name="T22" fmla="*/ 250156945 w 20"/>
              <a:gd name="T23" fmla="*/ 2147483647 h 48"/>
              <a:gd name="T24" fmla="*/ 500156718 w 20"/>
              <a:gd name="T25" fmla="*/ 2147483647 h 48"/>
              <a:gd name="T26" fmla="*/ 875391590 w 20"/>
              <a:gd name="T27" fmla="*/ 2147483647 h 48"/>
              <a:gd name="T28" fmla="*/ 1250469885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3303" name="Line 327" descr="Horizontal dunkel"/>
          <p:cNvSpPr>
            <a:spLocks noChangeShapeType="1"/>
          </p:cNvSpPr>
          <p:nvPr>
            <p:custDataLst>
              <p:tags r:id="rId230"/>
            </p:custDataLst>
          </p:nvPr>
        </p:nvSpPr>
        <p:spPr bwMode="auto">
          <a:xfrm>
            <a:off x="8669871" y="3721100"/>
            <a:ext cx="6351"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TW" altLang="en-US">
              <a:solidFill>
                <a:srgbClr val="000000"/>
              </a:solidFill>
            </a:endParaRPr>
          </a:p>
        </p:txBody>
      </p:sp>
      <p:sp>
        <p:nvSpPr>
          <p:cNvPr id="2280" name="Freeform 328"/>
          <p:cNvSpPr>
            <a:spLocks/>
          </p:cNvSpPr>
          <p:nvPr>
            <p:custDataLst>
              <p:tags r:id="rId231"/>
            </p:custDataLst>
          </p:nvPr>
        </p:nvSpPr>
        <p:spPr bwMode="auto">
          <a:xfrm>
            <a:off x="8665633" y="3721100"/>
            <a:ext cx="10584" cy="57150"/>
          </a:xfrm>
          <a:custGeom>
            <a:avLst/>
            <a:gdLst>
              <a:gd name="T0" fmla="*/ 1250469885 w 20"/>
              <a:gd name="T1" fmla="*/ 2147483647 h 12"/>
              <a:gd name="T2" fmla="*/ 1250469885 w 20"/>
              <a:gd name="T3" fmla="*/ 2147483647 h 12"/>
              <a:gd name="T4" fmla="*/ 1125391660 w 20"/>
              <a:gd name="T5" fmla="*/ 2147483647 h 12"/>
              <a:gd name="T6" fmla="*/ 937931099 w 20"/>
              <a:gd name="T7" fmla="*/ 2147483647 h 12"/>
              <a:gd name="T8" fmla="*/ 812852676 w 20"/>
              <a:gd name="T9" fmla="*/ 2147483647 h 12"/>
              <a:gd name="T10" fmla="*/ 437617209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81" name="Freeform 329"/>
          <p:cNvSpPr>
            <a:spLocks/>
          </p:cNvSpPr>
          <p:nvPr>
            <p:custDataLst>
              <p:tags r:id="rId232"/>
            </p:custDataLst>
          </p:nvPr>
        </p:nvSpPr>
        <p:spPr bwMode="auto">
          <a:xfrm>
            <a:off x="8534405" y="3565525"/>
            <a:ext cx="29633" cy="57150"/>
          </a:xfrm>
          <a:custGeom>
            <a:avLst/>
            <a:gdLst>
              <a:gd name="T0" fmla="*/ 516107334 w 53"/>
              <a:gd name="T1" fmla="*/ 0 h 30"/>
              <a:gd name="T2" fmla="*/ 811176413 w 53"/>
              <a:gd name="T3" fmla="*/ 2147483647 h 30"/>
              <a:gd name="T4" fmla="*/ 1696031615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1917246202 w 53"/>
              <a:gd name="T17" fmla="*/ 2147483647 h 30"/>
              <a:gd name="T18" fmla="*/ 1548497075 w 53"/>
              <a:gd name="T19" fmla="*/ 2147483647 h 30"/>
              <a:gd name="T20" fmla="*/ 1106069579 w 53"/>
              <a:gd name="T21" fmla="*/ 2147483647 h 30"/>
              <a:gd name="T22" fmla="*/ 663641873 w 53"/>
              <a:gd name="T23" fmla="*/ 2147483647 h 30"/>
              <a:gd name="T24" fmla="*/ 0 w 53"/>
              <a:gd name="T25" fmla="*/ 2147483647 h 30"/>
              <a:gd name="T26" fmla="*/ 516107334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82" name="Freeform 330"/>
          <p:cNvSpPr>
            <a:spLocks/>
          </p:cNvSpPr>
          <p:nvPr>
            <p:custDataLst>
              <p:tags r:id="rId233"/>
            </p:custDataLst>
          </p:nvPr>
        </p:nvSpPr>
        <p:spPr bwMode="auto">
          <a:xfrm>
            <a:off x="9239251" y="3929063"/>
            <a:ext cx="14816" cy="57150"/>
          </a:xfrm>
          <a:custGeom>
            <a:avLst/>
            <a:gdLst>
              <a:gd name="T0" fmla="*/ 0 w 33"/>
              <a:gd name="T1" fmla="*/ 2147483647 h 31"/>
              <a:gd name="T2" fmla="*/ 152730034 w 33"/>
              <a:gd name="T3" fmla="*/ 2147483647 h 31"/>
              <a:gd name="T4" fmla="*/ 267248948 w 33"/>
              <a:gd name="T5" fmla="*/ 2147483647 h 31"/>
              <a:gd name="T6" fmla="*/ 839958049 w 33"/>
              <a:gd name="T7" fmla="*/ 2147483647 h 31"/>
              <a:gd name="T8" fmla="*/ 1259936231 w 33"/>
              <a:gd name="T9" fmla="*/ 2147483647 h 31"/>
              <a:gd name="T10" fmla="*/ 1259936231 w 33"/>
              <a:gd name="T11" fmla="*/ 0 h 31"/>
              <a:gd name="T12" fmla="*/ 1030898487 w 33"/>
              <a:gd name="T13" fmla="*/ 0 h 31"/>
              <a:gd name="T14" fmla="*/ 725438503 w 33"/>
              <a:gd name="T15" fmla="*/ 0 h 31"/>
              <a:gd name="T16" fmla="*/ 381768241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83" name="Freeform 331"/>
          <p:cNvSpPr>
            <a:spLocks/>
          </p:cNvSpPr>
          <p:nvPr>
            <p:custDataLst>
              <p:tags r:id="rId234"/>
            </p:custDataLst>
          </p:nvPr>
        </p:nvSpPr>
        <p:spPr bwMode="auto">
          <a:xfrm>
            <a:off x="9927167" y="3886207"/>
            <a:ext cx="38100" cy="55563"/>
          </a:xfrm>
          <a:custGeom>
            <a:avLst/>
            <a:gdLst>
              <a:gd name="T0" fmla="*/ 1614313973 w 65"/>
              <a:gd name="T1" fmla="*/ 2147483647 h 68"/>
              <a:gd name="T2" fmla="*/ 1359402233 w 65"/>
              <a:gd name="T3" fmla="*/ 2147483647 h 68"/>
              <a:gd name="T4" fmla="*/ 1189525257 w 65"/>
              <a:gd name="T5" fmla="*/ 2147483647 h 68"/>
              <a:gd name="T6" fmla="*/ 934613516 w 65"/>
              <a:gd name="T7" fmla="*/ 2147483647 h 68"/>
              <a:gd name="T8" fmla="*/ 594666353 w 65"/>
              <a:gd name="T9" fmla="*/ 2147483647 h 68"/>
              <a:gd name="T10" fmla="*/ 339754063 w 65"/>
              <a:gd name="T11" fmla="*/ 2147483647 h 68"/>
              <a:gd name="T12" fmla="*/ 169877031 w 65"/>
              <a:gd name="T13" fmla="*/ 2147483647 h 68"/>
              <a:gd name="T14" fmla="*/ 0 w 65"/>
              <a:gd name="T15" fmla="*/ 2147483647 h 68"/>
              <a:gd name="T16" fmla="*/ 0 w 65"/>
              <a:gd name="T17" fmla="*/ 2147483647 h 68"/>
              <a:gd name="T18" fmla="*/ 0 w 65"/>
              <a:gd name="T19" fmla="*/ 2147483647 h 68"/>
              <a:gd name="T20" fmla="*/ 169877031 w 65"/>
              <a:gd name="T21" fmla="*/ 2147483647 h 68"/>
              <a:gd name="T22" fmla="*/ 424789266 w 65"/>
              <a:gd name="T23" fmla="*/ 2147483647 h 68"/>
              <a:gd name="T24" fmla="*/ 764736320 w 65"/>
              <a:gd name="T25" fmla="*/ 2147483647 h 68"/>
              <a:gd name="T26" fmla="*/ 1274367469 w 65"/>
              <a:gd name="T27" fmla="*/ 2147483647 h 68"/>
              <a:gd name="T28" fmla="*/ 1869227032 w 65"/>
              <a:gd name="T29" fmla="*/ 2147483647 h 68"/>
              <a:gd name="T30" fmla="*/ 2147483647 w 65"/>
              <a:gd name="T31" fmla="*/ 1090951642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1614313973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84" name="Freeform 332"/>
          <p:cNvSpPr>
            <a:spLocks/>
          </p:cNvSpPr>
          <p:nvPr>
            <p:custDataLst>
              <p:tags r:id="rId235"/>
            </p:custDataLst>
          </p:nvPr>
        </p:nvSpPr>
        <p:spPr bwMode="auto">
          <a:xfrm>
            <a:off x="8511122" y="3468688"/>
            <a:ext cx="366183" cy="368300"/>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1951552183 w 625"/>
              <a:gd name="T69" fmla="*/ 2147483647 h 694"/>
              <a:gd name="T70" fmla="*/ 424216998 w 625"/>
              <a:gd name="T71" fmla="*/ 2147483647 h 694"/>
              <a:gd name="T72" fmla="*/ 848433995 w 625"/>
              <a:gd name="T73" fmla="*/ 597908040 h 694"/>
              <a:gd name="T74" fmla="*/ 2147483647 w 625"/>
              <a:gd name="T75" fmla="*/ 1942990378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85" name="Freeform 333"/>
          <p:cNvSpPr>
            <a:spLocks/>
          </p:cNvSpPr>
          <p:nvPr>
            <p:custDataLst>
              <p:tags r:id="rId236"/>
            </p:custDataLst>
          </p:nvPr>
        </p:nvSpPr>
        <p:spPr bwMode="auto">
          <a:xfrm>
            <a:off x="8966201" y="3517906"/>
            <a:ext cx="338667" cy="257175"/>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982185460 w 585"/>
              <a:gd name="T61" fmla="*/ 2147483647 h 493"/>
              <a:gd name="T62" fmla="*/ 409275131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851741740 h 493"/>
              <a:gd name="T96" fmla="*/ 2147483647 w 585"/>
              <a:gd name="T97" fmla="*/ 283823189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86" name="Freeform 334"/>
          <p:cNvSpPr>
            <a:spLocks/>
          </p:cNvSpPr>
          <p:nvPr>
            <p:custDataLst>
              <p:tags r:id="rId237"/>
            </p:custDataLst>
          </p:nvPr>
        </p:nvSpPr>
        <p:spPr bwMode="auto">
          <a:xfrm>
            <a:off x="9440338" y="3924300"/>
            <a:ext cx="122767" cy="57150"/>
          </a:xfrm>
          <a:custGeom>
            <a:avLst/>
            <a:gdLst>
              <a:gd name="T0" fmla="*/ 0 w 212"/>
              <a:gd name="T1" fmla="*/ 2147483647 h 105"/>
              <a:gd name="T2" fmla="*/ 1310792786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1289859341 h 105"/>
              <a:gd name="T24" fmla="*/ 2147483647 w 212"/>
              <a:gd name="T25" fmla="*/ 0 h 105"/>
              <a:gd name="T26" fmla="*/ 2147483647 w 212"/>
              <a:gd name="T27" fmla="*/ 0 h 105"/>
              <a:gd name="T28" fmla="*/ 2147483647 w 212"/>
              <a:gd name="T29" fmla="*/ 1451314031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1884228338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87" name="Freeform 335"/>
          <p:cNvSpPr>
            <a:spLocks/>
          </p:cNvSpPr>
          <p:nvPr>
            <p:custDataLst>
              <p:tags r:id="rId238"/>
            </p:custDataLst>
          </p:nvPr>
        </p:nvSpPr>
        <p:spPr bwMode="auto">
          <a:xfrm>
            <a:off x="9594852" y="3590925"/>
            <a:ext cx="57149" cy="88900"/>
          </a:xfrm>
          <a:custGeom>
            <a:avLst/>
            <a:gdLst>
              <a:gd name="T0" fmla="*/ 0 w 92"/>
              <a:gd name="T1" fmla="*/ 2147483647 h 166"/>
              <a:gd name="T2" fmla="*/ 0 w 92"/>
              <a:gd name="T3" fmla="*/ 2147483647 h 166"/>
              <a:gd name="T4" fmla="*/ 505520550 w 92"/>
              <a:gd name="T5" fmla="*/ 2147483647 h 166"/>
              <a:gd name="T6" fmla="*/ 1213552801 w 92"/>
              <a:gd name="T7" fmla="*/ 2147483647 h 166"/>
              <a:gd name="T8" fmla="*/ 1415630292 w 92"/>
              <a:gd name="T9" fmla="*/ 2147483647 h 166"/>
              <a:gd name="T10" fmla="*/ 1719072652 w 92"/>
              <a:gd name="T11" fmla="*/ 2147483647 h 166"/>
              <a:gd name="T12" fmla="*/ 1820220416 w 92"/>
              <a:gd name="T13" fmla="*/ 2147483647 h 166"/>
              <a:gd name="T14" fmla="*/ 1921368180 w 92"/>
              <a:gd name="T15" fmla="*/ 2147483647 h 166"/>
              <a:gd name="T16" fmla="*/ 2022514546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199673878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1689570120 h 166"/>
              <a:gd name="T84" fmla="*/ 2147483647 w 92"/>
              <a:gd name="T85" fmla="*/ 1075233590 h 166"/>
              <a:gd name="T86" fmla="*/ 1617925820 w 92"/>
              <a:gd name="T87" fmla="*/ 460896123 h 166"/>
              <a:gd name="T88" fmla="*/ 808962910 w 92"/>
              <a:gd name="T89" fmla="*/ 153727925 h 166"/>
              <a:gd name="T90" fmla="*/ 0 w 92"/>
              <a:gd name="T91" fmla="*/ 0 h 166"/>
              <a:gd name="T92" fmla="*/ 0 w 92"/>
              <a:gd name="T93" fmla="*/ 153584279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88" name="Freeform 336"/>
          <p:cNvSpPr>
            <a:spLocks/>
          </p:cNvSpPr>
          <p:nvPr>
            <p:custDataLst>
              <p:tags r:id="rId239"/>
            </p:custDataLst>
          </p:nvPr>
        </p:nvSpPr>
        <p:spPr bwMode="auto">
          <a:xfrm>
            <a:off x="9611789" y="3735388"/>
            <a:ext cx="95249" cy="55562"/>
          </a:xfrm>
          <a:custGeom>
            <a:avLst/>
            <a:gdLst>
              <a:gd name="T0" fmla="*/ 557808509 w 166"/>
              <a:gd name="T1" fmla="*/ 0 h 62"/>
              <a:gd name="T2" fmla="*/ 1115802065 w 166"/>
              <a:gd name="T3" fmla="*/ 2147483647 h 62"/>
              <a:gd name="T4" fmla="*/ 1753429558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719582613 h 62"/>
              <a:gd name="T20" fmla="*/ 2147483647 w 166"/>
              <a:gd name="T21" fmla="*/ 0 h 62"/>
              <a:gd name="T22" fmla="*/ 2147483647 w 166"/>
              <a:gd name="T23" fmla="*/ 719582613 h 62"/>
              <a:gd name="T24" fmla="*/ 2147483647 w 166"/>
              <a:gd name="T25" fmla="*/ 1439164329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072151641 w 166"/>
              <a:gd name="T75" fmla="*/ 2147483647 h 62"/>
              <a:gd name="T76" fmla="*/ 1514342917 w 166"/>
              <a:gd name="T77" fmla="*/ 2147483647 h 62"/>
              <a:gd name="T78" fmla="*/ 956348715 w 166"/>
              <a:gd name="T79" fmla="*/ 2147483647 h 62"/>
              <a:gd name="T80" fmla="*/ 557808509 w 166"/>
              <a:gd name="T81" fmla="*/ 2147483647 h 62"/>
              <a:gd name="T82" fmla="*/ 159453404 w 166"/>
              <a:gd name="T83" fmla="*/ 2147483647 h 62"/>
              <a:gd name="T84" fmla="*/ 79634178 w 166"/>
              <a:gd name="T85" fmla="*/ 2147483647 h 62"/>
              <a:gd name="T86" fmla="*/ 0 w 166"/>
              <a:gd name="T87" fmla="*/ 2147483647 h 62"/>
              <a:gd name="T88" fmla="*/ 79634178 w 166"/>
              <a:gd name="T89" fmla="*/ 2147483647 h 62"/>
              <a:gd name="T90" fmla="*/ 318721330 w 166"/>
              <a:gd name="T91" fmla="*/ 2147483647 h 62"/>
              <a:gd name="T92" fmla="*/ 557808509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89" name="Freeform 337"/>
          <p:cNvSpPr>
            <a:spLocks/>
          </p:cNvSpPr>
          <p:nvPr>
            <p:custDataLst>
              <p:tags r:id="rId240"/>
            </p:custDataLst>
          </p:nvPr>
        </p:nvSpPr>
        <p:spPr bwMode="auto">
          <a:xfrm>
            <a:off x="9713387" y="3659188"/>
            <a:ext cx="114300" cy="63500"/>
          </a:xfrm>
          <a:custGeom>
            <a:avLst/>
            <a:gdLst>
              <a:gd name="T0" fmla="*/ 2147483647 w 193"/>
              <a:gd name="T1" fmla="*/ 2147483647 h 121"/>
              <a:gd name="T2" fmla="*/ 2147483647 w 193"/>
              <a:gd name="T3" fmla="*/ 2147483647 h 121"/>
              <a:gd name="T4" fmla="*/ 2147483647 w 193"/>
              <a:gd name="T5" fmla="*/ 1734519906 h 121"/>
              <a:gd name="T6" fmla="*/ 2147483647 w 193"/>
              <a:gd name="T7" fmla="*/ 578081550 h 121"/>
              <a:gd name="T8" fmla="*/ 2147483647 w 193"/>
              <a:gd name="T9" fmla="*/ 144589529 h 121"/>
              <a:gd name="T10" fmla="*/ 2147483647 w 193"/>
              <a:gd name="T11" fmla="*/ 144589529 h 121"/>
              <a:gd name="T12" fmla="*/ 2147483647 w 193"/>
              <a:gd name="T13" fmla="*/ 433492481 h 121"/>
              <a:gd name="T14" fmla="*/ 2147483647 w 193"/>
              <a:gd name="T15" fmla="*/ 1445342028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1139139646 w 193"/>
              <a:gd name="T55" fmla="*/ 2147483647 h 121"/>
              <a:gd name="T56" fmla="*/ 262984784 w 193"/>
              <a:gd name="T57" fmla="*/ 2147483647 h 121"/>
              <a:gd name="T58" fmla="*/ 0 w 193"/>
              <a:gd name="T59" fmla="*/ 2147483647 h 121"/>
              <a:gd name="T60" fmla="*/ 87595848 w 193"/>
              <a:gd name="T61" fmla="*/ 2147483647 h 121"/>
              <a:gd name="T62" fmla="*/ 613368177 w 193"/>
              <a:gd name="T63" fmla="*/ 2147483647 h 121"/>
              <a:gd name="T64" fmla="*/ 1752507601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90" name="Freeform 338"/>
          <p:cNvSpPr>
            <a:spLocks/>
          </p:cNvSpPr>
          <p:nvPr>
            <p:custDataLst>
              <p:tags r:id="rId241"/>
            </p:custDataLst>
          </p:nvPr>
        </p:nvSpPr>
        <p:spPr bwMode="auto">
          <a:xfrm>
            <a:off x="9298522" y="3597275"/>
            <a:ext cx="222249" cy="230188"/>
          </a:xfrm>
          <a:custGeom>
            <a:avLst/>
            <a:gdLst>
              <a:gd name="T0" fmla="*/ 2147483647 w 379"/>
              <a:gd name="T1" fmla="*/ 2147483647 h 437"/>
              <a:gd name="T2" fmla="*/ 2147483647 w 379"/>
              <a:gd name="T3" fmla="*/ 2147483647 h 437"/>
              <a:gd name="T4" fmla="*/ 2041658245 w 379"/>
              <a:gd name="T5" fmla="*/ 2147483647 h 437"/>
              <a:gd name="T6" fmla="*/ 170219093 w 379"/>
              <a:gd name="T7" fmla="*/ 2147483647 h 437"/>
              <a:gd name="T8" fmla="*/ 1276060702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1022999696 h 437"/>
              <a:gd name="T36" fmla="*/ 2147483647 w 379"/>
              <a:gd name="T37" fmla="*/ 131544398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91" name="Freeform 339"/>
          <p:cNvSpPr>
            <a:spLocks/>
          </p:cNvSpPr>
          <p:nvPr>
            <p:custDataLst>
              <p:tags r:id="rId242"/>
            </p:custDataLst>
          </p:nvPr>
        </p:nvSpPr>
        <p:spPr bwMode="auto">
          <a:xfrm>
            <a:off x="8851905" y="3838575"/>
            <a:ext cx="334433" cy="95250"/>
          </a:xfrm>
          <a:custGeom>
            <a:avLst/>
            <a:gdLst>
              <a:gd name="T0" fmla="*/ 898829489 w 578"/>
              <a:gd name="T1" fmla="*/ 2147483647 h 184"/>
              <a:gd name="T2" fmla="*/ 1961303995 w 578"/>
              <a:gd name="T3" fmla="*/ 2147483647 h 184"/>
              <a:gd name="T4" fmla="*/ 2147483647 w 578"/>
              <a:gd name="T5" fmla="*/ 971141501 h 184"/>
              <a:gd name="T6" fmla="*/ 2147483647 w 578"/>
              <a:gd name="T7" fmla="*/ 0 h 184"/>
              <a:gd name="T8" fmla="*/ 2147483647 w 578"/>
              <a:gd name="T9" fmla="*/ 277354061 h 184"/>
              <a:gd name="T10" fmla="*/ 2147483647 w 578"/>
              <a:gd name="T11" fmla="*/ 277354061 h 184"/>
              <a:gd name="T12" fmla="*/ 2147483647 w 578"/>
              <a:gd name="T13" fmla="*/ 693519420 h 184"/>
              <a:gd name="T14" fmla="*/ 2147483647 w 578"/>
              <a:gd name="T15" fmla="*/ 2080826151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92" name="Freeform 340"/>
          <p:cNvSpPr>
            <a:spLocks/>
          </p:cNvSpPr>
          <p:nvPr>
            <p:custDataLst>
              <p:tags r:id="rId243"/>
            </p:custDataLst>
          </p:nvPr>
        </p:nvSpPr>
        <p:spPr bwMode="auto">
          <a:xfrm>
            <a:off x="9759952" y="3695704"/>
            <a:ext cx="285749" cy="252413"/>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1995837837 w 491"/>
              <a:gd name="T49" fmla="*/ 2147483647 h 481"/>
              <a:gd name="T50" fmla="*/ 1080983785 w 491"/>
              <a:gd name="T51" fmla="*/ 2147483647 h 481"/>
              <a:gd name="T52" fmla="*/ 1164238957 w 491"/>
              <a:gd name="T53" fmla="*/ 2147483647 h 481"/>
              <a:gd name="T54" fmla="*/ 1912583539 w 491"/>
              <a:gd name="T55" fmla="*/ 2147483647 h 481"/>
              <a:gd name="T56" fmla="*/ 2147483647 w 491"/>
              <a:gd name="T57" fmla="*/ 2147483647 h 481"/>
              <a:gd name="T58" fmla="*/ 2147483647 w 491"/>
              <a:gd name="T59" fmla="*/ 2147483647 h 481"/>
              <a:gd name="T60" fmla="*/ 1413623861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1300621936 h 481"/>
              <a:gd name="T92" fmla="*/ 2147483647 w 491"/>
              <a:gd name="T93" fmla="*/ 144574954 h 481"/>
              <a:gd name="T94" fmla="*/ 2147483647 w 491"/>
              <a:gd name="T95" fmla="*/ 0 h 481"/>
              <a:gd name="T96" fmla="*/ 2147483647 w 491"/>
              <a:gd name="T97" fmla="*/ 1156047573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93" name="Freeform 341"/>
          <p:cNvSpPr>
            <a:spLocks/>
          </p:cNvSpPr>
          <p:nvPr>
            <p:custDataLst>
              <p:tags r:id="rId244"/>
            </p:custDataLst>
          </p:nvPr>
        </p:nvSpPr>
        <p:spPr bwMode="auto">
          <a:xfrm>
            <a:off x="7802038" y="2527307"/>
            <a:ext cx="71967" cy="60325"/>
          </a:xfrm>
          <a:custGeom>
            <a:avLst/>
            <a:gdLst>
              <a:gd name="T0" fmla="*/ 0 w 133"/>
              <a:gd name="T1" fmla="*/ 2147483647 h 117"/>
              <a:gd name="T2" fmla="*/ 2147483647 w 133"/>
              <a:gd name="T3" fmla="*/ 0 h 117"/>
              <a:gd name="T4" fmla="*/ 2147483647 w 133"/>
              <a:gd name="T5" fmla="*/ 822513888 h 117"/>
              <a:gd name="T6" fmla="*/ 2147483647 w 133"/>
              <a:gd name="T7" fmla="*/ 1918844426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38736073 w 133"/>
              <a:gd name="T45" fmla="*/ 2147483647 h 117"/>
              <a:gd name="T46" fmla="*/ 1203100980 w 133"/>
              <a:gd name="T47" fmla="*/ 2147483647 h 117"/>
              <a:gd name="T48" fmla="*/ 534766401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94" name="Freeform 342"/>
          <p:cNvSpPr>
            <a:spLocks/>
          </p:cNvSpPr>
          <p:nvPr>
            <p:custDataLst>
              <p:tags r:id="rId245"/>
            </p:custDataLst>
          </p:nvPr>
        </p:nvSpPr>
        <p:spPr bwMode="auto">
          <a:xfrm>
            <a:off x="5744638" y="1931988"/>
            <a:ext cx="294217"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1251361218 w 505"/>
              <a:gd name="T57" fmla="*/ 2147483647 h 339"/>
              <a:gd name="T58" fmla="*/ 166873677 w 505"/>
              <a:gd name="T59" fmla="*/ 2147483647 h 339"/>
              <a:gd name="T60" fmla="*/ 417184165 w 505"/>
              <a:gd name="T61" fmla="*/ 2147483647 h 339"/>
              <a:gd name="T62" fmla="*/ 917805360 w 505"/>
              <a:gd name="T63" fmla="*/ 2147483647 h 339"/>
              <a:gd name="T64" fmla="*/ 917805360 w 505"/>
              <a:gd name="T65" fmla="*/ 2147483647 h 339"/>
              <a:gd name="T66" fmla="*/ 917805360 w 505"/>
              <a:gd name="T67" fmla="*/ 2147483647 h 339"/>
              <a:gd name="T68" fmla="*/ 2147483647 w 505"/>
              <a:gd name="T69" fmla="*/ 2147483647 h 339"/>
              <a:gd name="T70" fmla="*/ 2147483647 w 505"/>
              <a:gd name="T71" fmla="*/ 2147483647 h 339"/>
              <a:gd name="T72" fmla="*/ 2147483647 w 505"/>
              <a:gd name="T73" fmla="*/ 1154249387 h 339"/>
              <a:gd name="T74" fmla="*/ 2147483647 w 505"/>
              <a:gd name="T75" fmla="*/ 1586954640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95" name="Freeform 343"/>
          <p:cNvSpPr>
            <a:spLocks/>
          </p:cNvSpPr>
          <p:nvPr>
            <p:custDataLst>
              <p:tags r:id="rId246"/>
            </p:custDataLst>
          </p:nvPr>
        </p:nvSpPr>
        <p:spPr bwMode="auto">
          <a:xfrm>
            <a:off x="5829300" y="2136775"/>
            <a:ext cx="194733" cy="71438"/>
          </a:xfrm>
          <a:custGeom>
            <a:avLst/>
            <a:gdLst>
              <a:gd name="T0" fmla="*/ 2147483647 w 338"/>
              <a:gd name="T1" fmla="*/ 0 h 141"/>
              <a:gd name="T2" fmla="*/ 2147483647 w 338"/>
              <a:gd name="T3" fmla="*/ 0 h 141"/>
              <a:gd name="T4" fmla="*/ 2147483647 w 338"/>
              <a:gd name="T5" fmla="*/ 1040391929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1694214388 w 338"/>
              <a:gd name="T39" fmla="*/ 2147483647 h 141"/>
              <a:gd name="T40" fmla="*/ 887436856 w 338"/>
              <a:gd name="T41" fmla="*/ 2147483647 h 141"/>
              <a:gd name="T42" fmla="*/ 0 w 338"/>
              <a:gd name="T43" fmla="*/ 2147483647 h 141"/>
              <a:gd name="T44" fmla="*/ 968096396 w 338"/>
              <a:gd name="T45" fmla="*/ 2147483647 h 141"/>
              <a:gd name="T46" fmla="*/ 1855533469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96" name="Freeform 344"/>
          <p:cNvSpPr>
            <a:spLocks/>
          </p:cNvSpPr>
          <p:nvPr>
            <p:custDataLst>
              <p:tags r:id="rId247"/>
            </p:custDataLst>
          </p:nvPr>
        </p:nvSpPr>
        <p:spPr bwMode="auto">
          <a:xfrm>
            <a:off x="5962655" y="1792292"/>
            <a:ext cx="148167" cy="65087"/>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1541427446 h 129"/>
              <a:gd name="T14" fmla="*/ 2147483647 w 259"/>
              <a:gd name="T15" fmla="*/ 1798289890 h 129"/>
              <a:gd name="T16" fmla="*/ 2147483647 w 259"/>
              <a:gd name="T17" fmla="*/ 2055151326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1926592957 h 129"/>
              <a:gd name="T34" fmla="*/ 2147483647 w 259"/>
              <a:gd name="T35" fmla="*/ 1541427446 h 129"/>
              <a:gd name="T36" fmla="*/ 2147483647 w 259"/>
              <a:gd name="T37" fmla="*/ 1156006633 h 129"/>
              <a:gd name="T38" fmla="*/ 2147483647 w 259"/>
              <a:gd name="T39" fmla="*/ 770586576 h 129"/>
              <a:gd name="T40" fmla="*/ 2147483647 w 259"/>
              <a:gd name="T41" fmla="*/ 385420435 h 129"/>
              <a:gd name="T42" fmla="*/ 2147483647 w 259"/>
              <a:gd name="T43" fmla="*/ 128558400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56862003 h 129"/>
              <a:gd name="T54" fmla="*/ 2132467150 w 259"/>
              <a:gd name="T55" fmla="*/ 513724510 h 129"/>
              <a:gd name="T56" fmla="*/ 1658626512 w 259"/>
              <a:gd name="T57" fmla="*/ 770586576 h 129"/>
              <a:gd name="T58" fmla="*/ 1105812935 w 259"/>
              <a:gd name="T59" fmla="*/ 1156006633 h 129"/>
              <a:gd name="T60" fmla="*/ 789918819 w 259"/>
              <a:gd name="T61" fmla="*/ 1669731522 h 129"/>
              <a:gd name="T62" fmla="*/ 394867377 w 259"/>
              <a:gd name="T63" fmla="*/ 2147483647 h 129"/>
              <a:gd name="T64" fmla="*/ 157946790 w 259"/>
              <a:gd name="T65" fmla="*/ 2147483647 h 129"/>
              <a:gd name="T66" fmla="*/ 0 w 259"/>
              <a:gd name="T67" fmla="*/ 2147483647 h 129"/>
              <a:gd name="T68" fmla="*/ 0 w 259"/>
              <a:gd name="T69" fmla="*/ 2147483647 h 129"/>
              <a:gd name="T70" fmla="*/ 0 w 259"/>
              <a:gd name="T71" fmla="*/ 2147483647 h 129"/>
              <a:gd name="T72" fmla="*/ 236920641 w 259"/>
              <a:gd name="T73" fmla="*/ 2147483647 h 129"/>
              <a:gd name="T74" fmla="*/ 473840853 w 259"/>
              <a:gd name="T75" fmla="*/ 2147483647 h 129"/>
              <a:gd name="T76" fmla="*/ 947865340 w 259"/>
              <a:gd name="T77" fmla="*/ 2147483647 h 129"/>
              <a:gd name="T78" fmla="*/ 1342733039 w 259"/>
              <a:gd name="T79" fmla="*/ 2147483647 h 129"/>
              <a:gd name="T80" fmla="*/ 1895547046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97" name="Freeform 345"/>
          <p:cNvSpPr>
            <a:spLocks/>
          </p:cNvSpPr>
          <p:nvPr>
            <p:custDataLst>
              <p:tags r:id="rId248"/>
            </p:custDataLst>
          </p:nvPr>
        </p:nvSpPr>
        <p:spPr bwMode="auto">
          <a:xfrm>
            <a:off x="5979589" y="2139957"/>
            <a:ext cx="239183"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1654370174 w 425"/>
              <a:gd name="T33" fmla="*/ 2147483647 h 272"/>
              <a:gd name="T34" fmla="*/ 827185087 w 425"/>
              <a:gd name="T35" fmla="*/ 2147483647 h 272"/>
              <a:gd name="T36" fmla="*/ 150364725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869682624 h 272"/>
              <a:gd name="T48" fmla="*/ 2147483647 w 425"/>
              <a:gd name="T49" fmla="*/ 1449378503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724551630 h 272"/>
              <a:gd name="T64" fmla="*/ 2147483647 w 425"/>
              <a:gd name="T65" fmla="*/ 289986350 h 272"/>
              <a:gd name="T66" fmla="*/ 2147483647 w 425"/>
              <a:gd name="T67" fmla="*/ 0 h 272"/>
              <a:gd name="T68" fmla="*/ 2147483647 w 425"/>
              <a:gd name="T69" fmla="*/ 289986350 h 272"/>
              <a:gd name="T70" fmla="*/ 2147483647 w 425"/>
              <a:gd name="T71" fmla="*/ 1014537848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298" name="Freeform 346"/>
          <p:cNvSpPr>
            <a:spLocks/>
          </p:cNvSpPr>
          <p:nvPr>
            <p:custDataLst>
              <p:tags r:id="rId249"/>
            </p:custDataLst>
          </p:nvPr>
        </p:nvSpPr>
        <p:spPr bwMode="auto">
          <a:xfrm>
            <a:off x="3312589" y="3178182"/>
            <a:ext cx="19049" cy="55563"/>
          </a:xfrm>
          <a:custGeom>
            <a:avLst/>
            <a:gdLst>
              <a:gd name="T0" fmla="*/ 1054892280 w 33"/>
              <a:gd name="T1" fmla="*/ 2147483647 h 31"/>
              <a:gd name="T2" fmla="*/ 0 w 33"/>
              <a:gd name="T3" fmla="*/ 2147483647 h 31"/>
              <a:gd name="T4" fmla="*/ 405800076 w 33"/>
              <a:gd name="T5" fmla="*/ 2147483647 h 31"/>
              <a:gd name="T6" fmla="*/ 1136052793 w 33"/>
              <a:gd name="T7" fmla="*/ 2147483647 h 31"/>
              <a:gd name="T8" fmla="*/ 1541851894 w 33"/>
              <a:gd name="T9" fmla="*/ 2147483647 h 31"/>
              <a:gd name="T10" fmla="*/ 1866491782 w 33"/>
              <a:gd name="T11" fmla="*/ 2147483647 h 31"/>
              <a:gd name="T12" fmla="*/ 2147483647 w 33"/>
              <a:gd name="T13" fmla="*/ 2147483647 h 31"/>
              <a:gd name="T14" fmla="*/ 2147483647 w 33"/>
              <a:gd name="T15" fmla="*/ 2147483647 h 31"/>
              <a:gd name="T16" fmla="*/ 2147483647 w 33"/>
              <a:gd name="T17" fmla="*/ 0 h 31"/>
              <a:gd name="T18" fmla="*/ 1623012407 w 33"/>
              <a:gd name="T19" fmla="*/ 0 h 31"/>
              <a:gd name="T20" fmla="*/ 105489228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299" name="Freeform 347"/>
          <p:cNvSpPr>
            <a:spLocks/>
          </p:cNvSpPr>
          <p:nvPr>
            <p:custDataLst>
              <p:tags r:id="rId250"/>
            </p:custDataLst>
          </p:nvPr>
        </p:nvSpPr>
        <p:spPr bwMode="auto">
          <a:xfrm>
            <a:off x="6119287" y="2132020"/>
            <a:ext cx="114300" cy="79375"/>
          </a:xfrm>
          <a:custGeom>
            <a:avLst/>
            <a:gdLst>
              <a:gd name="T0" fmla="*/ 534054302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36215422 w 192"/>
              <a:gd name="T45" fmla="*/ 2147483647 h 154"/>
              <a:gd name="T46" fmla="*/ 1602161790 w 192"/>
              <a:gd name="T47" fmla="*/ 2147483647 h 154"/>
              <a:gd name="T48" fmla="*/ 1068107711 w 192"/>
              <a:gd name="T49" fmla="*/ 2147483647 h 154"/>
              <a:gd name="T50" fmla="*/ 534054302 w 192"/>
              <a:gd name="T51" fmla="*/ 2147483647 h 154"/>
              <a:gd name="T52" fmla="*/ 0 w 192"/>
              <a:gd name="T53" fmla="*/ 2147483647 h 154"/>
              <a:gd name="T54" fmla="*/ 534054302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00" name="Freeform 348"/>
          <p:cNvSpPr>
            <a:spLocks/>
          </p:cNvSpPr>
          <p:nvPr>
            <p:custDataLst>
              <p:tags r:id="rId251"/>
            </p:custDataLst>
          </p:nvPr>
        </p:nvSpPr>
        <p:spPr bwMode="auto">
          <a:xfrm>
            <a:off x="6009217" y="2014538"/>
            <a:ext cx="508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31753055 w 877"/>
              <a:gd name="T19" fmla="*/ 2147483647 h 469"/>
              <a:gd name="T20" fmla="*/ 655851784 w 877"/>
              <a:gd name="T21" fmla="*/ 2147483647 h 469"/>
              <a:gd name="T22" fmla="*/ 1065971235 w 877"/>
              <a:gd name="T23" fmla="*/ 2147483647 h 469"/>
              <a:gd name="T24" fmla="*/ 1065971235 w 877"/>
              <a:gd name="T25" fmla="*/ 2147483647 h 469"/>
              <a:gd name="T26" fmla="*/ 1885833046 w 877"/>
              <a:gd name="T27" fmla="*/ 2147483647 h 469"/>
              <a:gd name="T28" fmla="*/ 2147483647 w 877"/>
              <a:gd name="T29" fmla="*/ 2147483647 h 469"/>
              <a:gd name="T30" fmla="*/ 2147483647 w 877"/>
              <a:gd name="T31" fmla="*/ 2147483647 h 469"/>
              <a:gd name="T32" fmla="*/ 2131753055 w 877"/>
              <a:gd name="T33" fmla="*/ 2147483647 h 469"/>
              <a:gd name="T34" fmla="*/ 2147483647 w 877"/>
              <a:gd name="T35" fmla="*/ 2147483647 h 469"/>
              <a:gd name="T36" fmla="*/ 2147483647 w 877"/>
              <a:gd name="T37" fmla="*/ 2147483647 h 469"/>
              <a:gd name="T38" fmla="*/ 2147483647 w 877"/>
              <a:gd name="T39" fmla="*/ 19138508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01" name="Freeform 349"/>
          <p:cNvSpPr>
            <a:spLocks/>
          </p:cNvSpPr>
          <p:nvPr>
            <p:custDataLst>
              <p:tags r:id="rId252"/>
            </p:custDataLst>
          </p:nvPr>
        </p:nvSpPr>
        <p:spPr bwMode="auto">
          <a:xfrm>
            <a:off x="6690787" y="2357438"/>
            <a:ext cx="63500"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1851716889 w 107"/>
              <a:gd name="T31" fmla="*/ 2147483647 h 123"/>
              <a:gd name="T32" fmla="*/ 1499084576 w 107"/>
              <a:gd name="T33" fmla="*/ 2147483647 h 123"/>
              <a:gd name="T34" fmla="*/ 1234411607 w 107"/>
              <a:gd name="T35" fmla="*/ 2147483647 h 123"/>
              <a:gd name="T36" fmla="*/ 969938040 w 107"/>
              <a:gd name="T37" fmla="*/ 2147483647 h 123"/>
              <a:gd name="T38" fmla="*/ 793621216 w 107"/>
              <a:gd name="T39" fmla="*/ 2147483647 h 123"/>
              <a:gd name="T40" fmla="*/ 352632424 w 107"/>
              <a:gd name="T41" fmla="*/ 2147483647 h 123"/>
              <a:gd name="T42" fmla="*/ 0 w 107"/>
              <a:gd name="T43" fmla="*/ 825693135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02" name="Freeform 350"/>
          <p:cNvSpPr>
            <a:spLocks/>
          </p:cNvSpPr>
          <p:nvPr>
            <p:custDataLst>
              <p:tags r:id="rId253"/>
            </p:custDataLst>
          </p:nvPr>
        </p:nvSpPr>
        <p:spPr bwMode="auto">
          <a:xfrm>
            <a:off x="7414685" y="2371725"/>
            <a:ext cx="277283" cy="122238"/>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03" name="Freeform 351"/>
          <p:cNvSpPr>
            <a:spLocks/>
          </p:cNvSpPr>
          <p:nvPr>
            <p:custDataLst>
              <p:tags r:id="rId254"/>
            </p:custDataLst>
          </p:nvPr>
        </p:nvSpPr>
        <p:spPr bwMode="auto">
          <a:xfrm>
            <a:off x="7480305" y="2300288"/>
            <a:ext cx="300567" cy="125412"/>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1583352260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04" name="Freeform 352"/>
          <p:cNvSpPr>
            <a:spLocks/>
          </p:cNvSpPr>
          <p:nvPr>
            <p:custDataLst>
              <p:tags r:id="rId255"/>
            </p:custDataLst>
          </p:nvPr>
        </p:nvSpPr>
        <p:spPr bwMode="auto">
          <a:xfrm>
            <a:off x="6955367" y="2316163"/>
            <a:ext cx="457200" cy="227012"/>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585744091 w 784"/>
              <a:gd name="T67" fmla="*/ 2147483647 h 430"/>
              <a:gd name="T68" fmla="*/ 0 w 784"/>
              <a:gd name="T69" fmla="*/ 2147483647 h 430"/>
              <a:gd name="T70" fmla="*/ 250978776 w 784"/>
              <a:gd name="T71" fmla="*/ 2147483647 h 430"/>
              <a:gd name="T72" fmla="*/ 920318383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05" name="Freeform 353"/>
          <p:cNvSpPr>
            <a:spLocks/>
          </p:cNvSpPr>
          <p:nvPr>
            <p:custDataLst>
              <p:tags r:id="rId256"/>
            </p:custDataLst>
          </p:nvPr>
        </p:nvSpPr>
        <p:spPr bwMode="auto">
          <a:xfrm>
            <a:off x="5901268" y="2203457"/>
            <a:ext cx="143933" cy="149225"/>
          </a:xfrm>
          <a:custGeom>
            <a:avLst/>
            <a:gdLst>
              <a:gd name="T0" fmla="*/ 2147483647 w 246"/>
              <a:gd name="T1" fmla="*/ 2147483647 h 284"/>
              <a:gd name="T2" fmla="*/ 2147483647 w 246"/>
              <a:gd name="T3" fmla="*/ 2147483647 h 284"/>
              <a:gd name="T4" fmla="*/ 2028084231 w 246"/>
              <a:gd name="T5" fmla="*/ 2147483647 h 284"/>
              <a:gd name="T6" fmla="*/ 2147483647 w 246"/>
              <a:gd name="T7" fmla="*/ 725281266 h 284"/>
              <a:gd name="T8" fmla="*/ 2147483647 w 246"/>
              <a:gd name="T9" fmla="*/ 144945819 h 284"/>
              <a:gd name="T10" fmla="*/ 2147483647 w 246"/>
              <a:gd name="T11" fmla="*/ 1740730420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1436527593 w 246"/>
              <a:gd name="T77" fmla="*/ 2147483647 h 284"/>
              <a:gd name="T78" fmla="*/ 929506755 w 246"/>
              <a:gd name="T79" fmla="*/ 2147483647 h 284"/>
              <a:gd name="T80" fmla="*/ 0 w 246"/>
              <a:gd name="T81" fmla="*/ 2147483647 h 284"/>
              <a:gd name="T82" fmla="*/ 84535388 w 246"/>
              <a:gd name="T83" fmla="*/ 2147483647 h 284"/>
              <a:gd name="T84" fmla="*/ 337949788 w 246"/>
              <a:gd name="T85" fmla="*/ 2147483647 h 284"/>
              <a:gd name="T86" fmla="*/ 1267455994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06" name="Freeform 354"/>
          <p:cNvSpPr>
            <a:spLocks/>
          </p:cNvSpPr>
          <p:nvPr>
            <p:custDataLst>
              <p:tags r:id="rId257"/>
            </p:custDataLst>
          </p:nvPr>
        </p:nvSpPr>
        <p:spPr bwMode="auto">
          <a:xfrm>
            <a:off x="5964772" y="2311407"/>
            <a:ext cx="91017" cy="60325"/>
          </a:xfrm>
          <a:custGeom>
            <a:avLst/>
            <a:gdLst>
              <a:gd name="T0" fmla="*/ 2147483647 w 160"/>
              <a:gd name="T1" fmla="*/ 0 h 117"/>
              <a:gd name="T2" fmla="*/ 2147483647 w 160"/>
              <a:gd name="T3" fmla="*/ 1233505170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1630942814 w 160"/>
              <a:gd name="T49" fmla="*/ 2147483647 h 117"/>
              <a:gd name="T50" fmla="*/ 776517994 w 160"/>
              <a:gd name="T51" fmla="*/ 2147483647 h 117"/>
              <a:gd name="T52" fmla="*/ 0 w 160"/>
              <a:gd name="T53" fmla="*/ 2147483647 h 117"/>
              <a:gd name="T54" fmla="*/ 1009509977 w 160"/>
              <a:gd name="T55" fmla="*/ 2147483647 h 117"/>
              <a:gd name="T56" fmla="*/ 2147483647 w 160"/>
              <a:gd name="T57" fmla="*/ 2147483647 h 117"/>
              <a:gd name="T58" fmla="*/ 2147483647 w 160"/>
              <a:gd name="T59" fmla="*/ 2147483647 h 117"/>
              <a:gd name="T60" fmla="*/ 2147483647 w 160"/>
              <a:gd name="T61" fmla="*/ 1918844426 h 117"/>
              <a:gd name="T62" fmla="*/ 2147483647 w 160"/>
              <a:gd name="T63" fmla="*/ 822513888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07" name="Freeform 355"/>
          <p:cNvSpPr>
            <a:spLocks/>
          </p:cNvSpPr>
          <p:nvPr>
            <p:custDataLst>
              <p:tags r:id="rId258"/>
            </p:custDataLst>
          </p:nvPr>
        </p:nvSpPr>
        <p:spPr bwMode="auto">
          <a:xfrm>
            <a:off x="6076951" y="2935295"/>
            <a:ext cx="548216" cy="611187"/>
          </a:xfrm>
          <a:custGeom>
            <a:avLst/>
            <a:gdLst>
              <a:gd name="T0" fmla="*/ 2147483647 w 943"/>
              <a:gd name="T1" fmla="*/ 708980014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331550072 w 943"/>
              <a:gd name="T85" fmla="*/ 2147483647 h 1172"/>
              <a:gd name="T86" fmla="*/ 1491974835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08" name="Freeform 356"/>
          <p:cNvSpPr>
            <a:spLocks/>
          </p:cNvSpPr>
          <p:nvPr>
            <p:custDataLst>
              <p:tags r:id="rId259"/>
            </p:custDataLst>
          </p:nvPr>
        </p:nvSpPr>
        <p:spPr bwMode="auto">
          <a:xfrm>
            <a:off x="6722538" y="3275013"/>
            <a:ext cx="325967" cy="431800"/>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1172475839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1615152838 w 556"/>
              <a:gd name="T63" fmla="*/ 2147483647 h 819"/>
              <a:gd name="T64" fmla="*/ 169944842 w 556"/>
              <a:gd name="T65" fmla="*/ 2147483647 h 819"/>
              <a:gd name="T66" fmla="*/ 255014245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09" name="Freeform 357"/>
          <p:cNvSpPr>
            <a:spLocks/>
          </p:cNvSpPr>
          <p:nvPr>
            <p:custDataLst>
              <p:tags r:id="rId260"/>
            </p:custDataLst>
          </p:nvPr>
        </p:nvSpPr>
        <p:spPr bwMode="auto">
          <a:xfrm>
            <a:off x="6733117" y="3262320"/>
            <a:ext cx="50800" cy="58737"/>
          </a:xfrm>
          <a:custGeom>
            <a:avLst/>
            <a:gdLst>
              <a:gd name="T0" fmla="*/ 2147483647 w 86"/>
              <a:gd name="T1" fmla="*/ 0 h 97"/>
              <a:gd name="T2" fmla="*/ 2147483647 w 86"/>
              <a:gd name="T3" fmla="*/ 444042043 h 97"/>
              <a:gd name="T4" fmla="*/ 2147483647 w 86"/>
              <a:gd name="T5" fmla="*/ 666246618 h 97"/>
              <a:gd name="T6" fmla="*/ 2147483647 w 86"/>
              <a:gd name="T7" fmla="*/ 666246618 h 97"/>
              <a:gd name="T8" fmla="*/ 2147483647 w 86"/>
              <a:gd name="T9" fmla="*/ 666246618 h 97"/>
              <a:gd name="T10" fmla="*/ 2147483647 w 86"/>
              <a:gd name="T11" fmla="*/ 666246618 h 97"/>
              <a:gd name="T12" fmla="*/ 2147483647 w 86"/>
              <a:gd name="T13" fmla="*/ 666246618 h 97"/>
              <a:gd name="T14" fmla="*/ 1999986134 w 86"/>
              <a:gd name="T15" fmla="*/ 888084086 h 97"/>
              <a:gd name="T16" fmla="*/ 1738948507 w 86"/>
              <a:gd name="T17" fmla="*/ 1332126281 h 97"/>
              <a:gd name="T18" fmla="*/ 1391158540 w 86"/>
              <a:gd name="T19" fmla="*/ 1998373201 h 97"/>
              <a:gd name="T20" fmla="*/ 1130316286 w 86"/>
              <a:gd name="T21" fmla="*/ 2147483647 h 97"/>
              <a:gd name="T22" fmla="*/ 956421745 w 86"/>
              <a:gd name="T23" fmla="*/ 2147483647 h 97"/>
              <a:gd name="T24" fmla="*/ 695579270 w 86"/>
              <a:gd name="T25" fmla="*/ 2147483647 h 97"/>
              <a:gd name="T26" fmla="*/ 347789635 w 86"/>
              <a:gd name="T27" fmla="*/ 2147483647 h 97"/>
              <a:gd name="T28" fmla="*/ 173895039 w 86"/>
              <a:gd name="T29" fmla="*/ 2147483647 h 97"/>
              <a:gd name="T30" fmla="*/ 0 w 86"/>
              <a:gd name="T31" fmla="*/ 2147483647 h 97"/>
              <a:gd name="T32" fmla="*/ 0 w 86"/>
              <a:gd name="T33" fmla="*/ 2147483647 h 97"/>
              <a:gd name="T34" fmla="*/ 0 w 86"/>
              <a:gd name="T35" fmla="*/ 2147483647 h 97"/>
              <a:gd name="T36" fmla="*/ 86947298 w 86"/>
              <a:gd name="T37" fmla="*/ 2147483647 h 97"/>
              <a:gd name="T38" fmla="*/ 260842365 w 86"/>
              <a:gd name="T39" fmla="*/ 2147483647 h 97"/>
              <a:gd name="T40" fmla="*/ 608632000 w 86"/>
              <a:gd name="T41" fmla="*/ 2147483647 h 97"/>
              <a:gd name="T42" fmla="*/ 869474254 w 86"/>
              <a:gd name="T43" fmla="*/ 2147483647 h 97"/>
              <a:gd name="T44" fmla="*/ 1130316286 w 86"/>
              <a:gd name="T45" fmla="*/ 2147483647 h 97"/>
              <a:gd name="T46" fmla="*/ 1565053081 w 86"/>
              <a:gd name="T47" fmla="*/ 2147483647 h 97"/>
              <a:gd name="T48" fmla="*/ 1825895335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10" name="Freeform 358"/>
          <p:cNvSpPr>
            <a:spLocks/>
          </p:cNvSpPr>
          <p:nvPr>
            <p:custDataLst>
              <p:tags r:id="rId261"/>
            </p:custDataLst>
          </p:nvPr>
        </p:nvSpPr>
        <p:spPr bwMode="auto">
          <a:xfrm>
            <a:off x="6464300" y="3173420"/>
            <a:ext cx="484717" cy="376237"/>
          </a:xfrm>
          <a:custGeom>
            <a:avLst/>
            <a:gdLst>
              <a:gd name="T0" fmla="*/ 2147483647 w 845"/>
              <a:gd name="T1" fmla="*/ 2147483647 h 720"/>
              <a:gd name="T2" fmla="*/ 2147483647 w 845"/>
              <a:gd name="T3" fmla="*/ 2147483647 h 720"/>
              <a:gd name="T4" fmla="*/ 2147483647 w 845"/>
              <a:gd name="T5" fmla="*/ 0 h 720"/>
              <a:gd name="T6" fmla="*/ 2147483647 w 845"/>
              <a:gd name="T7" fmla="*/ 1712359039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1274169346 w 845"/>
              <a:gd name="T95" fmla="*/ 2147483647 h 720"/>
              <a:gd name="T96" fmla="*/ 398131752 w 845"/>
              <a:gd name="T97" fmla="*/ 2147483647 h 720"/>
              <a:gd name="T98" fmla="*/ 159178455 w 845"/>
              <a:gd name="T99" fmla="*/ 2147483647 h 720"/>
              <a:gd name="T100" fmla="*/ 1672300560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3335" name="Line 359"/>
          <p:cNvSpPr>
            <a:spLocks noChangeShapeType="1"/>
          </p:cNvSpPr>
          <p:nvPr>
            <p:custDataLst>
              <p:tags r:id="rId262"/>
            </p:custDataLst>
          </p:nvPr>
        </p:nvSpPr>
        <p:spPr bwMode="auto">
          <a:xfrm flipH="1">
            <a:off x="2277538" y="3692525"/>
            <a:ext cx="6351"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TW" altLang="en-US">
              <a:solidFill>
                <a:srgbClr val="000000"/>
              </a:solidFill>
            </a:endParaRPr>
          </a:p>
        </p:txBody>
      </p:sp>
      <p:sp>
        <p:nvSpPr>
          <p:cNvPr id="2312" name="Freeform 360"/>
          <p:cNvSpPr>
            <a:spLocks/>
          </p:cNvSpPr>
          <p:nvPr>
            <p:custDataLst>
              <p:tags r:id="rId263"/>
            </p:custDataLst>
          </p:nvPr>
        </p:nvSpPr>
        <p:spPr bwMode="auto">
          <a:xfrm>
            <a:off x="2277536" y="3700465"/>
            <a:ext cx="16933" cy="58737"/>
          </a:xfrm>
          <a:custGeom>
            <a:avLst/>
            <a:gdLst>
              <a:gd name="T0" fmla="*/ 0 w 33"/>
              <a:gd name="T1" fmla="*/ 0 h 6"/>
              <a:gd name="T2" fmla="*/ 399003894 w 33"/>
              <a:gd name="T3" fmla="*/ 2147483647 h 6"/>
              <a:gd name="T4" fmla="*/ 855029414 w 33"/>
              <a:gd name="T5" fmla="*/ 2147483647 h 6"/>
              <a:gd name="T6" fmla="*/ 1311054645 w 33"/>
              <a:gd name="T7" fmla="*/ 2147483647 h 6"/>
              <a:gd name="T8" fmla="*/ 1880976118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13" name="Freeform 361"/>
          <p:cNvSpPr>
            <a:spLocks/>
          </p:cNvSpPr>
          <p:nvPr>
            <p:custDataLst>
              <p:tags r:id="rId264"/>
            </p:custDataLst>
          </p:nvPr>
        </p:nvSpPr>
        <p:spPr bwMode="auto">
          <a:xfrm>
            <a:off x="2288120" y="3687763"/>
            <a:ext cx="6349" cy="57150"/>
          </a:xfrm>
          <a:custGeom>
            <a:avLst/>
            <a:gdLst>
              <a:gd name="T0" fmla="*/ 638971383 w 13"/>
              <a:gd name="T1" fmla="*/ 2147483647 h 30"/>
              <a:gd name="T2" fmla="*/ 638971383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314" name="Group 362"/>
          <p:cNvGrpSpPr>
            <a:grpSpLocks/>
          </p:cNvGrpSpPr>
          <p:nvPr>
            <p:custDataLst>
              <p:tags r:id="rId265"/>
            </p:custDataLst>
          </p:nvPr>
        </p:nvGrpSpPr>
        <p:grpSpPr bwMode="auto">
          <a:xfrm>
            <a:off x="2277535" y="3622681"/>
            <a:ext cx="556684" cy="201613"/>
            <a:chOff x="912" y="2626"/>
            <a:chExt cx="311" cy="127"/>
          </a:xfrm>
          <a:solidFill>
            <a:schemeClr val="accent5">
              <a:lumMod val="75000"/>
            </a:schemeClr>
          </a:solidFill>
        </p:grpSpPr>
        <p:sp>
          <p:nvSpPr>
            <p:cNvPr id="2501" name="Freeform 363"/>
            <p:cNvSpPr>
              <a:spLocks/>
            </p:cNvSpPr>
            <p:nvPr/>
          </p:nvSpPr>
          <p:spPr bwMode="auto">
            <a:xfrm>
              <a:off x="1110" y="2626"/>
              <a:ext cx="113" cy="127"/>
            </a:xfrm>
            <a:custGeom>
              <a:avLst/>
              <a:gdLst>
                <a:gd name="T0" fmla="*/ 10 w 352"/>
                <a:gd name="T1" fmla="*/ 3 h 387"/>
                <a:gd name="T2" fmla="*/ 10 w 352"/>
                <a:gd name="T3" fmla="*/ 3 h 387"/>
                <a:gd name="T4" fmla="*/ 9 w 352"/>
                <a:gd name="T5" fmla="*/ 3 h 387"/>
                <a:gd name="T6" fmla="*/ 8 w 352"/>
                <a:gd name="T7" fmla="*/ 3 h 387"/>
                <a:gd name="T8" fmla="*/ 7 w 352"/>
                <a:gd name="T9" fmla="*/ 2 h 387"/>
                <a:gd name="T10" fmla="*/ 5 w 352"/>
                <a:gd name="T11" fmla="*/ 1 h 387"/>
                <a:gd name="T12" fmla="*/ 4 w 352"/>
                <a:gd name="T13" fmla="*/ 0 h 387"/>
                <a:gd name="T14" fmla="*/ 4 w 352"/>
                <a:gd name="T15" fmla="*/ 1 h 387"/>
                <a:gd name="T16" fmla="*/ 4 w 352"/>
                <a:gd name="T17" fmla="*/ 1 h 387"/>
                <a:gd name="T18" fmla="*/ 4 w 352"/>
                <a:gd name="T19" fmla="*/ 1 h 387"/>
                <a:gd name="T20" fmla="*/ 3 w 352"/>
                <a:gd name="T21" fmla="*/ 2 h 387"/>
                <a:gd name="T22" fmla="*/ 2 w 352"/>
                <a:gd name="T23" fmla="*/ 4 h 387"/>
                <a:gd name="T24" fmla="*/ 1 w 352"/>
                <a:gd name="T25" fmla="*/ 5 h 387"/>
                <a:gd name="T26" fmla="*/ 1 w 352"/>
                <a:gd name="T27" fmla="*/ 6 h 387"/>
                <a:gd name="T28" fmla="*/ 0 w 352"/>
                <a:gd name="T29" fmla="*/ 6 h 387"/>
                <a:gd name="T30" fmla="*/ 0 w 352"/>
                <a:gd name="T31" fmla="*/ 7 h 387"/>
                <a:gd name="T32" fmla="*/ 0 w 352"/>
                <a:gd name="T33" fmla="*/ 8 h 387"/>
                <a:gd name="T34" fmla="*/ 0 w 352"/>
                <a:gd name="T35" fmla="*/ 8 h 387"/>
                <a:gd name="T36" fmla="*/ 0 w 352"/>
                <a:gd name="T37" fmla="*/ 8 h 387"/>
                <a:gd name="T38" fmla="*/ 1 w 352"/>
                <a:gd name="T39" fmla="*/ 9 h 387"/>
                <a:gd name="T40" fmla="*/ 1 w 352"/>
                <a:gd name="T41" fmla="*/ 9 h 387"/>
                <a:gd name="T42" fmla="*/ 2 w 352"/>
                <a:gd name="T43" fmla="*/ 9 h 387"/>
                <a:gd name="T44" fmla="*/ 2 w 352"/>
                <a:gd name="T45" fmla="*/ 9 h 387"/>
                <a:gd name="T46" fmla="*/ 2 w 352"/>
                <a:gd name="T47" fmla="*/ 8 h 387"/>
                <a:gd name="T48" fmla="*/ 3 w 352"/>
                <a:gd name="T49" fmla="*/ 8 h 387"/>
                <a:gd name="T50" fmla="*/ 3 w 352"/>
                <a:gd name="T51" fmla="*/ 9 h 387"/>
                <a:gd name="T52" fmla="*/ 3 w 352"/>
                <a:gd name="T53" fmla="*/ 9 h 387"/>
                <a:gd name="T54" fmla="*/ 3 w 352"/>
                <a:gd name="T55" fmla="*/ 10 h 387"/>
                <a:gd name="T56" fmla="*/ 2 w 352"/>
                <a:gd name="T57" fmla="*/ 10 h 387"/>
                <a:gd name="T58" fmla="*/ 2 w 352"/>
                <a:gd name="T59" fmla="*/ 11 h 387"/>
                <a:gd name="T60" fmla="*/ 3 w 352"/>
                <a:gd name="T61" fmla="*/ 12 h 387"/>
                <a:gd name="T62" fmla="*/ 3 w 352"/>
                <a:gd name="T63" fmla="*/ 12 h 387"/>
                <a:gd name="T64" fmla="*/ 4 w 352"/>
                <a:gd name="T65" fmla="*/ 13 h 387"/>
                <a:gd name="T66" fmla="*/ 5 w 352"/>
                <a:gd name="T67" fmla="*/ 13 h 387"/>
                <a:gd name="T68" fmla="*/ 5 w 352"/>
                <a:gd name="T69" fmla="*/ 14 h 387"/>
                <a:gd name="T70" fmla="*/ 5 w 352"/>
                <a:gd name="T71" fmla="*/ 13 h 387"/>
                <a:gd name="T72" fmla="*/ 6 w 352"/>
                <a:gd name="T73" fmla="*/ 13 h 387"/>
                <a:gd name="T74" fmla="*/ 6 w 352"/>
                <a:gd name="T75" fmla="*/ 12 h 387"/>
                <a:gd name="T76" fmla="*/ 6 w 352"/>
                <a:gd name="T77" fmla="*/ 12 h 387"/>
                <a:gd name="T78" fmla="*/ 6 w 352"/>
                <a:gd name="T79" fmla="*/ 11 h 387"/>
                <a:gd name="T80" fmla="*/ 6 w 352"/>
                <a:gd name="T81" fmla="*/ 11 h 387"/>
                <a:gd name="T82" fmla="*/ 7 w 352"/>
                <a:gd name="T83" fmla="*/ 10 h 387"/>
                <a:gd name="T84" fmla="*/ 8 w 352"/>
                <a:gd name="T85" fmla="*/ 9 h 387"/>
                <a:gd name="T86" fmla="*/ 9 w 352"/>
                <a:gd name="T87" fmla="*/ 9 h 387"/>
                <a:gd name="T88" fmla="*/ 10 w 352"/>
                <a:gd name="T89" fmla="*/ 8 h 387"/>
                <a:gd name="T90" fmla="*/ 11 w 352"/>
                <a:gd name="T91" fmla="*/ 8 h 387"/>
                <a:gd name="T92" fmla="*/ 11 w 352"/>
                <a:gd name="T93" fmla="*/ 7 h 387"/>
                <a:gd name="T94" fmla="*/ 12 w 352"/>
                <a:gd name="T95" fmla="*/ 7 h 387"/>
                <a:gd name="T96" fmla="*/ 12 w 352"/>
                <a:gd name="T97" fmla="*/ 6 h 387"/>
                <a:gd name="T98" fmla="*/ 12 w 352"/>
                <a:gd name="T99" fmla="*/ 5 h 387"/>
                <a:gd name="T100" fmla="*/ 11 w 352"/>
                <a:gd name="T101" fmla="*/ 4 h 387"/>
                <a:gd name="T102" fmla="*/ 11 w 352"/>
                <a:gd name="T103" fmla="*/ 3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52"/>
                <a:gd name="T157" fmla="*/ 0 h 387"/>
                <a:gd name="T158" fmla="*/ 352 w 352"/>
                <a:gd name="T159" fmla="*/ 387 h 38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502" name="Freeform 364"/>
            <p:cNvSpPr>
              <a:spLocks/>
            </p:cNvSpPr>
            <p:nvPr/>
          </p:nvSpPr>
          <p:spPr bwMode="auto">
            <a:xfrm>
              <a:off x="923" y="2662"/>
              <a:ext cx="17" cy="26"/>
            </a:xfrm>
            <a:custGeom>
              <a:avLst/>
              <a:gdLst>
                <a:gd name="T0" fmla="*/ 1 w 52"/>
                <a:gd name="T1" fmla="*/ 0 h 78"/>
                <a:gd name="T2" fmla="*/ 1 w 52"/>
                <a:gd name="T3" fmla="*/ 0 h 78"/>
                <a:gd name="T4" fmla="*/ 1 w 52"/>
                <a:gd name="T5" fmla="*/ 0 h 78"/>
                <a:gd name="T6" fmla="*/ 1 w 52"/>
                <a:gd name="T7" fmla="*/ 0 h 78"/>
                <a:gd name="T8" fmla="*/ 1 w 52"/>
                <a:gd name="T9" fmla="*/ 0 h 78"/>
                <a:gd name="T10" fmla="*/ 1 w 52"/>
                <a:gd name="T11" fmla="*/ 0 h 78"/>
                <a:gd name="T12" fmla="*/ 2 w 52"/>
                <a:gd name="T13" fmla="*/ 1 h 78"/>
                <a:gd name="T14" fmla="*/ 2 w 52"/>
                <a:gd name="T15" fmla="*/ 1 h 78"/>
                <a:gd name="T16" fmla="*/ 2 w 52"/>
                <a:gd name="T17" fmla="*/ 1 h 78"/>
                <a:gd name="T18" fmla="*/ 2 w 52"/>
                <a:gd name="T19" fmla="*/ 1 h 78"/>
                <a:gd name="T20" fmla="*/ 2 w 52"/>
                <a:gd name="T21" fmla="*/ 2 h 78"/>
                <a:gd name="T22" fmla="*/ 2 w 52"/>
                <a:gd name="T23" fmla="*/ 2 h 78"/>
                <a:gd name="T24" fmla="*/ 2 w 52"/>
                <a:gd name="T25" fmla="*/ 2 h 78"/>
                <a:gd name="T26" fmla="*/ 2 w 52"/>
                <a:gd name="T27" fmla="*/ 2 h 78"/>
                <a:gd name="T28" fmla="*/ 2 w 52"/>
                <a:gd name="T29" fmla="*/ 2 h 78"/>
                <a:gd name="T30" fmla="*/ 1 w 52"/>
                <a:gd name="T31" fmla="*/ 2 h 78"/>
                <a:gd name="T32" fmla="*/ 1 w 52"/>
                <a:gd name="T33" fmla="*/ 3 h 78"/>
                <a:gd name="T34" fmla="*/ 1 w 52"/>
                <a:gd name="T35" fmla="*/ 3 h 78"/>
                <a:gd name="T36" fmla="*/ 1 w 52"/>
                <a:gd name="T37" fmla="*/ 3 h 78"/>
                <a:gd name="T38" fmla="*/ 0 w 52"/>
                <a:gd name="T39" fmla="*/ 3 h 78"/>
                <a:gd name="T40" fmla="*/ 0 w 52"/>
                <a:gd name="T41" fmla="*/ 3 h 78"/>
                <a:gd name="T42" fmla="*/ 0 w 52"/>
                <a:gd name="T43" fmla="*/ 3 h 78"/>
                <a:gd name="T44" fmla="*/ 0 w 52"/>
                <a:gd name="T45" fmla="*/ 3 h 78"/>
                <a:gd name="T46" fmla="*/ 0 w 52"/>
                <a:gd name="T47" fmla="*/ 3 h 78"/>
                <a:gd name="T48" fmla="*/ 0 w 52"/>
                <a:gd name="T49" fmla="*/ 3 h 78"/>
                <a:gd name="T50" fmla="*/ 0 w 52"/>
                <a:gd name="T51" fmla="*/ 3 h 78"/>
                <a:gd name="T52" fmla="*/ 0 w 52"/>
                <a:gd name="T53" fmla="*/ 2 h 78"/>
                <a:gd name="T54" fmla="*/ 0 w 52"/>
                <a:gd name="T55" fmla="*/ 2 h 78"/>
                <a:gd name="T56" fmla="*/ 0 w 52"/>
                <a:gd name="T57" fmla="*/ 2 h 78"/>
                <a:gd name="T58" fmla="*/ 1 w 52"/>
                <a:gd name="T59" fmla="*/ 2 h 78"/>
                <a:gd name="T60" fmla="*/ 1 w 52"/>
                <a:gd name="T61" fmla="*/ 2 h 78"/>
                <a:gd name="T62" fmla="*/ 1 w 52"/>
                <a:gd name="T63" fmla="*/ 1 h 78"/>
                <a:gd name="T64" fmla="*/ 1 w 52"/>
                <a:gd name="T65" fmla="*/ 1 h 78"/>
                <a:gd name="T66" fmla="*/ 1 w 52"/>
                <a:gd name="T67" fmla="*/ 0 h 78"/>
                <a:gd name="T68" fmla="*/ 1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52"/>
                <a:gd name="T106" fmla="*/ 0 h 78"/>
                <a:gd name="T107" fmla="*/ 52 w 52"/>
                <a:gd name="T108" fmla="*/ 78 h 7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503" name="Freeform 365"/>
            <p:cNvSpPr>
              <a:spLocks/>
            </p:cNvSpPr>
            <p:nvPr/>
          </p:nvSpPr>
          <p:spPr bwMode="auto">
            <a:xfrm>
              <a:off x="912" y="2666"/>
              <a:ext cx="9" cy="10"/>
            </a:xfrm>
            <a:custGeom>
              <a:avLst/>
              <a:gdLst>
                <a:gd name="T0" fmla="*/ 0 w 33"/>
                <a:gd name="T1" fmla="*/ 0 h 30"/>
                <a:gd name="T2" fmla="*/ 0 w 33"/>
                <a:gd name="T3" fmla="*/ 1 h 30"/>
                <a:gd name="T4" fmla="*/ 0 w 33"/>
                <a:gd name="T5" fmla="*/ 1 h 30"/>
                <a:gd name="T6" fmla="*/ 0 w 33"/>
                <a:gd name="T7" fmla="*/ 1 h 30"/>
                <a:gd name="T8" fmla="*/ 1 w 33"/>
                <a:gd name="T9" fmla="*/ 1 h 30"/>
                <a:gd name="T10" fmla="*/ 1 w 33"/>
                <a:gd name="T11" fmla="*/ 1 h 30"/>
                <a:gd name="T12" fmla="*/ 1 w 33"/>
                <a:gd name="T13" fmla="*/ 0 h 30"/>
                <a:gd name="T14" fmla="*/ 0 w 33"/>
                <a:gd name="T15" fmla="*/ 0 h 30"/>
                <a:gd name="T16" fmla="*/ 0 w 33"/>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30"/>
                <a:gd name="T29" fmla="*/ 33 w 33"/>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315" name="Freeform 366"/>
          <p:cNvSpPr>
            <a:spLocks/>
          </p:cNvSpPr>
          <p:nvPr>
            <p:custDataLst>
              <p:tags r:id="rId266"/>
            </p:custDataLst>
          </p:nvPr>
        </p:nvSpPr>
        <p:spPr bwMode="auto">
          <a:xfrm>
            <a:off x="7141633" y="4340225"/>
            <a:ext cx="25400" cy="58738"/>
          </a:xfrm>
          <a:custGeom>
            <a:avLst/>
            <a:gdLst>
              <a:gd name="T0" fmla="*/ 865610237 w 47"/>
              <a:gd name="T1" fmla="*/ 0 h 28"/>
              <a:gd name="T2" fmla="*/ 1664685331 w 47"/>
              <a:gd name="T3" fmla="*/ 0 h 28"/>
              <a:gd name="T4" fmla="*/ 2064222472 w 47"/>
              <a:gd name="T5" fmla="*/ 2147483647 h 28"/>
              <a:gd name="T6" fmla="*/ 2147483647 w 47"/>
              <a:gd name="T7" fmla="*/ 2147483647 h 28"/>
              <a:gd name="T8" fmla="*/ 2147483647 w 47"/>
              <a:gd name="T9" fmla="*/ 2147483647 h 28"/>
              <a:gd name="T10" fmla="*/ 2130758021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1864453699 w 47"/>
              <a:gd name="T25" fmla="*/ 2147483647 h 28"/>
              <a:gd name="T26" fmla="*/ 1065379011 w 47"/>
              <a:gd name="T27" fmla="*/ 2147483647 h 28"/>
              <a:gd name="T28" fmla="*/ 0 w 47"/>
              <a:gd name="T29" fmla="*/ 2147483647 h 28"/>
              <a:gd name="T30" fmla="*/ 66534763 w 47"/>
              <a:gd name="T31" fmla="*/ 2147483647 h 28"/>
              <a:gd name="T32" fmla="*/ 133234086 w 47"/>
              <a:gd name="T33" fmla="*/ 2147483647 h 28"/>
              <a:gd name="T34" fmla="*/ 266303613 w 47"/>
              <a:gd name="T35" fmla="*/ 2147483647 h 28"/>
              <a:gd name="T36" fmla="*/ 399537648 w 47"/>
              <a:gd name="T37" fmla="*/ 2147483647 h 28"/>
              <a:gd name="T38" fmla="*/ 599306523 w 47"/>
              <a:gd name="T39" fmla="*/ 2147483647 h 28"/>
              <a:gd name="T40" fmla="*/ 732540558 w 47"/>
              <a:gd name="T41" fmla="*/ 2147483647 h 28"/>
              <a:gd name="T42" fmla="*/ 865610237 w 47"/>
              <a:gd name="T43" fmla="*/ 2147483647 h 28"/>
              <a:gd name="T44" fmla="*/ 86561023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16" name="Freeform 367"/>
          <p:cNvSpPr>
            <a:spLocks/>
          </p:cNvSpPr>
          <p:nvPr>
            <p:custDataLst>
              <p:tags r:id="rId267"/>
            </p:custDataLst>
          </p:nvPr>
        </p:nvSpPr>
        <p:spPr bwMode="auto">
          <a:xfrm>
            <a:off x="7103538" y="4367213"/>
            <a:ext cx="31751" cy="57150"/>
          </a:xfrm>
          <a:custGeom>
            <a:avLst/>
            <a:gdLst>
              <a:gd name="T0" fmla="*/ 1179135401 w 53"/>
              <a:gd name="T1" fmla="*/ 0 h 33"/>
              <a:gd name="T2" fmla="*/ 2147483647 w 53"/>
              <a:gd name="T3" fmla="*/ 2147483647 h 33"/>
              <a:gd name="T4" fmla="*/ 2147483647 w 53"/>
              <a:gd name="T5" fmla="*/ 2147483647 h 33"/>
              <a:gd name="T6" fmla="*/ 2147483647 w 53"/>
              <a:gd name="T7" fmla="*/ 2147483647 h 33"/>
              <a:gd name="T8" fmla="*/ 2147483647 w 53"/>
              <a:gd name="T9" fmla="*/ 2147483647 h 33"/>
              <a:gd name="T10" fmla="*/ 2147483647 w 53"/>
              <a:gd name="T11" fmla="*/ 2147483647 h 33"/>
              <a:gd name="T12" fmla="*/ 2147483647 w 53"/>
              <a:gd name="T13" fmla="*/ 2147483647 h 33"/>
              <a:gd name="T14" fmla="*/ 2147483647 w 53"/>
              <a:gd name="T15" fmla="*/ 2147483647 h 33"/>
              <a:gd name="T16" fmla="*/ 2147483647 w 53"/>
              <a:gd name="T17" fmla="*/ 2147483647 h 33"/>
              <a:gd name="T18" fmla="*/ 2147483647 w 53"/>
              <a:gd name="T19" fmla="*/ 2147483647 h 33"/>
              <a:gd name="T20" fmla="*/ 2147483647 w 53"/>
              <a:gd name="T21" fmla="*/ 2147483647 h 33"/>
              <a:gd name="T22" fmla="*/ 2147483647 w 53"/>
              <a:gd name="T23" fmla="*/ 2147483647 h 33"/>
              <a:gd name="T24" fmla="*/ 2147483647 w 53"/>
              <a:gd name="T25" fmla="*/ 2147483647 h 33"/>
              <a:gd name="T26" fmla="*/ 2147483647 w 53"/>
              <a:gd name="T27" fmla="*/ 2147483647 h 33"/>
              <a:gd name="T28" fmla="*/ 2147483647 w 53"/>
              <a:gd name="T29" fmla="*/ 2147483647 h 33"/>
              <a:gd name="T30" fmla="*/ 1814023047 w 53"/>
              <a:gd name="T31" fmla="*/ 2147483647 h 33"/>
              <a:gd name="T32" fmla="*/ 0 w 53"/>
              <a:gd name="T33" fmla="*/ 2147483647 h 33"/>
              <a:gd name="T34" fmla="*/ 0 w 53"/>
              <a:gd name="T35" fmla="*/ 2147483647 h 33"/>
              <a:gd name="T36" fmla="*/ 181482921 w 53"/>
              <a:gd name="T37" fmla="*/ 2147483647 h 33"/>
              <a:gd name="T38" fmla="*/ 362764105 w 53"/>
              <a:gd name="T39" fmla="*/ 2147483647 h 33"/>
              <a:gd name="T40" fmla="*/ 634887870 w 53"/>
              <a:gd name="T41" fmla="*/ 2147483647 h 33"/>
              <a:gd name="T42" fmla="*/ 816371184 w 53"/>
              <a:gd name="T43" fmla="*/ 2147483647 h 33"/>
              <a:gd name="T44" fmla="*/ 997652537 w 53"/>
              <a:gd name="T45" fmla="*/ 2147483647 h 33"/>
              <a:gd name="T46" fmla="*/ 1088495062 w 53"/>
              <a:gd name="T47" fmla="*/ 2147483647 h 33"/>
              <a:gd name="T48" fmla="*/ 117913540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3"/>
              <a:gd name="T76" fmla="*/ 0 h 33"/>
              <a:gd name="T77" fmla="*/ 53 w 53"/>
              <a:gd name="T78" fmla="*/ 33 h 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317" name="Group 368"/>
          <p:cNvGrpSpPr>
            <a:grpSpLocks/>
          </p:cNvGrpSpPr>
          <p:nvPr>
            <p:custDataLst>
              <p:tags r:id="rId268"/>
            </p:custDataLst>
          </p:nvPr>
        </p:nvGrpSpPr>
        <p:grpSpPr bwMode="auto">
          <a:xfrm>
            <a:off x="6891871" y="3859217"/>
            <a:ext cx="224367" cy="103187"/>
            <a:chOff x="3481" y="2773"/>
            <a:chExt cx="125" cy="65"/>
          </a:xfrm>
          <a:solidFill>
            <a:schemeClr val="accent5">
              <a:lumMod val="75000"/>
            </a:schemeClr>
          </a:solidFill>
        </p:grpSpPr>
        <p:sp>
          <p:nvSpPr>
            <p:cNvPr id="2490" name="Freeform 369"/>
            <p:cNvSpPr>
              <a:spLocks/>
            </p:cNvSpPr>
            <p:nvPr/>
          </p:nvSpPr>
          <p:spPr bwMode="auto">
            <a:xfrm>
              <a:off x="3583" y="2798"/>
              <a:ext cx="5" cy="6"/>
            </a:xfrm>
            <a:custGeom>
              <a:avLst/>
              <a:gdLst>
                <a:gd name="T0" fmla="*/ 1 w 13"/>
                <a:gd name="T1" fmla="*/ 0 h 18"/>
                <a:gd name="T2" fmla="*/ 1 w 13"/>
                <a:gd name="T3" fmla="*/ 0 h 18"/>
                <a:gd name="T4" fmla="*/ 0 w 13"/>
                <a:gd name="T5" fmla="*/ 1 h 18"/>
                <a:gd name="T6" fmla="*/ 0 w 13"/>
                <a:gd name="T7" fmla="*/ 1 h 18"/>
                <a:gd name="T8" fmla="*/ 0 w 13"/>
                <a:gd name="T9" fmla="*/ 1 h 18"/>
                <a:gd name="T10" fmla="*/ 0 w 13"/>
                <a:gd name="T11" fmla="*/ 0 h 18"/>
                <a:gd name="T12" fmla="*/ 0 w 13"/>
                <a:gd name="T13" fmla="*/ 0 h 18"/>
                <a:gd name="T14" fmla="*/ 0 60000 65536"/>
                <a:gd name="T15" fmla="*/ 0 60000 65536"/>
                <a:gd name="T16" fmla="*/ 0 60000 65536"/>
                <a:gd name="T17" fmla="*/ 0 60000 65536"/>
                <a:gd name="T18" fmla="*/ 0 60000 65536"/>
                <a:gd name="T19" fmla="*/ 0 60000 65536"/>
                <a:gd name="T20" fmla="*/ 0 60000 65536"/>
                <a:gd name="T21" fmla="*/ 0 w 13"/>
                <a:gd name="T22" fmla="*/ 0 h 18"/>
                <a:gd name="T23" fmla="*/ 13 w 13"/>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8">
                  <a:moveTo>
                    <a:pt x="13" y="0"/>
                  </a:moveTo>
                  <a:lnTo>
                    <a:pt x="10" y="9"/>
                  </a:lnTo>
                  <a:lnTo>
                    <a:pt x="6" y="18"/>
                  </a:lnTo>
                  <a:lnTo>
                    <a:pt x="5" y="17"/>
                  </a:lnTo>
                  <a:lnTo>
                    <a:pt x="3" y="14"/>
                  </a:lnTo>
                  <a:lnTo>
                    <a:pt x="1" y="10"/>
                  </a:lnTo>
                  <a:lnTo>
                    <a:pt x="0" y="6"/>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91" name="Line 370"/>
            <p:cNvSpPr>
              <a:spLocks noChangeShapeType="1"/>
            </p:cNvSpPr>
            <p:nvPr/>
          </p:nvSpPr>
          <p:spPr bwMode="auto">
            <a:xfrm>
              <a:off x="3583" y="2800"/>
              <a:ext cx="2" cy="1"/>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92" name="Freeform 371"/>
            <p:cNvSpPr>
              <a:spLocks/>
            </p:cNvSpPr>
            <p:nvPr/>
          </p:nvSpPr>
          <p:spPr bwMode="auto">
            <a:xfrm>
              <a:off x="3554" y="2819"/>
              <a:ext cx="5" cy="6"/>
            </a:xfrm>
            <a:custGeom>
              <a:avLst/>
              <a:gdLst>
                <a:gd name="T0" fmla="*/ 1 w 14"/>
                <a:gd name="T1" fmla="*/ 1 h 19"/>
                <a:gd name="T2" fmla="*/ 0 w 14"/>
                <a:gd name="T3" fmla="*/ 0 h 19"/>
                <a:gd name="T4" fmla="*/ 1 w 14"/>
                <a:gd name="T5" fmla="*/ 1 h 19"/>
                <a:gd name="T6" fmla="*/ 0 60000 65536"/>
                <a:gd name="T7" fmla="*/ 0 60000 65536"/>
                <a:gd name="T8" fmla="*/ 0 60000 65536"/>
                <a:gd name="T9" fmla="*/ 0 w 14"/>
                <a:gd name="T10" fmla="*/ 0 h 19"/>
                <a:gd name="T11" fmla="*/ 14 w 14"/>
                <a:gd name="T12" fmla="*/ 19 h 19"/>
              </a:gdLst>
              <a:ahLst/>
              <a:cxnLst>
                <a:cxn ang="T6">
                  <a:pos x="T0" y="T1"/>
                </a:cxn>
                <a:cxn ang="T7">
                  <a:pos x="T2" y="T3"/>
                </a:cxn>
                <a:cxn ang="T8">
                  <a:pos x="T4" y="T5"/>
                </a:cxn>
              </a:cxnLst>
              <a:rect l="T9" t="T10" r="T11" b="T12"/>
              <a:pathLst>
                <a:path w="14" h="19">
                  <a:moveTo>
                    <a:pt x="14" y="19"/>
                  </a:moveTo>
                  <a:lnTo>
                    <a:pt x="0" y="0"/>
                  </a:lnTo>
                  <a:lnTo>
                    <a:pt x="14" y="19"/>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93" name="Freeform 372"/>
            <p:cNvSpPr>
              <a:spLocks/>
            </p:cNvSpPr>
            <p:nvPr/>
          </p:nvSpPr>
          <p:spPr bwMode="auto">
            <a:xfrm>
              <a:off x="3528" y="2832"/>
              <a:ext cx="2" cy="6"/>
            </a:xfrm>
            <a:custGeom>
              <a:avLst/>
              <a:gdLst>
                <a:gd name="T0" fmla="*/ 0 w 7"/>
                <a:gd name="T1" fmla="*/ 0 h 18"/>
                <a:gd name="T2" fmla="*/ 0 w 7"/>
                <a:gd name="T3" fmla="*/ 1 h 18"/>
                <a:gd name="T4" fmla="*/ 0 w 7"/>
                <a:gd name="T5" fmla="*/ 1 h 18"/>
                <a:gd name="T6" fmla="*/ 0 w 7"/>
                <a:gd name="T7" fmla="*/ 0 h 18"/>
                <a:gd name="T8" fmla="*/ 0 w 7"/>
                <a:gd name="T9" fmla="*/ 0 h 18"/>
                <a:gd name="T10" fmla="*/ 0 60000 65536"/>
                <a:gd name="T11" fmla="*/ 0 60000 65536"/>
                <a:gd name="T12" fmla="*/ 0 60000 65536"/>
                <a:gd name="T13" fmla="*/ 0 60000 65536"/>
                <a:gd name="T14" fmla="*/ 0 60000 65536"/>
                <a:gd name="T15" fmla="*/ 0 w 7"/>
                <a:gd name="T16" fmla="*/ 0 h 18"/>
                <a:gd name="T17" fmla="*/ 7 w 7"/>
                <a:gd name="T18" fmla="*/ 18 h 18"/>
              </a:gdLst>
              <a:ahLst/>
              <a:cxnLst>
                <a:cxn ang="T10">
                  <a:pos x="T0" y="T1"/>
                </a:cxn>
                <a:cxn ang="T11">
                  <a:pos x="T2" y="T3"/>
                </a:cxn>
                <a:cxn ang="T12">
                  <a:pos x="T4" y="T5"/>
                </a:cxn>
                <a:cxn ang="T13">
                  <a:pos x="T6" y="T7"/>
                </a:cxn>
                <a:cxn ang="T14">
                  <a:pos x="T8" y="T9"/>
                </a:cxn>
              </a:cxnLst>
              <a:rect l="T15" t="T16" r="T17" b="T18"/>
              <a:pathLst>
                <a:path w="7" h="18">
                  <a:moveTo>
                    <a:pt x="0" y="6"/>
                  </a:moveTo>
                  <a:lnTo>
                    <a:pt x="7" y="18"/>
                  </a:lnTo>
                  <a:lnTo>
                    <a:pt x="0" y="18"/>
                  </a:lnTo>
                  <a:lnTo>
                    <a:pt x="0" y="0"/>
                  </a:lnTo>
                  <a:lnTo>
                    <a:pt x="7"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94" name="Freeform 373"/>
            <p:cNvSpPr>
              <a:spLocks/>
            </p:cNvSpPr>
            <p:nvPr/>
          </p:nvSpPr>
          <p:spPr bwMode="auto">
            <a:xfrm>
              <a:off x="3599" y="2773"/>
              <a:ext cx="7" cy="4"/>
            </a:xfrm>
            <a:custGeom>
              <a:avLst/>
              <a:gdLst>
                <a:gd name="T0" fmla="*/ 1 w 20"/>
                <a:gd name="T1" fmla="*/ 0 h 12"/>
                <a:gd name="T2" fmla="*/ 0 w 20"/>
                <a:gd name="T3" fmla="*/ 0 h 12"/>
                <a:gd name="T4" fmla="*/ 0 w 20"/>
                <a:gd name="T5" fmla="*/ 0 h 12"/>
                <a:gd name="T6" fmla="*/ 0 w 20"/>
                <a:gd name="T7" fmla="*/ 0 h 12"/>
                <a:gd name="T8" fmla="*/ 0 w 20"/>
                <a:gd name="T9" fmla="*/ 0 h 12"/>
                <a:gd name="T10" fmla="*/ 0 w 20"/>
                <a:gd name="T11" fmla="*/ 0 h 12"/>
                <a:gd name="T12" fmla="*/ 1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10" y="9"/>
                  </a:lnTo>
                  <a:lnTo>
                    <a:pt x="0" y="6"/>
                  </a:lnTo>
                  <a:lnTo>
                    <a:pt x="1" y="5"/>
                  </a:lnTo>
                  <a:lnTo>
                    <a:pt x="3" y="3"/>
                  </a:lnTo>
                  <a:lnTo>
                    <a:pt x="8" y="1"/>
                  </a:lnTo>
                  <a:lnTo>
                    <a:pt x="13"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95" name="Line 374"/>
            <p:cNvSpPr>
              <a:spLocks noChangeShapeType="1"/>
            </p:cNvSpPr>
            <p:nvPr/>
          </p:nvSpPr>
          <p:spPr bwMode="auto">
            <a:xfrm>
              <a:off x="3603" y="2773"/>
              <a:ext cx="1" cy="2"/>
            </a:xfrm>
            <a:prstGeom prst="line">
              <a:avLst/>
            </a:prstGeom>
            <a:grpFill/>
            <a:ln w="9525">
              <a:solidFill>
                <a:srgbClr val="FFFFFF"/>
              </a:solidFill>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96" name="Freeform 375"/>
            <p:cNvSpPr>
              <a:spLocks/>
            </p:cNvSpPr>
            <p:nvPr/>
          </p:nvSpPr>
          <p:spPr bwMode="auto">
            <a:xfrm>
              <a:off x="3481" y="2828"/>
              <a:ext cx="7" cy="6"/>
            </a:xfrm>
            <a:custGeom>
              <a:avLst/>
              <a:gdLst>
                <a:gd name="T0" fmla="*/ 0 w 20"/>
                <a:gd name="T1" fmla="*/ 0 h 18"/>
                <a:gd name="T2" fmla="*/ 0 w 20"/>
                <a:gd name="T3" fmla="*/ 1 h 18"/>
                <a:gd name="T4" fmla="*/ 1 w 20"/>
                <a:gd name="T5" fmla="*/ 1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0" y="0"/>
                  </a:moveTo>
                  <a:lnTo>
                    <a:pt x="0" y="18"/>
                  </a:lnTo>
                  <a:lnTo>
                    <a:pt x="20" y="18"/>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97" name="Freeform 376"/>
            <p:cNvSpPr>
              <a:spLocks/>
            </p:cNvSpPr>
            <p:nvPr/>
          </p:nvSpPr>
          <p:spPr bwMode="auto">
            <a:xfrm>
              <a:off x="3485" y="2830"/>
              <a:ext cx="3" cy="4"/>
            </a:xfrm>
            <a:custGeom>
              <a:avLst/>
              <a:gdLst>
                <a:gd name="T0" fmla="*/ 0 w 7"/>
                <a:gd name="T1" fmla="*/ 0 h 12"/>
                <a:gd name="T2" fmla="*/ 0 w 7"/>
                <a:gd name="T3" fmla="*/ 0 h 12"/>
                <a:gd name="T4" fmla="*/ 0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7" y="12"/>
                  </a:moveTo>
                  <a:lnTo>
                    <a:pt x="4" y="6"/>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98" name="Freeform 377"/>
            <p:cNvSpPr>
              <a:spLocks/>
            </p:cNvSpPr>
            <p:nvPr/>
          </p:nvSpPr>
          <p:spPr bwMode="auto">
            <a:xfrm>
              <a:off x="3481" y="2828"/>
              <a:ext cx="7" cy="6"/>
            </a:xfrm>
            <a:custGeom>
              <a:avLst/>
              <a:gdLst>
                <a:gd name="T0" fmla="*/ 0 w 20"/>
                <a:gd name="T1" fmla="*/ 0 h 18"/>
                <a:gd name="T2" fmla="*/ 0 w 20"/>
                <a:gd name="T3" fmla="*/ 1 h 18"/>
                <a:gd name="T4" fmla="*/ 1 w 20"/>
                <a:gd name="T5" fmla="*/ 1 h 18"/>
                <a:gd name="T6" fmla="*/ 1 w 20"/>
                <a:gd name="T7" fmla="*/ 0 h 18"/>
                <a:gd name="T8" fmla="*/ 1 w 20"/>
                <a:gd name="T9" fmla="*/ 0 h 18"/>
                <a:gd name="T10" fmla="*/ 0 w 20"/>
                <a:gd name="T11" fmla="*/ 0 h 18"/>
                <a:gd name="T12" fmla="*/ 0 60000 65536"/>
                <a:gd name="T13" fmla="*/ 0 60000 65536"/>
                <a:gd name="T14" fmla="*/ 0 60000 65536"/>
                <a:gd name="T15" fmla="*/ 0 60000 65536"/>
                <a:gd name="T16" fmla="*/ 0 60000 65536"/>
                <a:gd name="T17" fmla="*/ 0 60000 65536"/>
                <a:gd name="T18" fmla="*/ 0 w 20"/>
                <a:gd name="T19" fmla="*/ 0 h 18"/>
                <a:gd name="T20" fmla="*/ 20 w 2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20" h="18">
                  <a:moveTo>
                    <a:pt x="0" y="0"/>
                  </a:moveTo>
                  <a:lnTo>
                    <a:pt x="0" y="18"/>
                  </a:lnTo>
                  <a:lnTo>
                    <a:pt x="20" y="18"/>
                  </a:lnTo>
                  <a:lnTo>
                    <a:pt x="17" y="12"/>
                  </a:lnTo>
                  <a:lnTo>
                    <a:pt x="13" y="6"/>
                  </a:lnTo>
                  <a:lnTo>
                    <a:pt x="0"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99" name="Freeform 378"/>
            <p:cNvSpPr>
              <a:spLocks/>
            </p:cNvSpPr>
            <p:nvPr/>
          </p:nvSpPr>
          <p:spPr bwMode="auto">
            <a:xfrm>
              <a:off x="3528" y="2832"/>
              <a:ext cx="2" cy="6"/>
            </a:xfrm>
            <a:custGeom>
              <a:avLst/>
              <a:gdLst>
                <a:gd name="T0" fmla="*/ 0 w 7"/>
                <a:gd name="T1" fmla="*/ 0 h 18"/>
                <a:gd name="T2" fmla="*/ 0 w 7"/>
                <a:gd name="T3" fmla="*/ 1 h 18"/>
                <a:gd name="T4" fmla="*/ 0 w 7"/>
                <a:gd name="T5" fmla="*/ 1 h 18"/>
                <a:gd name="T6" fmla="*/ 0 w 7"/>
                <a:gd name="T7" fmla="*/ 0 h 18"/>
                <a:gd name="T8" fmla="*/ 0 w 7"/>
                <a:gd name="T9" fmla="*/ 0 h 18"/>
                <a:gd name="T10" fmla="*/ 0 w 7"/>
                <a:gd name="T11" fmla="*/ 0 h 18"/>
                <a:gd name="T12" fmla="*/ 0 60000 65536"/>
                <a:gd name="T13" fmla="*/ 0 60000 65536"/>
                <a:gd name="T14" fmla="*/ 0 60000 65536"/>
                <a:gd name="T15" fmla="*/ 0 60000 65536"/>
                <a:gd name="T16" fmla="*/ 0 60000 65536"/>
                <a:gd name="T17" fmla="*/ 0 60000 65536"/>
                <a:gd name="T18" fmla="*/ 0 w 7"/>
                <a:gd name="T19" fmla="*/ 0 h 18"/>
                <a:gd name="T20" fmla="*/ 7 w 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7" h="18">
                  <a:moveTo>
                    <a:pt x="0" y="6"/>
                  </a:moveTo>
                  <a:lnTo>
                    <a:pt x="7" y="18"/>
                  </a:lnTo>
                  <a:lnTo>
                    <a:pt x="0" y="18"/>
                  </a:lnTo>
                  <a:lnTo>
                    <a:pt x="0" y="0"/>
                  </a:lnTo>
                  <a:lnTo>
                    <a:pt x="7" y="0"/>
                  </a:lnTo>
                  <a:lnTo>
                    <a:pt x="0" y="6"/>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500" name="Freeform 379"/>
            <p:cNvSpPr>
              <a:spLocks/>
            </p:cNvSpPr>
            <p:nvPr/>
          </p:nvSpPr>
          <p:spPr bwMode="auto">
            <a:xfrm>
              <a:off x="3583" y="2798"/>
              <a:ext cx="5" cy="6"/>
            </a:xfrm>
            <a:custGeom>
              <a:avLst/>
              <a:gdLst>
                <a:gd name="T0" fmla="*/ 1 w 13"/>
                <a:gd name="T1" fmla="*/ 0 h 18"/>
                <a:gd name="T2" fmla="*/ 1 w 13"/>
                <a:gd name="T3" fmla="*/ 0 h 18"/>
                <a:gd name="T4" fmla="*/ 0 w 13"/>
                <a:gd name="T5" fmla="*/ 1 h 18"/>
                <a:gd name="T6" fmla="*/ 0 w 13"/>
                <a:gd name="T7" fmla="*/ 1 h 18"/>
                <a:gd name="T8" fmla="*/ 0 w 13"/>
                <a:gd name="T9" fmla="*/ 1 h 18"/>
                <a:gd name="T10" fmla="*/ 0 w 13"/>
                <a:gd name="T11" fmla="*/ 0 h 18"/>
                <a:gd name="T12" fmla="*/ 0 w 13"/>
                <a:gd name="T13" fmla="*/ 0 h 18"/>
                <a:gd name="T14" fmla="*/ 0 w 13"/>
                <a:gd name="T15" fmla="*/ 0 h 18"/>
                <a:gd name="T16" fmla="*/ 1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
                <a:gd name="T28" fmla="*/ 0 h 18"/>
                <a:gd name="T29" fmla="*/ 13 w 13"/>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318" name="Freeform 380"/>
          <p:cNvSpPr>
            <a:spLocks/>
          </p:cNvSpPr>
          <p:nvPr>
            <p:custDataLst>
              <p:tags r:id="rId269"/>
            </p:custDataLst>
          </p:nvPr>
        </p:nvSpPr>
        <p:spPr bwMode="auto">
          <a:xfrm>
            <a:off x="5729822" y="3851279"/>
            <a:ext cx="425449" cy="379413"/>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037283978 w 736"/>
              <a:gd name="T95" fmla="*/ 2147483647 h 721"/>
              <a:gd name="T96" fmla="*/ 896375131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19" name="Freeform 381"/>
          <p:cNvSpPr>
            <a:spLocks/>
          </p:cNvSpPr>
          <p:nvPr>
            <p:custDataLst>
              <p:tags r:id="rId270"/>
            </p:custDataLst>
          </p:nvPr>
        </p:nvSpPr>
        <p:spPr bwMode="auto">
          <a:xfrm>
            <a:off x="5744638" y="3824288"/>
            <a:ext cx="21167" cy="60325"/>
          </a:xfrm>
          <a:custGeom>
            <a:avLst/>
            <a:gdLst>
              <a:gd name="T0" fmla="*/ 0 w 39"/>
              <a:gd name="T1" fmla="*/ 2147483647 h 31"/>
              <a:gd name="T2" fmla="*/ 809399380 w 39"/>
              <a:gd name="T3" fmla="*/ 2147483647 h 31"/>
              <a:gd name="T4" fmla="*/ 1483760365 w 39"/>
              <a:gd name="T5" fmla="*/ 2147483647 h 31"/>
              <a:gd name="T6" fmla="*/ 1753505410 w 39"/>
              <a:gd name="T7" fmla="*/ 2147483647 h 31"/>
              <a:gd name="T8" fmla="*/ 2023414497 w 39"/>
              <a:gd name="T9" fmla="*/ 2147483647 h 31"/>
              <a:gd name="T10" fmla="*/ 2147483647 w 39"/>
              <a:gd name="T11" fmla="*/ 2147483647 h 31"/>
              <a:gd name="T12" fmla="*/ 2147483647 w 39"/>
              <a:gd name="T13" fmla="*/ 2147483647 h 31"/>
              <a:gd name="T14" fmla="*/ 2147483647 w 39"/>
              <a:gd name="T15" fmla="*/ 0 h 31"/>
              <a:gd name="T16" fmla="*/ 1753505410 w 39"/>
              <a:gd name="T17" fmla="*/ 0 h 31"/>
              <a:gd name="T18" fmla="*/ 1146579567 w 39"/>
              <a:gd name="T19" fmla="*/ 0 h 31"/>
              <a:gd name="T20" fmla="*/ 539489073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20" name="Freeform 382"/>
          <p:cNvSpPr>
            <a:spLocks/>
          </p:cNvSpPr>
          <p:nvPr>
            <p:custDataLst>
              <p:tags r:id="rId271"/>
            </p:custDataLst>
          </p:nvPr>
        </p:nvSpPr>
        <p:spPr bwMode="auto">
          <a:xfrm>
            <a:off x="5880104" y="4367213"/>
            <a:ext cx="529167" cy="398462"/>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1867726648 w 903"/>
              <a:gd name="T49" fmla="*/ 2147483647 h 759"/>
              <a:gd name="T50" fmla="*/ 1018760269 w 903"/>
              <a:gd name="T51" fmla="*/ 2147483647 h 759"/>
              <a:gd name="T52" fmla="*/ 848967038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1591630485 h 759"/>
              <a:gd name="T110" fmla="*/ 2147483647 w 903"/>
              <a:gd name="T111" fmla="*/ 434081030 h 759"/>
              <a:gd name="T112" fmla="*/ 2147483647 w 903"/>
              <a:gd name="T113" fmla="*/ 868162059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21" name="Freeform 383"/>
          <p:cNvSpPr>
            <a:spLocks/>
          </p:cNvSpPr>
          <p:nvPr>
            <p:custDataLst>
              <p:tags r:id="rId272"/>
            </p:custDataLst>
          </p:nvPr>
        </p:nvSpPr>
        <p:spPr bwMode="auto">
          <a:xfrm>
            <a:off x="6076951" y="2935295"/>
            <a:ext cx="548216" cy="611187"/>
          </a:xfrm>
          <a:custGeom>
            <a:avLst/>
            <a:gdLst>
              <a:gd name="T0" fmla="*/ 2147483647 w 943"/>
              <a:gd name="T1" fmla="*/ 708980014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331550072 w 943"/>
              <a:gd name="T85" fmla="*/ 2147483647 h 1172"/>
              <a:gd name="T86" fmla="*/ 1491974835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322" name="Group 384"/>
          <p:cNvGrpSpPr>
            <a:grpSpLocks/>
          </p:cNvGrpSpPr>
          <p:nvPr>
            <p:custDataLst>
              <p:tags r:id="rId273"/>
            </p:custDataLst>
          </p:nvPr>
        </p:nvGrpSpPr>
        <p:grpSpPr bwMode="auto">
          <a:xfrm>
            <a:off x="4455584" y="3136900"/>
            <a:ext cx="107949" cy="82550"/>
            <a:chOff x="2352" y="2343"/>
            <a:chExt cx="65" cy="53"/>
          </a:xfrm>
          <a:solidFill>
            <a:schemeClr val="accent5">
              <a:lumMod val="75000"/>
            </a:schemeClr>
          </a:solidFill>
        </p:grpSpPr>
        <p:sp>
          <p:nvSpPr>
            <p:cNvPr id="2484" name="Freeform 385"/>
            <p:cNvSpPr>
              <a:spLocks/>
            </p:cNvSpPr>
            <p:nvPr/>
          </p:nvSpPr>
          <p:spPr bwMode="auto">
            <a:xfrm>
              <a:off x="2352" y="2343"/>
              <a:ext cx="16" cy="11"/>
            </a:xfrm>
            <a:custGeom>
              <a:avLst/>
              <a:gdLst>
                <a:gd name="T0" fmla="*/ 1 w 51"/>
                <a:gd name="T1" fmla="*/ 0 h 33"/>
                <a:gd name="T2" fmla="*/ 0 w 51"/>
                <a:gd name="T3" fmla="*/ 0 h 33"/>
                <a:gd name="T4" fmla="*/ 0 w 51"/>
                <a:gd name="T5" fmla="*/ 1 h 33"/>
                <a:gd name="T6" fmla="*/ 0 w 51"/>
                <a:gd name="T7" fmla="*/ 1 h 33"/>
                <a:gd name="T8" fmla="*/ 1 w 51"/>
                <a:gd name="T9" fmla="*/ 1 h 33"/>
                <a:gd name="T10" fmla="*/ 2 w 51"/>
                <a:gd name="T11" fmla="*/ 1 h 33"/>
                <a:gd name="T12" fmla="*/ 2 w 51"/>
                <a:gd name="T13" fmla="*/ 0 h 33"/>
                <a:gd name="T14" fmla="*/ 1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51"/>
                <a:gd name="T25" fmla="*/ 0 h 33"/>
                <a:gd name="T26" fmla="*/ 51 w 51"/>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1" h="33">
                  <a:moveTo>
                    <a:pt x="46" y="0"/>
                  </a:moveTo>
                  <a:lnTo>
                    <a:pt x="0" y="5"/>
                  </a:lnTo>
                  <a:lnTo>
                    <a:pt x="4" y="28"/>
                  </a:lnTo>
                  <a:lnTo>
                    <a:pt x="10" y="33"/>
                  </a:lnTo>
                  <a:lnTo>
                    <a:pt x="35" y="25"/>
                  </a:lnTo>
                  <a:lnTo>
                    <a:pt x="48" y="15"/>
                  </a:lnTo>
                  <a:lnTo>
                    <a:pt x="51" y="8"/>
                  </a:lnTo>
                  <a:lnTo>
                    <a:pt x="46"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85" name="Freeform 386"/>
            <p:cNvSpPr>
              <a:spLocks/>
            </p:cNvSpPr>
            <p:nvPr/>
          </p:nvSpPr>
          <p:spPr bwMode="auto">
            <a:xfrm>
              <a:off x="2372" y="2354"/>
              <a:ext cx="20" cy="7"/>
            </a:xfrm>
            <a:custGeom>
              <a:avLst/>
              <a:gdLst>
                <a:gd name="T0" fmla="*/ 2 w 61"/>
                <a:gd name="T1" fmla="*/ 0 h 20"/>
                <a:gd name="T2" fmla="*/ 2 w 61"/>
                <a:gd name="T3" fmla="*/ 0 h 20"/>
                <a:gd name="T4" fmla="*/ 0 w 61"/>
                <a:gd name="T5" fmla="*/ 0 h 20"/>
                <a:gd name="T6" fmla="*/ 0 w 61"/>
                <a:gd name="T7" fmla="*/ 1 h 20"/>
                <a:gd name="T8" fmla="*/ 0 w 61"/>
                <a:gd name="T9" fmla="*/ 1 h 20"/>
                <a:gd name="T10" fmla="*/ 1 w 61"/>
                <a:gd name="T11" fmla="*/ 1 h 20"/>
                <a:gd name="T12" fmla="*/ 2 w 61"/>
                <a:gd name="T13" fmla="*/ 0 h 20"/>
                <a:gd name="T14" fmla="*/ 0 60000 65536"/>
                <a:gd name="T15" fmla="*/ 0 60000 65536"/>
                <a:gd name="T16" fmla="*/ 0 60000 65536"/>
                <a:gd name="T17" fmla="*/ 0 60000 65536"/>
                <a:gd name="T18" fmla="*/ 0 60000 65536"/>
                <a:gd name="T19" fmla="*/ 0 60000 65536"/>
                <a:gd name="T20" fmla="*/ 0 60000 65536"/>
                <a:gd name="T21" fmla="*/ 0 w 61"/>
                <a:gd name="T22" fmla="*/ 0 h 20"/>
                <a:gd name="T23" fmla="*/ 61 w 61"/>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1" h="20">
                  <a:moveTo>
                    <a:pt x="61" y="6"/>
                  </a:moveTo>
                  <a:lnTo>
                    <a:pt x="53" y="2"/>
                  </a:lnTo>
                  <a:lnTo>
                    <a:pt x="0" y="0"/>
                  </a:lnTo>
                  <a:lnTo>
                    <a:pt x="2" y="14"/>
                  </a:lnTo>
                  <a:lnTo>
                    <a:pt x="7" y="20"/>
                  </a:lnTo>
                  <a:lnTo>
                    <a:pt x="18" y="13"/>
                  </a:lnTo>
                  <a:lnTo>
                    <a:pt x="61" y="6"/>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86" name="Freeform 387"/>
            <p:cNvSpPr>
              <a:spLocks/>
            </p:cNvSpPr>
            <p:nvPr/>
          </p:nvSpPr>
          <p:spPr bwMode="auto">
            <a:xfrm>
              <a:off x="2407" y="2346"/>
              <a:ext cx="5" cy="12"/>
            </a:xfrm>
            <a:custGeom>
              <a:avLst/>
              <a:gdLst>
                <a:gd name="T0" fmla="*/ 0 w 15"/>
                <a:gd name="T1" fmla="*/ 0 h 36"/>
                <a:gd name="T2" fmla="*/ 0 w 15"/>
                <a:gd name="T3" fmla="*/ 1 h 36"/>
                <a:gd name="T4" fmla="*/ 0 w 15"/>
                <a:gd name="T5" fmla="*/ 1 h 36"/>
                <a:gd name="T6" fmla="*/ 0 w 15"/>
                <a:gd name="T7" fmla="*/ 1 h 36"/>
                <a:gd name="T8" fmla="*/ 1 w 15"/>
                <a:gd name="T9" fmla="*/ 1 h 36"/>
                <a:gd name="T10" fmla="*/ 0 w 15"/>
                <a:gd name="T11" fmla="*/ 0 h 36"/>
                <a:gd name="T12" fmla="*/ 0 60000 65536"/>
                <a:gd name="T13" fmla="*/ 0 60000 65536"/>
                <a:gd name="T14" fmla="*/ 0 60000 65536"/>
                <a:gd name="T15" fmla="*/ 0 60000 65536"/>
                <a:gd name="T16" fmla="*/ 0 60000 65536"/>
                <a:gd name="T17" fmla="*/ 0 60000 65536"/>
                <a:gd name="T18" fmla="*/ 0 w 15"/>
                <a:gd name="T19" fmla="*/ 0 h 36"/>
                <a:gd name="T20" fmla="*/ 15 w 15"/>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15" h="36">
                  <a:moveTo>
                    <a:pt x="2" y="0"/>
                  </a:moveTo>
                  <a:lnTo>
                    <a:pt x="0" y="20"/>
                  </a:lnTo>
                  <a:lnTo>
                    <a:pt x="0" y="36"/>
                  </a:lnTo>
                  <a:lnTo>
                    <a:pt x="11" y="35"/>
                  </a:lnTo>
                  <a:lnTo>
                    <a:pt x="15" y="14"/>
                  </a:lnTo>
                  <a:lnTo>
                    <a:pt x="2"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87" name="Freeform 388"/>
            <p:cNvSpPr>
              <a:spLocks/>
            </p:cNvSpPr>
            <p:nvPr/>
          </p:nvSpPr>
          <p:spPr bwMode="auto">
            <a:xfrm>
              <a:off x="2406" y="2361"/>
              <a:ext cx="11" cy="11"/>
            </a:xfrm>
            <a:custGeom>
              <a:avLst/>
              <a:gdLst>
                <a:gd name="T0" fmla="*/ 0 w 37"/>
                <a:gd name="T1" fmla="*/ 0 h 33"/>
                <a:gd name="T2" fmla="*/ 1 w 37"/>
                <a:gd name="T3" fmla="*/ 0 h 33"/>
                <a:gd name="T4" fmla="*/ 1 w 37"/>
                <a:gd name="T5" fmla="*/ 0 h 33"/>
                <a:gd name="T6" fmla="*/ 1 w 37"/>
                <a:gd name="T7" fmla="*/ 1 h 33"/>
                <a:gd name="T8" fmla="*/ 1 w 37"/>
                <a:gd name="T9" fmla="*/ 1 h 33"/>
                <a:gd name="T10" fmla="*/ 0 w 37"/>
                <a:gd name="T11" fmla="*/ 1 h 33"/>
                <a:gd name="T12" fmla="*/ 0 w 37"/>
                <a:gd name="T13" fmla="*/ 1 h 33"/>
                <a:gd name="T14" fmla="*/ 0 w 37"/>
                <a:gd name="T15" fmla="*/ 1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7"/>
                <a:gd name="T28" fmla="*/ 0 h 33"/>
                <a:gd name="T29" fmla="*/ 37 w 37"/>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7" h="33">
                  <a:moveTo>
                    <a:pt x="4" y="4"/>
                  </a:moveTo>
                  <a:lnTo>
                    <a:pt x="22" y="0"/>
                  </a:lnTo>
                  <a:lnTo>
                    <a:pt x="35" y="6"/>
                  </a:lnTo>
                  <a:lnTo>
                    <a:pt x="37" y="22"/>
                  </a:lnTo>
                  <a:lnTo>
                    <a:pt x="24" y="33"/>
                  </a:lnTo>
                  <a:lnTo>
                    <a:pt x="11" y="33"/>
                  </a:lnTo>
                  <a:lnTo>
                    <a:pt x="2" y="24"/>
                  </a:lnTo>
                  <a:lnTo>
                    <a:pt x="0" y="16"/>
                  </a:lnTo>
                  <a:lnTo>
                    <a:pt x="4" y="4"/>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88" name="Freeform 389"/>
            <p:cNvSpPr>
              <a:spLocks/>
            </p:cNvSpPr>
            <p:nvPr/>
          </p:nvSpPr>
          <p:spPr bwMode="auto">
            <a:xfrm>
              <a:off x="2388" y="2378"/>
              <a:ext cx="16" cy="18"/>
            </a:xfrm>
            <a:custGeom>
              <a:avLst/>
              <a:gdLst>
                <a:gd name="T0" fmla="*/ 0 w 49"/>
                <a:gd name="T1" fmla="*/ 0 h 54"/>
                <a:gd name="T2" fmla="*/ 0 w 49"/>
                <a:gd name="T3" fmla="*/ 0 h 54"/>
                <a:gd name="T4" fmla="*/ 0 w 49"/>
                <a:gd name="T5" fmla="*/ 2 h 54"/>
                <a:gd name="T6" fmla="*/ 1 w 49"/>
                <a:gd name="T7" fmla="*/ 2 h 54"/>
                <a:gd name="T8" fmla="*/ 2 w 49"/>
                <a:gd name="T9" fmla="*/ 2 h 54"/>
                <a:gd name="T10" fmla="*/ 2 w 49"/>
                <a:gd name="T11" fmla="*/ 1 h 54"/>
                <a:gd name="T12" fmla="*/ 1 w 49"/>
                <a:gd name="T13" fmla="*/ 1 h 54"/>
                <a:gd name="T14" fmla="*/ 1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9"/>
                <a:gd name="T28" fmla="*/ 0 h 54"/>
                <a:gd name="T29" fmla="*/ 49 w 49"/>
                <a:gd name="T30" fmla="*/ 54 h 5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9" h="54">
                  <a:moveTo>
                    <a:pt x="2" y="0"/>
                  </a:moveTo>
                  <a:lnTo>
                    <a:pt x="0" y="0"/>
                  </a:lnTo>
                  <a:lnTo>
                    <a:pt x="2" y="50"/>
                  </a:lnTo>
                  <a:lnTo>
                    <a:pt x="18" y="54"/>
                  </a:lnTo>
                  <a:lnTo>
                    <a:pt x="44" y="45"/>
                  </a:lnTo>
                  <a:lnTo>
                    <a:pt x="49" y="31"/>
                  </a:lnTo>
                  <a:lnTo>
                    <a:pt x="40" y="21"/>
                  </a:lnTo>
                  <a:lnTo>
                    <a:pt x="19" y="8"/>
                  </a:lnTo>
                  <a:lnTo>
                    <a:pt x="2"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89" name="Freeform 390"/>
            <p:cNvSpPr>
              <a:spLocks/>
            </p:cNvSpPr>
            <p:nvPr/>
          </p:nvSpPr>
          <p:spPr bwMode="auto">
            <a:xfrm>
              <a:off x="2374" y="2388"/>
              <a:ext cx="9" cy="7"/>
            </a:xfrm>
            <a:custGeom>
              <a:avLst/>
              <a:gdLst>
                <a:gd name="T0" fmla="*/ 1 w 26"/>
                <a:gd name="T1" fmla="*/ 0 h 22"/>
                <a:gd name="T2" fmla="*/ 0 w 26"/>
                <a:gd name="T3" fmla="*/ 0 h 22"/>
                <a:gd name="T4" fmla="*/ 0 w 26"/>
                <a:gd name="T5" fmla="*/ 1 h 22"/>
                <a:gd name="T6" fmla="*/ 0 w 26"/>
                <a:gd name="T7" fmla="*/ 1 h 22"/>
                <a:gd name="T8" fmla="*/ 1 w 26"/>
                <a:gd name="T9" fmla="*/ 1 h 22"/>
                <a:gd name="T10" fmla="*/ 1 w 26"/>
                <a:gd name="T11" fmla="*/ 0 h 22"/>
                <a:gd name="T12" fmla="*/ 1 w 26"/>
                <a:gd name="T13" fmla="*/ 0 h 22"/>
                <a:gd name="T14" fmla="*/ 0 60000 65536"/>
                <a:gd name="T15" fmla="*/ 0 60000 65536"/>
                <a:gd name="T16" fmla="*/ 0 60000 65536"/>
                <a:gd name="T17" fmla="*/ 0 60000 65536"/>
                <a:gd name="T18" fmla="*/ 0 60000 65536"/>
                <a:gd name="T19" fmla="*/ 0 60000 65536"/>
                <a:gd name="T20" fmla="*/ 0 60000 65536"/>
                <a:gd name="T21" fmla="*/ 0 w 26"/>
                <a:gd name="T22" fmla="*/ 0 h 22"/>
                <a:gd name="T23" fmla="*/ 26 w 26"/>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22">
                  <a:moveTo>
                    <a:pt x="18" y="0"/>
                  </a:moveTo>
                  <a:lnTo>
                    <a:pt x="3" y="2"/>
                  </a:lnTo>
                  <a:lnTo>
                    <a:pt x="0" y="15"/>
                  </a:lnTo>
                  <a:lnTo>
                    <a:pt x="6" y="21"/>
                  </a:lnTo>
                  <a:lnTo>
                    <a:pt x="19" y="22"/>
                  </a:lnTo>
                  <a:lnTo>
                    <a:pt x="26" y="11"/>
                  </a:lnTo>
                  <a:lnTo>
                    <a:pt x="18" y="0"/>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grpSp>
        <p:nvGrpSpPr>
          <p:cNvPr id="2323" name="Group 391"/>
          <p:cNvGrpSpPr>
            <a:grpSpLocks/>
          </p:cNvGrpSpPr>
          <p:nvPr>
            <p:custDataLst>
              <p:tags r:id="rId274"/>
            </p:custDataLst>
          </p:nvPr>
        </p:nvGrpSpPr>
        <p:grpSpPr bwMode="auto">
          <a:xfrm>
            <a:off x="1593851" y="1204916"/>
            <a:ext cx="2529416" cy="1133475"/>
            <a:chOff x="527" y="1110"/>
            <a:chExt cx="1410" cy="709"/>
          </a:xfrm>
          <a:solidFill>
            <a:schemeClr val="accent5">
              <a:lumMod val="75000"/>
            </a:schemeClr>
          </a:solidFill>
        </p:grpSpPr>
        <p:sp>
          <p:nvSpPr>
            <p:cNvPr id="2442" name="Freeform 392"/>
            <p:cNvSpPr>
              <a:spLocks/>
            </p:cNvSpPr>
            <p:nvPr/>
          </p:nvSpPr>
          <p:spPr bwMode="auto">
            <a:xfrm>
              <a:off x="1401" y="1427"/>
              <a:ext cx="31" cy="17"/>
            </a:xfrm>
            <a:custGeom>
              <a:avLst/>
              <a:gdLst>
                <a:gd name="T0" fmla="*/ 0 w 98"/>
                <a:gd name="T1" fmla="*/ 1 h 54"/>
                <a:gd name="T2" fmla="*/ 0 w 98"/>
                <a:gd name="T3" fmla="*/ 1 h 54"/>
                <a:gd name="T4" fmla="*/ 0 w 98"/>
                <a:gd name="T5" fmla="*/ 2 h 54"/>
                <a:gd name="T6" fmla="*/ 1 w 98"/>
                <a:gd name="T7" fmla="*/ 2 h 54"/>
                <a:gd name="T8" fmla="*/ 1 w 98"/>
                <a:gd name="T9" fmla="*/ 2 h 54"/>
                <a:gd name="T10" fmla="*/ 1 w 98"/>
                <a:gd name="T11" fmla="*/ 2 h 54"/>
                <a:gd name="T12" fmla="*/ 1 w 98"/>
                <a:gd name="T13" fmla="*/ 2 h 54"/>
                <a:gd name="T14" fmla="*/ 2 w 98"/>
                <a:gd name="T15" fmla="*/ 2 h 54"/>
                <a:gd name="T16" fmla="*/ 2 w 98"/>
                <a:gd name="T17" fmla="*/ 2 h 54"/>
                <a:gd name="T18" fmla="*/ 2 w 98"/>
                <a:gd name="T19" fmla="*/ 1 h 54"/>
                <a:gd name="T20" fmla="*/ 3 w 98"/>
                <a:gd name="T21" fmla="*/ 1 h 54"/>
                <a:gd name="T22" fmla="*/ 3 w 98"/>
                <a:gd name="T23" fmla="*/ 1 h 54"/>
                <a:gd name="T24" fmla="*/ 3 w 98"/>
                <a:gd name="T25" fmla="*/ 1 h 54"/>
                <a:gd name="T26" fmla="*/ 3 w 98"/>
                <a:gd name="T27" fmla="*/ 0 h 54"/>
                <a:gd name="T28" fmla="*/ 3 w 98"/>
                <a:gd name="T29" fmla="*/ 0 h 54"/>
                <a:gd name="T30" fmla="*/ 3 w 98"/>
                <a:gd name="T31" fmla="*/ 0 h 54"/>
                <a:gd name="T32" fmla="*/ 3 w 98"/>
                <a:gd name="T33" fmla="*/ 0 h 54"/>
                <a:gd name="T34" fmla="*/ 3 w 98"/>
                <a:gd name="T35" fmla="*/ 0 h 54"/>
                <a:gd name="T36" fmla="*/ 2 w 98"/>
                <a:gd name="T37" fmla="*/ 0 h 54"/>
                <a:gd name="T38" fmla="*/ 2 w 98"/>
                <a:gd name="T39" fmla="*/ 0 h 54"/>
                <a:gd name="T40" fmla="*/ 2 w 98"/>
                <a:gd name="T41" fmla="*/ 0 h 54"/>
                <a:gd name="T42" fmla="*/ 1 w 98"/>
                <a:gd name="T43" fmla="*/ 0 h 54"/>
                <a:gd name="T44" fmla="*/ 1 w 98"/>
                <a:gd name="T45" fmla="*/ 0 h 54"/>
                <a:gd name="T46" fmla="*/ 1 w 98"/>
                <a:gd name="T47" fmla="*/ 1 h 54"/>
                <a:gd name="T48" fmla="*/ 0 w 98"/>
                <a:gd name="T49" fmla="*/ 1 h 54"/>
                <a:gd name="T50" fmla="*/ 0 w 98"/>
                <a:gd name="T51" fmla="*/ 1 h 54"/>
                <a:gd name="T52" fmla="*/ 0 w 98"/>
                <a:gd name="T53" fmla="*/ 1 h 54"/>
                <a:gd name="T54" fmla="*/ 0 w 98"/>
                <a:gd name="T55" fmla="*/ 1 h 54"/>
                <a:gd name="T56" fmla="*/ 0 w 98"/>
                <a:gd name="T57" fmla="*/ 1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8"/>
                <a:gd name="T88" fmla="*/ 0 h 54"/>
                <a:gd name="T89" fmla="*/ 98 w 98"/>
                <a:gd name="T90" fmla="*/ 54 h 5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43" name="Freeform 393"/>
            <p:cNvSpPr>
              <a:spLocks/>
            </p:cNvSpPr>
            <p:nvPr/>
          </p:nvSpPr>
          <p:spPr bwMode="auto">
            <a:xfrm>
              <a:off x="1387" y="1551"/>
              <a:ext cx="21" cy="8"/>
            </a:xfrm>
            <a:custGeom>
              <a:avLst/>
              <a:gdLst>
                <a:gd name="T0" fmla="*/ 0 w 67"/>
                <a:gd name="T1" fmla="*/ 1 h 28"/>
                <a:gd name="T2" fmla="*/ 0 w 67"/>
                <a:gd name="T3" fmla="*/ 1 h 28"/>
                <a:gd name="T4" fmla="*/ 1 w 67"/>
                <a:gd name="T5" fmla="*/ 1 h 28"/>
                <a:gd name="T6" fmla="*/ 1 w 67"/>
                <a:gd name="T7" fmla="*/ 1 h 28"/>
                <a:gd name="T8" fmla="*/ 1 w 67"/>
                <a:gd name="T9" fmla="*/ 1 h 28"/>
                <a:gd name="T10" fmla="*/ 2 w 67"/>
                <a:gd name="T11" fmla="*/ 0 h 28"/>
                <a:gd name="T12" fmla="*/ 2 w 67"/>
                <a:gd name="T13" fmla="*/ 0 h 28"/>
                <a:gd name="T14" fmla="*/ 2 w 67"/>
                <a:gd name="T15" fmla="*/ 0 h 28"/>
                <a:gd name="T16" fmla="*/ 2 w 67"/>
                <a:gd name="T17" fmla="*/ 0 h 28"/>
                <a:gd name="T18" fmla="*/ 2 w 67"/>
                <a:gd name="T19" fmla="*/ 0 h 28"/>
                <a:gd name="T20" fmla="*/ 1 w 67"/>
                <a:gd name="T21" fmla="*/ 0 h 28"/>
                <a:gd name="T22" fmla="*/ 1 w 67"/>
                <a:gd name="T23" fmla="*/ 0 h 28"/>
                <a:gd name="T24" fmla="*/ 1 w 67"/>
                <a:gd name="T25" fmla="*/ 0 h 28"/>
                <a:gd name="T26" fmla="*/ 1 w 67"/>
                <a:gd name="T27" fmla="*/ 0 h 28"/>
                <a:gd name="T28" fmla="*/ 0 w 67"/>
                <a:gd name="T29" fmla="*/ 0 h 28"/>
                <a:gd name="T30" fmla="*/ 0 w 67"/>
                <a:gd name="T31" fmla="*/ 0 h 28"/>
                <a:gd name="T32" fmla="*/ 0 w 67"/>
                <a:gd name="T33" fmla="*/ 0 h 28"/>
                <a:gd name="T34" fmla="*/ 0 w 67"/>
                <a:gd name="T35" fmla="*/ 1 h 28"/>
                <a:gd name="T36" fmla="*/ 0 w 67"/>
                <a:gd name="T37" fmla="*/ 1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7"/>
                <a:gd name="T58" fmla="*/ 0 h 28"/>
                <a:gd name="T59" fmla="*/ 67 w 67"/>
                <a:gd name="T60" fmla="*/ 28 h 28"/>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44" name="Freeform 394"/>
            <p:cNvSpPr>
              <a:spLocks/>
            </p:cNvSpPr>
            <p:nvPr/>
          </p:nvSpPr>
          <p:spPr bwMode="auto">
            <a:xfrm>
              <a:off x="1332" y="1608"/>
              <a:ext cx="11" cy="11"/>
            </a:xfrm>
            <a:custGeom>
              <a:avLst/>
              <a:gdLst>
                <a:gd name="T0" fmla="*/ 0 w 32"/>
                <a:gd name="T1" fmla="*/ 1 h 36"/>
                <a:gd name="T2" fmla="*/ 0 w 32"/>
                <a:gd name="T3" fmla="*/ 1 h 36"/>
                <a:gd name="T4" fmla="*/ 0 w 32"/>
                <a:gd name="T5" fmla="*/ 1 h 36"/>
                <a:gd name="T6" fmla="*/ 0 w 32"/>
                <a:gd name="T7" fmla="*/ 1 h 36"/>
                <a:gd name="T8" fmla="*/ 0 w 32"/>
                <a:gd name="T9" fmla="*/ 1 h 36"/>
                <a:gd name="T10" fmla="*/ 0 w 32"/>
                <a:gd name="T11" fmla="*/ 1 h 36"/>
                <a:gd name="T12" fmla="*/ 0 w 32"/>
                <a:gd name="T13" fmla="*/ 1 h 36"/>
                <a:gd name="T14" fmla="*/ 1 w 32"/>
                <a:gd name="T15" fmla="*/ 1 h 36"/>
                <a:gd name="T16" fmla="*/ 1 w 32"/>
                <a:gd name="T17" fmla="*/ 1 h 36"/>
                <a:gd name="T18" fmla="*/ 1 w 32"/>
                <a:gd name="T19" fmla="*/ 0 h 36"/>
                <a:gd name="T20" fmla="*/ 1 w 32"/>
                <a:gd name="T21" fmla="*/ 0 h 36"/>
                <a:gd name="T22" fmla="*/ 1 w 32"/>
                <a:gd name="T23" fmla="*/ 0 h 36"/>
                <a:gd name="T24" fmla="*/ 1 w 32"/>
                <a:gd name="T25" fmla="*/ 0 h 36"/>
                <a:gd name="T26" fmla="*/ 0 w 32"/>
                <a:gd name="T27" fmla="*/ 0 h 36"/>
                <a:gd name="T28" fmla="*/ 0 w 32"/>
                <a:gd name="T29" fmla="*/ 0 h 36"/>
                <a:gd name="T30" fmla="*/ 0 w 32"/>
                <a:gd name="T31" fmla="*/ 0 h 36"/>
                <a:gd name="T32" fmla="*/ 0 w 32"/>
                <a:gd name="T33" fmla="*/ 1 h 36"/>
                <a:gd name="T34" fmla="*/ 0 w 32"/>
                <a:gd name="T35" fmla="*/ 1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36"/>
                <a:gd name="T56" fmla="*/ 32 w 32"/>
                <a:gd name="T57" fmla="*/ 36 h 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45" name="Freeform 395"/>
            <p:cNvSpPr>
              <a:spLocks/>
            </p:cNvSpPr>
            <p:nvPr/>
          </p:nvSpPr>
          <p:spPr bwMode="auto">
            <a:xfrm>
              <a:off x="1279" y="1314"/>
              <a:ext cx="46" cy="17"/>
            </a:xfrm>
            <a:custGeom>
              <a:avLst/>
              <a:gdLst>
                <a:gd name="T0" fmla="*/ 0 w 146"/>
                <a:gd name="T1" fmla="*/ 2 h 52"/>
                <a:gd name="T2" fmla="*/ 0 w 146"/>
                <a:gd name="T3" fmla="*/ 2 h 52"/>
                <a:gd name="T4" fmla="*/ 1 w 146"/>
                <a:gd name="T5" fmla="*/ 2 h 52"/>
                <a:gd name="T6" fmla="*/ 1 w 146"/>
                <a:gd name="T7" fmla="*/ 2 h 52"/>
                <a:gd name="T8" fmla="*/ 1 w 146"/>
                <a:gd name="T9" fmla="*/ 2 h 52"/>
                <a:gd name="T10" fmla="*/ 2 w 146"/>
                <a:gd name="T11" fmla="*/ 2 h 52"/>
                <a:gd name="T12" fmla="*/ 3 w 146"/>
                <a:gd name="T13" fmla="*/ 2 h 52"/>
                <a:gd name="T14" fmla="*/ 4 w 146"/>
                <a:gd name="T15" fmla="*/ 2 h 52"/>
                <a:gd name="T16" fmla="*/ 4 w 146"/>
                <a:gd name="T17" fmla="*/ 2 h 52"/>
                <a:gd name="T18" fmla="*/ 4 w 146"/>
                <a:gd name="T19" fmla="*/ 1 h 52"/>
                <a:gd name="T20" fmla="*/ 4 w 146"/>
                <a:gd name="T21" fmla="*/ 1 h 52"/>
                <a:gd name="T22" fmla="*/ 4 w 146"/>
                <a:gd name="T23" fmla="*/ 1 h 52"/>
                <a:gd name="T24" fmla="*/ 4 w 146"/>
                <a:gd name="T25" fmla="*/ 1 h 52"/>
                <a:gd name="T26" fmla="*/ 4 w 146"/>
                <a:gd name="T27" fmla="*/ 1 h 52"/>
                <a:gd name="T28" fmla="*/ 4 w 146"/>
                <a:gd name="T29" fmla="*/ 0 h 52"/>
                <a:gd name="T30" fmla="*/ 4 w 146"/>
                <a:gd name="T31" fmla="*/ 0 h 52"/>
                <a:gd name="T32" fmla="*/ 4 w 146"/>
                <a:gd name="T33" fmla="*/ 0 h 52"/>
                <a:gd name="T34" fmla="*/ 3 w 146"/>
                <a:gd name="T35" fmla="*/ 0 h 52"/>
                <a:gd name="T36" fmla="*/ 3 w 146"/>
                <a:gd name="T37" fmla="*/ 0 h 52"/>
                <a:gd name="T38" fmla="*/ 3 w 146"/>
                <a:gd name="T39" fmla="*/ 0 h 52"/>
                <a:gd name="T40" fmla="*/ 3 w 146"/>
                <a:gd name="T41" fmla="*/ 0 h 52"/>
                <a:gd name="T42" fmla="*/ 2 w 146"/>
                <a:gd name="T43" fmla="*/ 0 h 52"/>
                <a:gd name="T44" fmla="*/ 2 w 146"/>
                <a:gd name="T45" fmla="*/ 0 h 52"/>
                <a:gd name="T46" fmla="*/ 1 w 146"/>
                <a:gd name="T47" fmla="*/ 1 h 52"/>
                <a:gd name="T48" fmla="*/ 1 w 146"/>
                <a:gd name="T49" fmla="*/ 1 h 52"/>
                <a:gd name="T50" fmla="*/ 1 w 146"/>
                <a:gd name="T51" fmla="*/ 1 h 52"/>
                <a:gd name="T52" fmla="*/ 0 w 146"/>
                <a:gd name="T53" fmla="*/ 1 h 52"/>
                <a:gd name="T54" fmla="*/ 0 w 146"/>
                <a:gd name="T55" fmla="*/ 1 h 52"/>
                <a:gd name="T56" fmla="*/ 0 w 146"/>
                <a:gd name="T57" fmla="*/ 2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52"/>
                <a:gd name="T89" fmla="*/ 146 w 146"/>
                <a:gd name="T90" fmla="*/ 52 h 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46" name="Freeform 396"/>
            <p:cNvSpPr>
              <a:spLocks/>
            </p:cNvSpPr>
            <p:nvPr/>
          </p:nvSpPr>
          <p:spPr bwMode="auto">
            <a:xfrm>
              <a:off x="1261" y="1252"/>
              <a:ext cx="20" cy="10"/>
            </a:xfrm>
            <a:custGeom>
              <a:avLst/>
              <a:gdLst>
                <a:gd name="T0" fmla="*/ 2 w 60"/>
                <a:gd name="T1" fmla="*/ 0 h 31"/>
                <a:gd name="T2" fmla="*/ 2 w 60"/>
                <a:gd name="T3" fmla="*/ 0 h 31"/>
                <a:gd name="T4" fmla="*/ 1 w 60"/>
                <a:gd name="T5" fmla="*/ 0 h 31"/>
                <a:gd name="T6" fmla="*/ 1 w 60"/>
                <a:gd name="T7" fmla="*/ 0 h 31"/>
                <a:gd name="T8" fmla="*/ 1 w 60"/>
                <a:gd name="T9" fmla="*/ 0 h 31"/>
                <a:gd name="T10" fmla="*/ 1 w 60"/>
                <a:gd name="T11" fmla="*/ 0 h 31"/>
                <a:gd name="T12" fmla="*/ 0 w 60"/>
                <a:gd name="T13" fmla="*/ 0 h 31"/>
                <a:gd name="T14" fmla="*/ 0 w 60"/>
                <a:gd name="T15" fmla="*/ 0 h 31"/>
                <a:gd name="T16" fmla="*/ 0 w 60"/>
                <a:gd name="T17" fmla="*/ 0 h 31"/>
                <a:gd name="T18" fmla="*/ 0 w 60"/>
                <a:gd name="T19" fmla="*/ 0 h 31"/>
                <a:gd name="T20" fmla="*/ 0 w 60"/>
                <a:gd name="T21" fmla="*/ 0 h 31"/>
                <a:gd name="T22" fmla="*/ 0 w 60"/>
                <a:gd name="T23" fmla="*/ 1 h 31"/>
                <a:gd name="T24" fmla="*/ 0 w 60"/>
                <a:gd name="T25" fmla="*/ 1 h 31"/>
                <a:gd name="T26" fmla="*/ 0 w 60"/>
                <a:gd name="T27" fmla="*/ 1 h 31"/>
                <a:gd name="T28" fmla="*/ 0 w 60"/>
                <a:gd name="T29" fmla="*/ 1 h 31"/>
                <a:gd name="T30" fmla="*/ 0 w 60"/>
                <a:gd name="T31" fmla="*/ 1 h 31"/>
                <a:gd name="T32" fmla="*/ 1 w 60"/>
                <a:gd name="T33" fmla="*/ 1 h 31"/>
                <a:gd name="T34" fmla="*/ 1 w 60"/>
                <a:gd name="T35" fmla="*/ 1 h 31"/>
                <a:gd name="T36" fmla="*/ 1 w 60"/>
                <a:gd name="T37" fmla="*/ 1 h 31"/>
                <a:gd name="T38" fmla="*/ 1 w 60"/>
                <a:gd name="T39" fmla="*/ 1 h 31"/>
                <a:gd name="T40" fmla="*/ 1 w 60"/>
                <a:gd name="T41" fmla="*/ 1 h 31"/>
                <a:gd name="T42" fmla="*/ 2 w 60"/>
                <a:gd name="T43" fmla="*/ 1 h 31"/>
                <a:gd name="T44" fmla="*/ 2 w 60"/>
                <a:gd name="T45" fmla="*/ 1 h 31"/>
                <a:gd name="T46" fmla="*/ 2 w 60"/>
                <a:gd name="T47" fmla="*/ 0 h 31"/>
                <a:gd name="T48" fmla="*/ 2 w 60"/>
                <a:gd name="T49" fmla="*/ 0 h 31"/>
                <a:gd name="T50" fmla="*/ 2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0"/>
                <a:gd name="T79" fmla="*/ 0 h 31"/>
                <a:gd name="T80" fmla="*/ 60 w 60"/>
                <a:gd name="T81" fmla="*/ 31 h 3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47" name="Freeform 397"/>
            <p:cNvSpPr>
              <a:spLocks/>
            </p:cNvSpPr>
            <p:nvPr/>
          </p:nvSpPr>
          <p:spPr bwMode="auto">
            <a:xfrm>
              <a:off x="1730" y="1713"/>
              <a:ext cx="26" cy="20"/>
            </a:xfrm>
            <a:custGeom>
              <a:avLst/>
              <a:gdLst>
                <a:gd name="T0" fmla="*/ 0 w 80"/>
                <a:gd name="T1" fmla="*/ 2 h 62"/>
                <a:gd name="T2" fmla="*/ 0 w 80"/>
                <a:gd name="T3" fmla="*/ 2 h 62"/>
                <a:gd name="T4" fmla="*/ 0 w 80"/>
                <a:gd name="T5" fmla="*/ 2 h 62"/>
                <a:gd name="T6" fmla="*/ 0 w 80"/>
                <a:gd name="T7" fmla="*/ 2 h 62"/>
                <a:gd name="T8" fmla="*/ 0 w 80"/>
                <a:gd name="T9" fmla="*/ 2 h 62"/>
                <a:gd name="T10" fmla="*/ 0 w 80"/>
                <a:gd name="T11" fmla="*/ 2 h 62"/>
                <a:gd name="T12" fmla="*/ 1 w 80"/>
                <a:gd name="T13" fmla="*/ 2 h 62"/>
                <a:gd name="T14" fmla="*/ 1 w 80"/>
                <a:gd name="T15" fmla="*/ 2 h 62"/>
                <a:gd name="T16" fmla="*/ 1 w 80"/>
                <a:gd name="T17" fmla="*/ 2 h 62"/>
                <a:gd name="T18" fmla="*/ 2 w 80"/>
                <a:gd name="T19" fmla="*/ 2 h 62"/>
                <a:gd name="T20" fmla="*/ 2 w 80"/>
                <a:gd name="T21" fmla="*/ 2 h 62"/>
                <a:gd name="T22" fmla="*/ 2 w 80"/>
                <a:gd name="T23" fmla="*/ 2 h 62"/>
                <a:gd name="T24" fmla="*/ 2 w 80"/>
                <a:gd name="T25" fmla="*/ 2 h 62"/>
                <a:gd name="T26" fmla="*/ 2 w 80"/>
                <a:gd name="T27" fmla="*/ 2 h 62"/>
                <a:gd name="T28" fmla="*/ 2 w 80"/>
                <a:gd name="T29" fmla="*/ 1 h 62"/>
                <a:gd name="T30" fmla="*/ 3 w 80"/>
                <a:gd name="T31" fmla="*/ 1 h 62"/>
                <a:gd name="T32" fmla="*/ 3 w 80"/>
                <a:gd name="T33" fmla="*/ 1 h 62"/>
                <a:gd name="T34" fmla="*/ 3 w 80"/>
                <a:gd name="T35" fmla="*/ 0 h 62"/>
                <a:gd name="T36" fmla="*/ 3 w 80"/>
                <a:gd name="T37" fmla="*/ 0 h 62"/>
                <a:gd name="T38" fmla="*/ 2 w 80"/>
                <a:gd name="T39" fmla="*/ 0 h 62"/>
                <a:gd name="T40" fmla="*/ 2 w 80"/>
                <a:gd name="T41" fmla="*/ 0 h 62"/>
                <a:gd name="T42" fmla="*/ 2 w 80"/>
                <a:gd name="T43" fmla="*/ 0 h 62"/>
                <a:gd name="T44" fmla="*/ 1 w 80"/>
                <a:gd name="T45" fmla="*/ 0 h 62"/>
                <a:gd name="T46" fmla="*/ 1 w 80"/>
                <a:gd name="T47" fmla="*/ 1 h 62"/>
                <a:gd name="T48" fmla="*/ 0 w 80"/>
                <a:gd name="T49" fmla="*/ 1 h 62"/>
                <a:gd name="T50" fmla="*/ 0 w 80"/>
                <a:gd name="T51" fmla="*/ 1 h 62"/>
                <a:gd name="T52" fmla="*/ 0 w 80"/>
                <a:gd name="T53" fmla="*/ 1 h 62"/>
                <a:gd name="T54" fmla="*/ 0 w 80"/>
                <a:gd name="T55" fmla="*/ 1 h 62"/>
                <a:gd name="T56" fmla="*/ 0 w 80"/>
                <a:gd name="T57" fmla="*/ 2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0"/>
                <a:gd name="T88" fmla="*/ 0 h 62"/>
                <a:gd name="T89" fmla="*/ 80 w 80"/>
                <a:gd name="T90" fmla="*/ 62 h 6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48" name="Freeform 398"/>
            <p:cNvSpPr>
              <a:spLocks/>
            </p:cNvSpPr>
            <p:nvPr/>
          </p:nvSpPr>
          <p:spPr bwMode="auto">
            <a:xfrm>
              <a:off x="1583" y="1674"/>
              <a:ext cx="33" cy="16"/>
            </a:xfrm>
            <a:custGeom>
              <a:avLst/>
              <a:gdLst>
                <a:gd name="T0" fmla="*/ 2 w 106"/>
                <a:gd name="T1" fmla="*/ 0 h 49"/>
                <a:gd name="T2" fmla="*/ 2 w 106"/>
                <a:gd name="T3" fmla="*/ 0 h 49"/>
                <a:gd name="T4" fmla="*/ 2 w 106"/>
                <a:gd name="T5" fmla="*/ 0 h 49"/>
                <a:gd name="T6" fmla="*/ 2 w 106"/>
                <a:gd name="T7" fmla="*/ 0 h 49"/>
                <a:gd name="T8" fmla="*/ 2 w 106"/>
                <a:gd name="T9" fmla="*/ 0 h 49"/>
                <a:gd name="T10" fmla="*/ 2 w 106"/>
                <a:gd name="T11" fmla="*/ 0 h 49"/>
                <a:gd name="T12" fmla="*/ 1 w 106"/>
                <a:gd name="T13" fmla="*/ 0 h 49"/>
                <a:gd name="T14" fmla="*/ 1 w 106"/>
                <a:gd name="T15" fmla="*/ 0 h 49"/>
                <a:gd name="T16" fmla="*/ 1 w 106"/>
                <a:gd name="T17" fmla="*/ 0 h 49"/>
                <a:gd name="T18" fmla="*/ 1 w 106"/>
                <a:gd name="T19" fmla="*/ 0 h 49"/>
                <a:gd name="T20" fmla="*/ 0 w 106"/>
                <a:gd name="T21" fmla="*/ 0 h 49"/>
                <a:gd name="T22" fmla="*/ 0 w 106"/>
                <a:gd name="T23" fmla="*/ 0 h 49"/>
                <a:gd name="T24" fmla="*/ 1 w 106"/>
                <a:gd name="T25" fmla="*/ 1 h 49"/>
                <a:gd name="T26" fmla="*/ 1 w 106"/>
                <a:gd name="T27" fmla="*/ 1 h 49"/>
                <a:gd name="T28" fmla="*/ 1 w 106"/>
                <a:gd name="T29" fmla="*/ 1 h 49"/>
                <a:gd name="T30" fmla="*/ 1 w 106"/>
                <a:gd name="T31" fmla="*/ 2 h 49"/>
                <a:gd name="T32" fmla="*/ 2 w 106"/>
                <a:gd name="T33" fmla="*/ 2 h 49"/>
                <a:gd name="T34" fmla="*/ 2 w 106"/>
                <a:gd name="T35" fmla="*/ 2 h 49"/>
                <a:gd name="T36" fmla="*/ 2 w 106"/>
                <a:gd name="T37" fmla="*/ 2 h 49"/>
                <a:gd name="T38" fmla="*/ 2 w 106"/>
                <a:gd name="T39" fmla="*/ 2 h 49"/>
                <a:gd name="T40" fmla="*/ 2 w 106"/>
                <a:gd name="T41" fmla="*/ 2 h 49"/>
                <a:gd name="T42" fmla="*/ 3 w 106"/>
                <a:gd name="T43" fmla="*/ 1 h 49"/>
                <a:gd name="T44" fmla="*/ 3 w 106"/>
                <a:gd name="T45" fmla="*/ 1 h 49"/>
                <a:gd name="T46" fmla="*/ 3 w 106"/>
                <a:gd name="T47" fmla="*/ 1 h 49"/>
                <a:gd name="T48" fmla="*/ 3 w 106"/>
                <a:gd name="T49" fmla="*/ 1 h 49"/>
                <a:gd name="T50" fmla="*/ 3 w 106"/>
                <a:gd name="T51" fmla="*/ 1 h 49"/>
                <a:gd name="T52" fmla="*/ 3 w 106"/>
                <a:gd name="T53" fmla="*/ 1 h 49"/>
                <a:gd name="T54" fmla="*/ 2 w 106"/>
                <a:gd name="T55" fmla="*/ 1 h 49"/>
                <a:gd name="T56" fmla="*/ 2 w 106"/>
                <a:gd name="T57" fmla="*/ 1 h 49"/>
                <a:gd name="T58" fmla="*/ 2 w 106"/>
                <a:gd name="T59" fmla="*/ 1 h 49"/>
                <a:gd name="T60" fmla="*/ 2 w 106"/>
                <a:gd name="T61" fmla="*/ 0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6"/>
                <a:gd name="T94" fmla="*/ 0 h 49"/>
                <a:gd name="T95" fmla="*/ 106 w 106"/>
                <a:gd name="T96" fmla="*/ 49 h 4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49" name="Freeform 399"/>
            <p:cNvSpPr>
              <a:spLocks/>
            </p:cNvSpPr>
            <p:nvPr/>
          </p:nvSpPr>
          <p:spPr bwMode="auto">
            <a:xfrm>
              <a:off x="1599" y="1713"/>
              <a:ext cx="15" cy="7"/>
            </a:xfrm>
            <a:custGeom>
              <a:avLst/>
              <a:gdLst>
                <a:gd name="T0" fmla="*/ 0 w 47"/>
                <a:gd name="T1" fmla="*/ 1 h 22"/>
                <a:gd name="T2" fmla="*/ 0 w 47"/>
                <a:gd name="T3" fmla="*/ 1 h 22"/>
                <a:gd name="T4" fmla="*/ 0 w 47"/>
                <a:gd name="T5" fmla="*/ 1 h 22"/>
                <a:gd name="T6" fmla="*/ 1 w 47"/>
                <a:gd name="T7" fmla="*/ 1 h 22"/>
                <a:gd name="T8" fmla="*/ 1 w 47"/>
                <a:gd name="T9" fmla="*/ 1 h 22"/>
                <a:gd name="T10" fmla="*/ 1 w 47"/>
                <a:gd name="T11" fmla="*/ 1 h 22"/>
                <a:gd name="T12" fmla="*/ 1 w 47"/>
                <a:gd name="T13" fmla="*/ 1 h 22"/>
                <a:gd name="T14" fmla="*/ 1 w 47"/>
                <a:gd name="T15" fmla="*/ 0 h 22"/>
                <a:gd name="T16" fmla="*/ 1 w 47"/>
                <a:gd name="T17" fmla="*/ 0 h 22"/>
                <a:gd name="T18" fmla="*/ 1 w 47"/>
                <a:gd name="T19" fmla="*/ 0 h 22"/>
                <a:gd name="T20" fmla="*/ 2 w 47"/>
                <a:gd name="T21" fmla="*/ 0 h 22"/>
                <a:gd name="T22" fmla="*/ 0 w 47"/>
                <a:gd name="T23" fmla="*/ 1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7"/>
                <a:gd name="T37" fmla="*/ 0 h 22"/>
                <a:gd name="T38" fmla="*/ 47 w 47"/>
                <a:gd name="T39" fmla="*/ 22 h 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50" name="Freeform 400"/>
            <p:cNvSpPr>
              <a:spLocks/>
            </p:cNvSpPr>
            <p:nvPr/>
          </p:nvSpPr>
          <p:spPr bwMode="auto">
            <a:xfrm>
              <a:off x="1608" y="1742"/>
              <a:ext cx="17" cy="11"/>
            </a:xfrm>
            <a:custGeom>
              <a:avLst/>
              <a:gdLst>
                <a:gd name="T0" fmla="*/ 2 w 53"/>
                <a:gd name="T1" fmla="*/ 0 h 32"/>
                <a:gd name="T2" fmla="*/ 1 w 53"/>
                <a:gd name="T3" fmla="*/ 0 h 32"/>
                <a:gd name="T4" fmla="*/ 1 w 53"/>
                <a:gd name="T5" fmla="*/ 1 h 32"/>
                <a:gd name="T6" fmla="*/ 0 w 53"/>
                <a:gd name="T7" fmla="*/ 1 h 32"/>
                <a:gd name="T8" fmla="*/ 0 w 53"/>
                <a:gd name="T9" fmla="*/ 1 h 32"/>
                <a:gd name="T10" fmla="*/ 0 w 53"/>
                <a:gd name="T11" fmla="*/ 1 h 32"/>
                <a:gd name="T12" fmla="*/ 1 w 53"/>
                <a:gd name="T13" fmla="*/ 1 h 32"/>
                <a:gd name="T14" fmla="*/ 1 w 53"/>
                <a:gd name="T15" fmla="*/ 1 h 32"/>
                <a:gd name="T16" fmla="*/ 2 w 53"/>
                <a:gd name="T17" fmla="*/ 1 h 32"/>
                <a:gd name="T18" fmla="*/ 2 w 53"/>
                <a:gd name="T19" fmla="*/ 1 h 32"/>
                <a:gd name="T20" fmla="*/ 2 w 53"/>
                <a:gd name="T21" fmla="*/ 1 h 32"/>
                <a:gd name="T22" fmla="*/ 2 w 53"/>
                <a:gd name="T23" fmla="*/ 0 h 32"/>
                <a:gd name="T24" fmla="*/ 2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32"/>
                <a:gd name="T41" fmla="*/ 53 w 53"/>
                <a:gd name="T42" fmla="*/ 32 h 3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51" name="Freeform 401"/>
            <p:cNvSpPr>
              <a:spLocks/>
            </p:cNvSpPr>
            <p:nvPr/>
          </p:nvSpPr>
          <p:spPr bwMode="auto">
            <a:xfrm>
              <a:off x="1450" y="1438"/>
              <a:ext cx="14" cy="12"/>
            </a:xfrm>
            <a:custGeom>
              <a:avLst/>
              <a:gdLst>
                <a:gd name="T0" fmla="*/ 1 w 46"/>
                <a:gd name="T1" fmla="*/ 0 h 34"/>
                <a:gd name="T2" fmla="*/ 0 w 46"/>
                <a:gd name="T3" fmla="*/ 1 h 34"/>
                <a:gd name="T4" fmla="*/ 0 w 46"/>
                <a:gd name="T5" fmla="*/ 1 h 34"/>
                <a:gd name="T6" fmla="*/ 1 w 46"/>
                <a:gd name="T7" fmla="*/ 1 h 34"/>
                <a:gd name="T8" fmla="*/ 1 w 46"/>
                <a:gd name="T9" fmla="*/ 1 h 34"/>
                <a:gd name="T10" fmla="*/ 1 w 46"/>
                <a:gd name="T11" fmla="*/ 1 h 34"/>
                <a:gd name="T12" fmla="*/ 1 w 46"/>
                <a:gd name="T13" fmla="*/ 1 h 34"/>
                <a:gd name="T14" fmla="*/ 1 w 46"/>
                <a:gd name="T15" fmla="*/ 1 h 34"/>
                <a:gd name="T16" fmla="*/ 1 w 46"/>
                <a:gd name="T17" fmla="*/ 1 h 34"/>
                <a:gd name="T18" fmla="*/ 1 w 46"/>
                <a:gd name="T19" fmla="*/ 1 h 34"/>
                <a:gd name="T20" fmla="*/ 1 w 46"/>
                <a:gd name="T21" fmla="*/ 0 h 34"/>
                <a:gd name="T22" fmla="*/ 1 w 46"/>
                <a:gd name="T23" fmla="*/ 0 h 34"/>
                <a:gd name="T24" fmla="*/ 1 w 46"/>
                <a:gd name="T25" fmla="*/ 0 h 34"/>
                <a:gd name="T26" fmla="*/ 1 w 46"/>
                <a:gd name="T27" fmla="*/ 0 h 34"/>
                <a:gd name="T28" fmla="*/ 1 w 46"/>
                <a:gd name="T29" fmla="*/ 0 h 34"/>
                <a:gd name="T30" fmla="*/ 1 w 46"/>
                <a:gd name="T31" fmla="*/ 0 h 34"/>
                <a:gd name="T32" fmla="*/ 1 w 46"/>
                <a:gd name="T33" fmla="*/ 0 h 34"/>
                <a:gd name="T34" fmla="*/ 1 w 46"/>
                <a:gd name="T35" fmla="*/ 0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4"/>
                <a:gd name="T56" fmla="*/ 46 w 46"/>
                <a:gd name="T57" fmla="*/ 34 h 3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52" name="Freeform 402"/>
            <p:cNvSpPr>
              <a:spLocks/>
            </p:cNvSpPr>
            <p:nvPr/>
          </p:nvSpPr>
          <p:spPr bwMode="auto">
            <a:xfrm>
              <a:off x="1305" y="1224"/>
              <a:ext cx="16" cy="8"/>
            </a:xfrm>
            <a:custGeom>
              <a:avLst/>
              <a:gdLst>
                <a:gd name="T0" fmla="*/ 0 w 48"/>
                <a:gd name="T1" fmla="*/ 1 h 25"/>
                <a:gd name="T2" fmla="*/ 1 w 48"/>
                <a:gd name="T3" fmla="*/ 1 h 25"/>
                <a:gd name="T4" fmla="*/ 1 w 48"/>
                <a:gd name="T5" fmla="*/ 1 h 25"/>
                <a:gd name="T6" fmla="*/ 1 w 48"/>
                <a:gd name="T7" fmla="*/ 1 h 25"/>
                <a:gd name="T8" fmla="*/ 1 w 48"/>
                <a:gd name="T9" fmla="*/ 1 h 25"/>
                <a:gd name="T10" fmla="*/ 1 w 48"/>
                <a:gd name="T11" fmla="*/ 1 h 25"/>
                <a:gd name="T12" fmla="*/ 1 w 48"/>
                <a:gd name="T13" fmla="*/ 1 h 25"/>
                <a:gd name="T14" fmla="*/ 2 w 48"/>
                <a:gd name="T15" fmla="*/ 0 h 25"/>
                <a:gd name="T16" fmla="*/ 2 w 48"/>
                <a:gd name="T17" fmla="*/ 0 h 25"/>
                <a:gd name="T18" fmla="*/ 1 w 48"/>
                <a:gd name="T19" fmla="*/ 0 h 25"/>
                <a:gd name="T20" fmla="*/ 1 w 48"/>
                <a:gd name="T21" fmla="*/ 0 h 25"/>
                <a:gd name="T22" fmla="*/ 1 w 48"/>
                <a:gd name="T23" fmla="*/ 0 h 25"/>
                <a:gd name="T24" fmla="*/ 1 w 48"/>
                <a:gd name="T25" fmla="*/ 0 h 25"/>
                <a:gd name="T26" fmla="*/ 0 w 48"/>
                <a:gd name="T27" fmla="*/ 1 h 25"/>
                <a:gd name="T28" fmla="*/ 0 w 48"/>
                <a:gd name="T29" fmla="*/ 1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25"/>
                <a:gd name="T47" fmla="*/ 48 w 48"/>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53" name="Freeform 403"/>
            <p:cNvSpPr>
              <a:spLocks/>
            </p:cNvSpPr>
            <p:nvPr/>
          </p:nvSpPr>
          <p:spPr bwMode="auto">
            <a:xfrm>
              <a:off x="1343" y="1188"/>
              <a:ext cx="8" cy="11"/>
            </a:xfrm>
            <a:custGeom>
              <a:avLst/>
              <a:gdLst>
                <a:gd name="T0" fmla="*/ 0 w 30"/>
                <a:gd name="T1" fmla="*/ 0 h 37"/>
                <a:gd name="T2" fmla="*/ 0 w 30"/>
                <a:gd name="T3" fmla="*/ 1 h 37"/>
                <a:gd name="T4" fmla="*/ 0 w 30"/>
                <a:gd name="T5" fmla="*/ 1 h 37"/>
                <a:gd name="T6" fmla="*/ 0 w 30"/>
                <a:gd name="T7" fmla="*/ 1 h 37"/>
                <a:gd name="T8" fmla="*/ 1 w 30"/>
                <a:gd name="T9" fmla="*/ 1 h 37"/>
                <a:gd name="T10" fmla="*/ 1 w 30"/>
                <a:gd name="T11" fmla="*/ 1 h 37"/>
                <a:gd name="T12" fmla="*/ 1 w 30"/>
                <a:gd name="T13" fmla="*/ 1 h 37"/>
                <a:gd name="T14" fmla="*/ 1 w 30"/>
                <a:gd name="T15" fmla="*/ 1 h 37"/>
                <a:gd name="T16" fmla="*/ 1 w 30"/>
                <a:gd name="T17" fmla="*/ 1 h 37"/>
                <a:gd name="T18" fmla="*/ 1 w 30"/>
                <a:gd name="T19" fmla="*/ 0 h 37"/>
                <a:gd name="T20" fmla="*/ 1 w 30"/>
                <a:gd name="T21" fmla="*/ 0 h 37"/>
                <a:gd name="T22" fmla="*/ 1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0"/>
                <a:gd name="T40" fmla="*/ 0 h 37"/>
                <a:gd name="T41" fmla="*/ 30 w 30"/>
                <a:gd name="T42" fmla="*/ 37 h 3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54" name="Freeform 404"/>
            <p:cNvSpPr>
              <a:spLocks/>
            </p:cNvSpPr>
            <p:nvPr/>
          </p:nvSpPr>
          <p:spPr bwMode="auto">
            <a:xfrm>
              <a:off x="1334" y="1208"/>
              <a:ext cx="36" cy="16"/>
            </a:xfrm>
            <a:custGeom>
              <a:avLst/>
              <a:gdLst>
                <a:gd name="T0" fmla="*/ 1 w 113"/>
                <a:gd name="T1" fmla="*/ 0 h 46"/>
                <a:gd name="T2" fmla="*/ 1 w 113"/>
                <a:gd name="T3" fmla="*/ 0 h 46"/>
                <a:gd name="T4" fmla="*/ 0 w 113"/>
                <a:gd name="T5" fmla="*/ 0 h 46"/>
                <a:gd name="T6" fmla="*/ 0 w 113"/>
                <a:gd name="T7" fmla="*/ 0 h 46"/>
                <a:gd name="T8" fmla="*/ 0 w 113"/>
                <a:gd name="T9" fmla="*/ 0 h 46"/>
                <a:gd name="T10" fmla="*/ 0 w 113"/>
                <a:gd name="T11" fmla="*/ 1 h 46"/>
                <a:gd name="T12" fmla="*/ 0 w 113"/>
                <a:gd name="T13" fmla="*/ 1 h 46"/>
                <a:gd name="T14" fmla="*/ 0 w 113"/>
                <a:gd name="T15" fmla="*/ 1 h 46"/>
                <a:gd name="T16" fmla="*/ 0 w 113"/>
                <a:gd name="T17" fmla="*/ 1 h 46"/>
                <a:gd name="T18" fmla="*/ 1 w 113"/>
                <a:gd name="T19" fmla="*/ 2 h 46"/>
                <a:gd name="T20" fmla="*/ 1 w 113"/>
                <a:gd name="T21" fmla="*/ 2 h 46"/>
                <a:gd name="T22" fmla="*/ 1 w 113"/>
                <a:gd name="T23" fmla="*/ 2 h 46"/>
                <a:gd name="T24" fmla="*/ 1 w 113"/>
                <a:gd name="T25" fmla="*/ 2 h 46"/>
                <a:gd name="T26" fmla="*/ 1 w 113"/>
                <a:gd name="T27" fmla="*/ 2 h 46"/>
                <a:gd name="T28" fmla="*/ 1 w 113"/>
                <a:gd name="T29" fmla="*/ 2 h 46"/>
                <a:gd name="T30" fmla="*/ 2 w 113"/>
                <a:gd name="T31" fmla="*/ 2 h 46"/>
                <a:gd name="T32" fmla="*/ 2 w 113"/>
                <a:gd name="T33" fmla="*/ 2 h 46"/>
                <a:gd name="T34" fmla="*/ 3 w 113"/>
                <a:gd name="T35" fmla="*/ 2 h 46"/>
                <a:gd name="T36" fmla="*/ 3 w 113"/>
                <a:gd name="T37" fmla="*/ 2 h 46"/>
                <a:gd name="T38" fmla="*/ 3 w 113"/>
                <a:gd name="T39" fmla="*/ 2 h 46"/>
                <a:gd name="T40" fmla="*/ 3 w 113"/>
                <a:gd name="T41" fmla="*/ 1 h 46"/>
                <a:gd name="T42" fmla="*/ 3 w 113"/>
                <a:gd name="T43" fmla="*/ 1 h 46"/>
                <a:gd name="T44" fmla="*/ 4 w 113"/>
                <a:gd name="T45" fmla="*/ 1 h 46"/>
                <a:gd name="T46" fmla="*/ 4 w 113"/>
                <a:gd name="T47" fmla="*/ 0 h 46"/>
                <a:gd name="T48" fmla="*/ 4 w 113"/>
                <a:gd name="T49" fmla="*/ 0 h 46"/>
                <a:gd name="T50" fmla="*/ 3 w 113"/>
                <a:gd name="T51" fmla="*/ 0 h 46"/>
                <a:gd name="T52" fmla="*/ 3 w 113"/>
                <a:gd name="T53" fmla="*/ 0 h 46"/>
                <a:gd name="T54" fmla="*/ 3 w 113"/>
                <a:gd name="T55" fmla="*/ 0 h 46"/>
                <a:gd name="T56" fmla="*/ 2 w 113"/>
                <a:gd name="T57" fmla="*/ 0 h 46"/>
                <a:gd name="T58" fmla="*/ 2 w 113"/>
                <a:gd name="T59" fmla="*/ 0 h 46"/>
                <a:gd name="T60" fmla="*/ 1 w 113"/>
                <a:gd name="T61" fmla="*/ 0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3"/>
                <a:gd name="T94" fmla="*/ 0 h 46"/>
                <a:gd name="T95" fmla="*/ 113 w 113"/>
                <a:gd name="T96" fmla="*/ 46 h 4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55" name="Freeform 405"/>
            <p:cNvSpPr>
              <a:spLocks/>
            </p:cNvSpPr>
            <p:nvPr/>
          </p:nvSpPr>
          <p:spPr bwMode="auto">
            <a:xfrm>
              <a:off x="1365" y="1201"/>
              <a:ext cx="49" cy="28"/>
            </a:xfrm>
            <a:custGeom>
              <a:avLst/>
              <a:gdLst>
                <a:gd name="T0" fmla="*/ 0 w 153"/>
                <a:gd name="T1" fmla="*/ 3 h 82"/>
                <a:gd name="T2" fmla="*/ 0 w 153"/>
                <a:gd name="T3" fmla="*/ 3 h 82"/>
                <a:gd name="T4" fmla="*/ 0 w 153"/>
                <a:gd name="T5" fmla="*/ 3 h 82"/>
                <a:gd name="T6" fmla="*/ 0 w 153"/>
                <a:gd name="T7" fmla="*/ 3 h 82"/>
                <a:gd name="T8" fmla="*/ 0 w 153"/>
                <a:gd name="T9" fmla="*/ 3 h 82"/>
                <a:gd name="T10" fmla="*/ 1 w 153"/>
                <a:gd name="T11" fmla="*/ 3 h 82"/>
                <a:gd name="T12" fmla="*/ 1 w 153"/>
                <a:gd name="T13" fmla="*/ 3 h 82"/>
                <a:gd name="T14" fmla="*/ 1 w 153"/>
                <a:gd name="T15" fmla="*/ 3 h 82"/>
                <a:gd name="T16" fmla="*/ 2 w 153"/>
                <a:gd name="T17" fmla="*/ 3 h 82"/>
                <a:gd name="T18" fmla="*/ 2 w 153"/>
                <a:gd name="T19" fmla="*/ 3 h 82"/>
                <a:gd name="T20" fmla="*/ 2 w 153"/>
                <a:gd name="T21" fmla="*/ 3 h 82"/>
                <a:gd name="T22" fmla="*/ 3 w 153"/>
                <a:gd name="T23" fmla="*/ 3 h 82"/>
                <a:gd name="T24" fmla="*/ 4 w 153"/>
                <a:gd name="T25" fmla="*/ 2 h 82"/>
                <a:gd name="T26" fmla="*/ 4 w 153"/>
                <a:gd name="T27" fmla="*/ 2 h 82"/>
                <a:gd name="T28" fmla="*/ 4 w 153"/>
                <a:gd name="T29" fmla="*/ 2 h 82"/>
                <a:gd name="T30" fmla="*/ 4 w 153"/>
                <a:gd name="T31" fmla="*/ 2 h 82"/>
                <a:gd name="T32" fmla="*/ 4 w 153"/>
                <a:gd name="T33" fmla="*/ 1 h 82"/>
                <a:gd name="T34" fmla="*/ 4 w 153"/>
                <a:gd name="T35" fmla="*/ 1 h 82"/>
                <a:gd name="T36" fmla="*/ 5 w 153"/>
                <a:gd name="T37" fmla="*/ 1 h 82"/>
                <a:gd name="T38" fmla="*/ 5 w 153"/>
                <a:gd name="T39" fmla="*/ 1 h 82"/>
                <a:gd name="T40" fmla="*/ 5 w 153"/>
                <a:gd name="T41" fmla="*/ 0 h 82"/>
                <a:gd name="T42" fmla="*/ 4 w 153"/>
                <a:gd name="T43" fmla="*/ 0 h 82"/>
                <a:gd name="T44" fmla="*/ 4 w 153"/>
                <a:gd name="T45" fmla="*/ 0 h 82"/>
                <a:gd name="T46" fmla="*/ 3 w 153"/>
                <a:gd name="T47" fmla="*/ 0 h 82"/>
                <a:gd name="T48" fmla="*/ 3 w 153"/>
                <a:gd name="T49" fmla="*/ 0 h 82"/>
                <a:gd name="T50" fmla="*/ 2 w 153"/>
                <a:gd name="T51" fmla="*/ 0 h 82"/>
                <a:gd name="T52" fmla="*/ 2 w 153"/>
                <a:gd name="T53" fmla="*/ 0 h 82"/>
                <a:gd name="T54" fmla="*/ 2 w 153"/>
                <a:gd name="T55" fmla="*/ 0 h 82"/>
                <a:gd name="T56" fmla="*/ 1 w 153"/>
                <a:gd name="T57" fmla="*/ 0 h 82"/>
                <a:gd name="T58" fmla="*/ 1 w 153"/>
                <a:gd name="T59" fmla="*/ 0 h 82"/>
                <a:gd name="T60" fmla="*/ 1 w 153"/>
                <a:gd name="T61" fmla="*/ 0 h 82"/>
                <a:gd name="T62" fmla="*/ 1 w 153"/>
                <a:gd name="T63" fmla="*/ 1 h 82"/>
                <a:gd name="T64" fmla="*/ 1 w 153"/>
                <a:gd name="T65" fmla="*/ 1 h 82"/>
                <a:gd name="T66" fmla="*/ 1 w 153"/>
                <a:gd name="T67" fmla="*/ 1 h 82"/>
                <a:gd name="T68" fmla="*/ 1 w 153"/>
                <a:gd name="T69" fmla="*/ 1 h 82"/>
                <a:gd name="T70" fmla="*/ 1 w 153"/>
                <a:gd name="T71" fmla="*/ 1 h 82"/>
                <a:gd name="T72" fmla="*/ 1 w 153"/>
                <a:gd name="T73" fmla="*/ 1 h 82"/>
                <a:gd name="T74" fmla="*/ 1 w 153"/>
                <a:gd name="T75" fmla="*/ 1 h 82"/>
                <a:gd name="T76" fmla="*/ 2 w 153"/>
                <a:gd name="T77" fmla="*/ 1 h 82"/>
                <a:gd name="T78" fmla="*/ 1 w 153"/>
                <a:gd name="T79" fmla="*/ 2 h 82"/>
                <a:gd name="T80" fmla="*/ 1 w 153"/>
                <a:gd name="T81" fmla="*/ 2 h 82"/>
                <a:gd name="T82" fmla="*/ 1 w 153"/>
                <a:gd name="T83" fmla="*/ 2 h 82"/>
                <a:gd name="T84" fmla="*/ 1 w 153"/>
                <a:gd name="T85" fmla="*/ 2 h 82"/>
                <a:gd name="T86" fmla="*/ 1 w 153"/>
                <a:gd name="T87" fmla="*/ 3 h 82"/>
                <a:gd name="T88" fmla="*/ 0 w 153"/>
                <a:gd name="T89" fmla="*/ 3 h 82"/>
                <a:gd name="T90" fmla="*/ 0 w 153"/>
                <a:gd name="T91" fmla="*/ 3 h 82"/>
                <a:gd name="T92" fmla="*/ 0 w 153"/>
                <a:gd name="T93" fmla="*/ 3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53"/>
                <a:gd name="T142" fmla="*/ 0 h 82"/>
                <a:gd name="T143" fmla="*/ 153 w 153"/>
                <a:gd name="T144" fmla="*/ 82 h 8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56" name="Freeform 406"/>
            <p:cNvSpPr>
              <a:spLocks/>
            </p:cNvSpPr>
            <p:nvPr/>
          </p:nvSpPr>
          <p:spPr bwMode="auto">
            <a:xfrm>
              <a:off x="1414" y="1217"/>
              <a:ext cx="29" cy="17"/>
            </a:xfrm>
            <a:custGeom>
              <a:avLst/>
              <a:gdLst>
                <a:gd name="T0" fmla="*/ 0 w 86"/>
                <a:gd name="T1" fmla="*/ 1 h 50"/>
                <a:gd name="T2" fmla="*/ 0 w 86"/>
                <a:gd name="T3" fmla="*/ 2 h 50"/>
                <a:gd name="T4" fmla="*/ 0 w 86"/>
                <a:gd name="T5" fmla="*/ 2 h 50"/>
                <a:gd name="T6" fmla="*/ 1 w 86"/>
                <a:gd name="T7" fmla="*/ 2 h 50"/>
                <a:gd name="T8" fmla="*/ 1 w 86"/>
                <a:gd name="T9" fmla="*/ 2 h 50"/>
                <a:gd name="T10" fmla="*/ 1 w 86"/>
                <a:gd name="T11" fmla="*/ 2 h 50"/>
                <a:gd name="T12" fmla="*/ 2 w 86"/>
                <a:gd name="T13" fmla="*/ 2 h 50"/>
                <a:gd name="T14" fmla="*/ 2 w 86"/>
                <a:gd name="T15" fmla="*/ 2 h 50"/>
                <a:gd name="T16" fmla="*/ 3 w 86"/>
                <a:gd name="T17" fmla="*/ 2 h 50"/>
                <a:gd name="T18" fmla="*/ 3 w 86"/>
                <a:gd name="T19" fmla="*/ 2 h 50"/>
                <a:gd name="T20" fmla="*/ 3 w 86"/>
                <a:gd name="T21" fmla="*/ 2 h 50"/>
                <a:gd name="T22" fmla="*/ 3 w 86"/>
                <a:gd name="T23" fmla="*/ 2 h 50"/>
                <a:gd name="T24" fmla="*/ 3 w 86"/>
                <a:gd name="T25" fmla="*/ 1 h 50"/>
                <a:gd name="T26" fmla="*/ 3 w 86"/>
                <a:gd name="T27" fmla="*/ 1 h 50"/>
                <a:gd name="T28" fmla="*/ 3 w 86"/>
                <a:gd name="T29" fmla="*/ 1 h 50"/>
                <a:gd name="T30" fmla="*/ 3 w 86"/>
                <a:gd name="T31" fmla="*/ 1 h 50"/>
                <a:gd name="T32" fmla="*/ 3 w 86"/>
                <a:gd name="T33" fmla="*/ 0 h 50"/>
                <a:gd name="T34" fmla="*/ 3 w 86"/>
                <a:gd name="T35" fmla="*/ 0 h 50"/>
                <a:gd name="T36" fmla="*/ 3 w 86"/>
                <a:gd name="T37" fmla="*/ 0 h 50"/>
                <a:gd name="T38" fmla="*/ 3 w 86"/>
                <a:gd name="T39" fmla="*/ 0 h 50"/>
                <a:gd name="T40" fmla="*/ 3 w 86"/>
                <a:gd name="T41" fmla="*/ 0 h 50"/>
                <a:gd name="T42" fmla="*/ 0 w 86"/>
                <a:gd name="T43" fmla="*/ 1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50"/>
                <a:gd name="T68" fmla="*/ 86 w 86"/>
                <a:gd name="T69" fmla="*/ 50 h 5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57" name="Freeform 407"/>
            <p:cNvSpPr>
              <a:spLocks/>
            </p:cNvSpPr>
            <p:nvPr/>
          </p:nvSpPr>
          <p:spPr bwMode="auto">
            <a:xfrm>
              <a:off x="1379" y="1163"/>
              <a:ext cx="55" cy="25"/>
            </a:xfrm>
            <a:custGeom>
              <a:avLst/>
              <a:gdLst>
                <a:gd name="T0" fmla="*/ 4 w 172"/>
                <a:gd name="T1" fmla="*/ 2 h 74"/>
                <a:gd name="T2" fmla="*/ 4 w 172"/>
                <a:gd name="T3" fmla="*/ 2 h 74"/>
                <a:gd name="T4" fmla="*/ 3 w 172"/>
                <a:gd name="T5" fmla="*/ 2 h 74"/>
                <a:gd name="T6" fmla="*/ 3 w 172"/>
                <a:gd name="T7" fmla="*/ 2 h 74"/>
                <a:gd name="T8" fmla="*/ 3 w 172"/>
                <a:gd name="T9" fmla="*/ 2 h 74"/>
                <a:gd name="T10" fmla="*/ 2 w 172"/>
                <a:gd name="T11" fmla="*/ 3 h 74"/>
                <a:gd name="T12" fmla="*/ 1 w 172"/>
                <a:gd name="T13" fmla="*/ 3 h 74"/>
                <a:gd name="T14" fmla="*/ 1 w 172"/>
                <a:gd name="T15" fmla="*/ 2 h 74"/>
                <a:gd name="T16" fmla="*/ 1 w 172"/>
                <a:gd name="T17" fmla="*/ 2 h 74"/>
                <a:gd name="T18" fmla="*/ 1 w 172"/>
                <a:gd name="T19" fmla="*/ 2 h 74"/>
                <a:gd name="T20" fmla="*/ 1 w 172"/>
                <a:gd name="T21" fmla="*/ 2 h 74"/>
                <a:gd name="T22" fmla="*/ 1 w 172"/>
                <a:gd name="T23" fmla="*/ 2 h 74"/>
                <a:gd name="T24" fmla="*/ 0 w 172"/>
                <a:gd name="T25" fmla="*/ 2 h 74"/>
                <a:gd name="T26" fmla="*/ 0 w 172"/>
                <a:gd name="T27" fmla="*/ 2 h 74"/>
                <a:gd name="T28" fmla="*/ 0 w 172"/>
                <a:gd name="T29" fmla="*/ 1 h 74"/>
                <a:gd name="T30" fmla="*/ 0 w 172"/>
                <a:gd name="T31" fmla="*/ 1 h 74"/>
                <a:gd name="T32" fmla="*/ 0 w 172"/>
                <a:gd name="T33" fmla="*/ 1 h 74"/>
                <a:gd name="T34" fmla="*/ 0 w 172"/>
                <a:gd name="T35" fmla="*/ 1 h 74"/>
                <a:gd name="T36" fmla="*/ 0 w 172"/>
                <a:gd name="T37" fmla="*/ 1 h 74"/>
                <a:gd name="T38" fmla="*/ 0 w 172"/>
                <a:gd name="T39" fmla="*/ 1 h 74"/>
                <a:gd name="T40" fmla="*/ 0 w 172"/>
                <a:gd name="T41" fmla="*/ 1 h 74"/>
                <a:gd name="T42" fmla="*/ 0 w 172"/>
                <a:gd name="T43" fmla="*/ 0 h 74"/>
                <a:gd name="T44" fmla="*/ 1 w 172"/>
                <a:gd name="T45" fmla="*/ 0 h 74"/>
                <a:gd name="T46" fmla="*/ 1 w 172"/>
                <a:gd name="T47" fmla="*/ 0 h 74"/>
                <a:gd name="T48" fmla="*/ 1 w 172"/>
                <a:gd name="T49" fmla="*/ 0 h 74"/>
                <a:gd name="T50" fmla="*/ 1 w 172"/>
                <a:gd name="T51" fmla="*/ 0 h 74"/>
                <a:gd name="T52" fmla="*/ 2 w 172"/>
                <a:gd name="T53" fmla="*/ 0 h 74"/>
                <a:gd name="T54" fmla="*/ 2 w 172"/>
                <a:gd name="T55" fmla="*/ 0 h 74"/>
                <a:gd name="T56" fmla="*/ 3 w 172"/>
                <a:gd name="T57" fmla="*/ 0 h 74"/>
                <a:gd name="T58" fmla="*/ 3 w 172"/>
                <a:gd name="T59" fmla="*/ 0 h 74"/>
                <a:gd name="T60" fmla="*/ 4 w 172"/>
                <a:gd name="T61" fmla="*/ 0 h 74"/>
                <a:gd name="T62" fmla="*/ 4 w 172"/>
                <a:gd name="T63" fmla="*/ 0 h 74"/>
                <a:gd name="T64" fmla="*/ 4 w 172"/>
                <a:gd name="T65" fmla="*/ 0 h 74"/>
                <a:gd name="T66" fmla="*/ 4 w 172"/>
                <a:gd name="T67" fmla="*/ 1 h 74"/>
                <a:gd name="T68" fmla="*/ 5 w 172"/>
                <a:gd name="T69" fmla="*/ 1 h 74"/>
                <a:gd name="T70" fmla="*/ 5 w 172"/>
                <a:gd name="T71" fmla="*/ 1 h 74"/>
                <a:gd name="T72" fmla="*/ 6 w 172"/>
                <a:gd name="T73" fmla="*/ 1 h 74"/>
                <a:gd name="T74" fmla="*/ 6 w 172"/>
                <a:gd name="T75" fmla="*/ 2 h 74"/>
                <a:gd name="T76" fmla="*/ 5 w 172"/>
                <a:gd name="T77" fmla="*/ 2 h 74"/>
                <a:gd name="T78" fmla="*/ 5 w 172"/>
                <a:gd name="T79" fmla="*/ 2 h 74"/>
                <a:gd name="T80" fmla="*/ 5 w 172"/>
                <a:gd name="T81" fmla="*/ 2 h 74"/>
                <a:gd name="T82" fmla="*/ 5 w 172"/>
                <a:gd name="T83" fmla="*/ 2 h 74"/>
                <a:gd name="T84" fmla="*/ 5 w 172"/>
                <a:gd name="T85" fmla="*/ 2 h 74"/>
                <a:gd name="T86" fmla="*/ 5 w 172"/>
                <a:gd name="T87" fmla="*/ 2 h 74"/>
                <a:gd name="T88" fmla="*/ 5 w 172"/>
                <a:gd name="T89" fmla="*/ 2 h 74"/>
                <a:gd name="T90" fmla="*/ 4 w 172"/>
                <a:gd name="T91" fmla="*/ 2 h 74"/>
                <a:gd name="T92" fmla="*/ 4 w 172"/>
                <a:gd name="T93" fmla="*/ 2 h 74"/>
                <a:gd name="T94" fmla="*/ 4 w 172"/>
                <a:gd name="T95" fmla="*/ 2 h 74"/>
                <a:gd name="T96" fmla="*/ 4 w 172"/>
                <a:gd name="T97" fmla="*/ 2 h 74"/>
                <a:gd name="T98" fmla="*/ 3 w 172"/>
                <a:gd name="T99" fmla="*/ 2 h 74"/>
                <a:gd name="T100" fmla="*/ 4 w 172"/>
                <a:gd name="T101" fmla="*/ 2 h 74"/>
                <a:gd name="T102" fmla="*/ 4 w 172"/>
                <a:gd name="T103" fmla="*/ 2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72"/>
                <a:gd name="T157" fmla="*/ 0 h 74"/>
                <a:gd name="T158" fmla="*/ 172 w 172"/>
                <a:gd name="T159" fmla="*/ 74 h 7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58" name="Freeform 408"/>
            <p:cNvSpPr>
              <a:spLocks/>
            </p:cNvSpPr>
            <p:nvPr/>
          </p:nvSpPr>
          <p:spPr bwMode="auto">
            <a:xfrm>
              <a:off x="1450" y="1171"/>
              <a:ext cx="38" cy="17"/>
            </a:xfrm>
            <a:custGeom>
              <a:avLst/>
              <a:gdLst>
                <a:gd name="T0" fmla="*/ 1 w 120"/>
                <a:gd name="T1" fmla="*/ 2 h 49"/>
                <a:gd name="T2" fmla="*/ 2 w 120"/>
                <a:gd name="T3" fmla="*/ 2 h 49"/>
                <a:gd name="T4" fmla="*/ 2 w 120"/>
                <a:gd name="T5" fmla="*/ 2 h 49"/>
                <a:gd name="T6" fmla="*/ 3 w 120"/>
                <a:gd name="T7" fmla="*/ 2 h 49"/>
                <a:gd name="T8" fmla="*/ 3 w 120"/>
                <a:gd name="T9" fmla="*/ 2 h 49"/>
                <a:gd name="T10" fmla="*/ 3 w 120"/>
                <a:gd name="T11" fmla="*/ 2 h 49"/>
                <a:gd name="T12" fmla="*/ 3 w 120"/>
                <a:gd name="T13" fmla="*/ 2 h 49"/>
                <a:gd name="T14" fmla="*/ 3 w 120"/>
                <a:gd name="T15" fmla="*/ 1 h 49"/>
                <a:gd name="T16" fmla="*/ 3 w 120"/>
                <a:gd name="T17" fmla="*/ 1 h 49"/>
                <a:gd name="T18" fmla="*/ 3 w 120"/>
                <a:gd name="T19" fmla="*/ 1 h 49"/>
                <a:gd name="T20" fmla="*/ 4 w 120"/>
                <a:gd name="T21" fmla="*/ 0 h 49"/>
                <a:gd name="T22" fmla="*/ 3 w 120"/>
                <a:gd name="T23" fmla="*/ 0 h 49"/>
                <a:gd name="T24" fmla="*/ 3 w 120"/>
                <a:gd name="T25" fmla="*/ 0 h 49"/>
                <a:gd name="T26" fmla="*/ 2 w 120"/>
                <a:gd name="T27" fmla="*/ 0 h 49"/>
                <a:gd name="T28" fmla="*/ 2 w 120"/>
                <a:gd name="T29" fmla="*/ 0 h 49"/>
                <a:gd name="T30" fmla="*/ 1 w 120"/>
                <a:gd name="T31" fmla="*/ 0 h 49"/>
                <a:gd name="T32" fmla="*/ 1 w 120"/>
                <a:gd name="T33" fmla="*/ 0 h 49"/>
                <a:gd name="T34" fmla="*/ 0 w 120"/>
                <a:gd name="T35" fmla="*/ 0 h 49"/>
                <a:gd name="T36" fmla="*/ 0 w 120"/>
                <a:gd name="T37" fmla="*/ 0 h 49"/>
                <a:gd name="T38" fmla="*/ 0 w 120"/>
                <a:gd name="T39" fmla="*/ 1 h 49"/>
                <a:gd name="T40" fmla="*/ 0 w 120"/>
                <a:gd name="T41" fmla="*/ 1 h 49"/>
                <a:gd name="T42" fmla="*/ 0 w 120"/>
                <a:gd name="T43" fmla="*/ 2 h 49"/>
                <a:gd name="T44" fmla="*/ 0 w 120"/>
                <a:gd name="T45" fmla="*/ 2 h 49"/>
                <a:gd name="T46" fmla="*/ 0 w 120"/>
                <a:gd name="T47" fmla="*/ 2 h 49"/>
                <a:gd name="T48" fmla="*/ 1 w 120"/>
                <a:gd name="T49" fmla="*/ 2 h 49"/>
                <a:gd name="T50" fmla="*/ 1 w 120"/>
                <a:gd name="T51" fmla="*/ 2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49"/>
                <a:gd name="T80" fmla="*/ 120 w 120"/>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59" name="Freeform 409"/>
            <p:cNvSpPr>
              <a:spLocks/>
            </p:cNvSpPr>
            <p:nvPr/>
          </p:nvSpPr>
          <p:spPr bwMode="auto">
            <a:xfrm>
              <a:off x="1441" y="1194"/>
              <a:ext cx="26" cy="19"/>
            </a:xfrm>
            <a:custGeom>
              <a:avLst/>
              <a:gdLst>
                <a:gd name="T0" fmla="*/ 1 w 85"/>
                <a:gd name="T1" fmla="*/ 0 h 61"/>
                <a:gd name="T2" fmla="*/ 1 w 85"/>
                <a:gd name="T3" fmla="*/ 0 h 61"/>
                <a:gd name="T4" fmla="*/ 0 w 85"/>
                <a:gd name="T5" fmla="*/ 0 h 61"/>
                <a:gd name="T6" fmla="*/ 0 w 85"/>
                <a:gd name="T7" fmla="*/ 1 h 61"/>
                <a:gd name="T8" fmla="*/ 0 w 85"/>
                <a:gd name="T9" fmla="*/ 1 h 61"/>
                <a:gd name="T10" fmla="*/ 0 w 85"/>
                <a:gd name="T11" fmla="*/ 1 h 61"/>
                <a:gd name="T12" fmla="*/ 0 w 85"/>
                <a:gd name="T13" fmla="*/ 1 h 61"/>
                <a:gd name="T14" fmla="*/ 0 w 85"/>
                <a:gd name="T15" fmla="*/ 1 h 61"/>
                <a:gd name="T16" fmla="*/ 0 w 85"/>
                <a:gd name="T17" fmla="*/ 1 h 61"/>
                <a:gd name="T18" fmla="*/ 0 w 85"/>
                <a:gd name="T19" fmla="*/ 1 h 61"/>
                <a:gd name="T20" fmla="*/ 0 w 85"/>
                <a:gd name="T21" fmla="*/ 1 h 61"/>
                <a:gd name="T22" fmla="*/ 0 w 85"/>
                <a:gd name="T23" fmla="*/ 2 h 61"/>
                <a:gd name="T24" fmla="*/ 1 w 85"/>
                <a:gd name="T25" fmla="*/ 2 h 61"/>
                <a:gd name="T26" fmla="*/ 1 w 85"/>
                <a:gd name="T27" fmla="*/ 2 h 61"/>
                <a:gd name="T28" fmla="*/ 1 w 85"/>
                <a:gd name="T29" fmla="*/ 2 h 61"/>
                <a:gd name="T30" fmla="*/ 1 w 85"/>
                <a:gd name="T31" fmla="*/ 2 h 61"/>
                <a:gd name="T32" fmla="*/ 2 w 85"/>
                <a:gd name="T33" fmla="*/ 2 h 61"/>
                <a:gd name="T34" fmla="*/ 2 w 85"/>
                <a:gd name="T35" fmla="*/ 2 h 61"/>
                <a:gd name="T36" fmla="*/ 2 w 85"/>
                <a:gd name="T37" fmla="*/ 2 h 61"/>
                <a:gd name="T38" fmla="*/ 2 w 85"/>
                <a:gd name="T39" fmla="*/ 2 h 61"/>
                <a:gd name="T40" fmla="*/ 2 w 85"/>
                <a:gd name="T41" fmla="*/ 2 h 61"/>
                <a:gd name="T42" fmla="*/ 2 w 85"/>
                <a:gd name="T43" fmla="*/ 2 h 61"/>
                <a:gd name="T44" fmla="*/ 2 w 85"/>
                <a:gd name="T45" fmla="*/ 2 h 61"/>
                <a:gd name="T46" fmla="*/ 2 w 85"/>
                <a:gd name="T47" fmla="*/ 1 h 61"/>
                <a:gd name="T48" fmla="*/ 2 w 85"/>
                <a:gd name="T49" fmla="*/ 1 h 61"/>
                <a:gd name="T50" fmla="*/ 2 w 85"/>
                <a:gd name="T51" fmla="*/ 1 h 61"/>
                <a:gd name="T52" fmla="*/ 2 w 85"/>
                <a:gd name="T53" fmla="*/ 1 h 61"/>
                <a:gd name="T54" fmla="*/ 1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
                <a:gd name="T85" fmla="*/ 0 h 61"/>
                <a:gd name="T86" fmla="*/ 85 w 85"/>
                <a:gd name="T87" fmla="*/ 61 h 6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60" name="Freeform 410"/>
            <p:cNvSpPr>
              <a:spLocks/>
            </p:cNvSpPr>
            <p:nvPr/>
          </p:nvSpPr>
          <p:spPr bwMode="auto">
            <a:xfrm>
              <a:off x="1254" y="1188"/>
              <a:ext cx="31" cy="6"/>
            </a:xfrm>
            <a:custGeom>
              <a:avLst/>
              <a:gdLst>
                <a:gd name="T0" fmla="*/ 0 w 100"/>
                <a:gd name="T1" fmla="*/ 0 h 19"/>
                <a:gd name="T2" fmla="*/ 0 w 100"/>
                <a:gd name="T3" fmla="*/ 0 h 19"/>
                <a:gd name="T4" fmla="*/ 0 w 100"/>
                <a:gd name="T5" fmla="*/ 1 h 19"/>
                <a:gd name="T6" fmla="*/ 1 w 100"/>
                <a:gd name="T7" fmla="*/ 1 h 19"/>
                <a:gd name="T8" fmla="*/ 1 w 100"/>
                <a:gd name="T9" fmla="*/ 1 h 19"/>
                <a:gd name="T10" fmla="*/ 3 w 100"/>
                <a:gd name="T11" fmla="*/ 0 h 19"/>
                <a:gd name="T12" fmla="*/ 2 w 100"/>
                <a:gd name="T13" fmla="*/ 0 h 19"/>
                <a:gd name="T14" fmla="*/ 2 w 100"/>
                <a:gd name="T15" fmla="*/ 0 h 19"/>
                <a:gd name="T16" fmla="*/ 1 w 100"/>
                <a:gd name="T17" fmla="*/ 0 h 19"/>
                <a:gd name="T18" fmla="*/ 1 w 100"/>
                <a:gd name="T19" fmla="*/ 0 h 19"/>
                <a:gd name="T20" fmla="*/ 0 w 100"/>
                <a:gd name="T21" fmla="*/ 0 h 19"/>
                <a:gd name="T22" fmla="*/ 0 w 100"/>
                <a:gd name="T23" fmla="*/ 0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
                <a:gd name="T37" fmla="*/ 0 h 19"/>
                <a:gd name="T38" fmla="*/ 100 w 100"/>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61" name="Freeform 411"/>
            <p:cNvSpPr>
              <a:spLocks/>
            </p:cNvSpPr>
            <p:nvPr/>
          </p:nvSpPr>
          <p:spPr bwMode="auto">
            <a:xfrm>
              <a:off x="1272" y="1168"/>
              <a:ext cx="53" cy="15"/>
            </a:xfrm>
            <a:custGeom>
              <a:avLst/>
              <a:gdLst>
                <a:gd name="T0" fmla="*/ 0 w 166"/>
                <a:gd name="T1" fmla="*/ 1 h 45"/>
                <a:gd name="T2" fmla="*/ 0 w 166"/>
                <a:gd name="T3" fmla="*/ 1 h 45"/>
                <a:gd name="T4" fmla="*/ 0 w 166"/>
                <a:gd name="T5" fmla="*/ 1 h 45"/>
                <a:gd name="T6" fmla="*/ 0 w 166"/>
                <a:gd name="T7" fmla="*/ 1 h 45"/>
                <a:gd name="T8" fmla="*/ 0 w 166"/>
                <a:gd name="T9" fmla="*/ 1 h 45"/>
                <a:gd name="T10" fmla="*/ 1 w 166"/>
                <a:gd name="T11" fmla="*/ 1 h 45"/>
                <a:gd name="T12" fmla="*/ 1 w 166"/>
                <a:gd name="T13" fmla="*/ 2 h 45"/>
                <a:gd name="T14" fmla="*/ 3 w 166"/>
                <a:gd name="T15" fmla="*/ 2 h 45"/>
                <a:gd name="T16" fmla="*/ 3 w 166"/>
                <a:gd name="T17" fmla="*/ 2 h 45"/>
                <a:gd name="T18" fmla="*/ 5 w 166"/>
                <a:gd name="T19" fmla="*/ 1 h 45"/>
                <a:gd name="T20" fmla="*/ 5 w 166"/>
                <a:gd name="T21" fmla="*/ 1 h 45"/>
                <a:gd name="T22" fmla="*/ 4 w 166"/>
                <a:gd name="T23" fmla="*/ 1 h 45"/>
                <a:gd name="T24" fmla="*/ 4 w 166"/>
                <a:gd name="T25" fmla="*/ 0 h 45"/>
                <a:gd name="T26" fmla="*/ 3 w 166"/>
                <a:gd name="T27" fmla="*/ 0 h 45"/>
                <a:gd name="T28" fmla="*/ 2 w 166"/>
                <a:gd name="T29" fmla="*/ 0 h 45"/>
                <a:gd name="T30" fmla="*/ 2 w 166"/>
                <a:gd name="T31" fmla="*/ 0 h 45"/>
                <a:gd name="T32" fmla="*/ 1 w 166"/>
                <a:gd name="T33" fmla="*/ 0 h 45"/>
                <a:gd name="T34" fmla="*/ 1 w 166"/>
                <a:gd name="T35" fmla="*/ 0 h 45"/>
                <a:gd name="T36" fmla="*/ 1 w 166"/>
                <a:gd name="T37" fmla="*/ 0 h 45"/>
                <a:gd name="T38" fmla="*/ 0 w 166"/>
                <a:gd name="T39" fmla="*/ 0 h 45"/>
                <a:gd name="T40" fmla="*/ 0 w 166"/>
                <a:gd name="T41" fmla="*/ 0 h 45"/>
                <a:gd name="T42" fmla="*/ 0 w 166"/>
                <a:gd name="T43" fmla="*/ 0 h 45"/>
                <a:gd name="T44" fmla="*/ 0 w 166"/>
                <a:gd name="T45" fmla="*/ 0 h 45"/>
                <a:gd name="T46" fmla="*/ 0 w 166"/>
                <a:gd name="T47" fmla="*/ 1 h 45"/>
                <a:gd name="T48" fmla="*/ 0 w 166"/>
                <a:gd name="T49" fmla="*/ 1 h 45"/>
                <a:gd name="T50" fmla="*/ 0 w 166"/>
                <a:gd name="T51" fmla="*/ 1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6"/>
                <a:gd name="T79" fmla="*/ 0 h 45"/>
                <a:gd name="T80" fmla="*/ 166 w 166"/>
                <a:gd name="T81" fmla="*/ 45 h 4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62" name="Freeform 412"/>
            <p:cNvSpPr>
              <a:spLocks/>
            </p:cNvSpPr>
            <p:nvPr/>
          </p:nvSpPr>
          <p:spPr bwMode="auto">
            <a:xfrm>
              <a:off x="1488" y="1422"/>
              <a:ext cx="11" cy="8"/>
            </a:xfrm>
            <a:custGeom>
              <a:avLst/>
              <a:gdLst>
                <a:gd name="T0" fmla="*/ 0 w 33"/>
                <a:gd name="T1" fmla="*/ 0 h 25"/>
                <a:gd name="T2" fmla="*/ 0 w 33"/>
                <a:gd name="T3" fmla="*/ 0 h 25"/>
                <a:gd name="T4" fmla="*/ 0 w 33"/>
                <a:gd name="T5" fmla="*/ 1 h 25"/>
                <a:gd name="T6" fmla="*/ 0 w 33"/>
                <a:gd name="T7" fmla="*/ 1 h 25"/>
                <a:gd name="T8" fmla="*/ 0 w 33"/>
                <a:gd name="T9" fmla="*/ 1 h 25"/>
                <a:gd name="T10" fmla="*/ 1 w 33"/>
                <a:gd name="T11" fmla="*/ 1 h 25"/>
                <a:gd name="T12" fmla="*/ 1 w 33"/>
                <a:gd name="T13" fmla="*/ 1 h 25"/>
                <a:gd name="T14" fmla="*/ 1 w 33"/>
                <a:gd name="T15" fmla="*/ 1 h 25"/>
                <a:gd name="T16" fmla="*/ 1 w 33"/>
                <a:gd name="T17" fmla="*/ 1 h 25"/>
                <a:gd name="T18" fmla="*/ 1 w 33"/>
                <a:gd name="T19" fmla="*/ 0 h 25"/>
                <a:gd name="T20" fmla="*/ 1 w 33"/>
                <a:gd name="T21" fmla="*/ 0 h 25"/>
                <a:gd name="T22" fmla="*/ 1 w 33"/>
                <a:gd name="T23" fmla="*/ 0 h 25"/>
                <a:gd name="T24" fmla="*/ 0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
                <a:gd name="T43" fmla="*/ 0 h 25"/>
                <a:gd name="T44" fmla="*/ 33 w 33"/>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63" name="Freeform 413"/>
            <p:cNvSpPr>
              <a:spLocks/>
            </p:cNvSpPr>
            <p:nvPr/>
          </p:nvSpPr>
          <p:spPr bwMode="auto">
            <a:xfrm>
              <a:off x="1605" y="1729"/>
              <a:ext cx="16" cy="20"/>
            </a:xfrm>
            <a:custGeom>
              <a:avLst/>
              <a:gdLst>
                <a:gd name="T0" fmla="*/ 0 w 48"/>
                <a:gd name="T1" fmla="*/ 2 h 62"/>
                <a:gd name="T2" fmla="*/ 0 w 48"/>
                <a:gd name="T3" fmla="*/ 2 h 62"/>
                <a:gd name="T4" fmla="*/ 1 w 48"/>
                <a:gd name="T5" fmla="*/ 2 h 62"/>
                <a:gd name="T6" fmla="*/ 1 w 48"/>
                <a:gd name="T7" fmla="*/ 2 h 62"/>
                <a:gd name="T8" fmla="*/ 1 w 48"/>
                <a:gd name="T9" fmla="*/ 1 h 62"/>
                <a:gd name="T10" fmla="*/ 2 w 48"/>
                <a:gd name="T11" fmla="*/ 1 h 62"/>
                <a:gd name="T12" fmla="*/ 2 w 48"/>
                <a:gd name="T13" fmla="*/ 1 h 62"/>
                <a:gd name="T14" fmla="*/ 2 w 48"/>
                <a:gd name="T15" fmla="*/ 0 h 62"/>
                <a:gd name="T16" fmla="*/ 2 w 48"/>
                <a:gd name="T17" fmla="*/ 0 h 62"/>
                <a:gd name="T18" fmla="*/ 1 w 48"/>
                <a:gd name="T19" fmla="*/ 0 h 62"/>
                <a:gd name="T20" fmla="*/ 1 w 48"/>
                <a:gd name="T21" fmla="*/ 0 h 62"/>
                <a:gd name="T22" fmla="*/ 1 w 48"/>
                <a:gd name="T23" fmla="*/ 0 h 62"/>
                <a:gd name="T24" fmla="*/ 1 w 48"/>
                <a:gd name="T25" fmla="*/ 1 h 62"/>
                <a:gd name="T26" fmla="*/ 0 w 48"/>
                <a:gd name="T27" fmla="*/ 1 h 62"/>
                <a:gd name="T28" fmla="*/ 0 w 48"/>
                <a:gd name="T29" fmla="*/ 1 h 62"/>
                <a:gd name="T30" fmla="*/ 0 w 48"/>
                <a:gd name="T31" fmla="*/ 1 h 62"/>
                <a:gd name="T32" fmla="*/ 0 w 48"/>
                <a:gd name="T33" fmla="*/ 1 h 62"/>
                <a:gd name="T34" fmla="*/ 0 w 48"/>
                <a:gd name="T35" fmla="*/ 1 h 62"/>
                <a:gd name="T36" fmla="*/ 0 w 48"/>
                <a:gd name="T37" fmla="*/ 2 h 62"/>
                <a:gd name="T38" fmla="*/ 0 w 48"/>
                <a:gd name="T39" fmla="*/ 2 h 62"/>
                <a:gd name="T40" fmla="*/ 0 w 48"/>
                <a:gd name="T41" fmla="*/ 2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8"/>
                <a:gd name="T64" fmla="*/ 0 h 62"/>
                <a:gd name="T65" fmla="*/ 48 w 48"/>
                <a:gd name="T66" fmla="*/ 62 h 6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64" name="Freeform 414"/>
            <p:cNvSpPr>
              <a:spLocks/>
            </p:cNvSpPr>
            <p:nvPr/>
          </p:nvSpPr>
          <p:spPr bwMode="auto">
            <a:xfrm>
              <a:off x="1554" y="1729"/>
              <a:ext cx="36" cy="20"/>
            </a:xfrm>
            <a:custGeom>
              <a:avLst/>
              <a:gdLst>
                <a:gd name="T0" fmla="*/ 2 w 113"/>
                <a:gd name="T1" fmla="*/ 0 h 62"/>
                <a:gd name="T2" fmla="*/ 1 w 113"/>
                <a:gd name="T3" fmla="*/ 0 h 62"/>
                <a:gd name="T4" fmla="*/ 1 w 113"/>
                <a:gd name="T5" fmla="*/ 1 h 62"/>
                <a:gd name="T6" fmla="*/ 0 w 113"/>
                <a:gd name="T7" fmla="*/ 1 h 62"/>
                <a:gd name="T8" fmla="*/ 0 w 113"/>
                <a:gd name="T9" fmla="*/ 1 h 62"/>
                <a:gd name="T10" fmla="*/ 1 w 113"/>
                <a:gd name="T11" fmla="*/ 2 h 62"/>
                <a:gd name="T12" fmla="*/ 1 w 113"/>
                <a:gd name="T13" fmla="*/ 2 h 62"/>
                <a:gd name="T14" fmla="*/ 2 w 113"/>
                <a:gd name="T15" fmla="*/ 2 h 62"/>
                <a:gd name="T16" fmla="*/ 2 w 113"/>
                <a:gd name="T17" fmla="*/ 2 h 62"/>
                <a:gd name="T18" fmla="*/ 2 w 113"/>
                <a:gd name="T19" fmla="*/ 2 h 62"/>
                <a:gd name="T20" fmla="*/ 3 w 113"/>
                <a:gd name="T21" fmla="*/ 2 h 62"/>
                <a:gd name="T22" fmla="*/ 3 w 113"/>
                <a:gd name="T23" fmla="*/ 2 h 62"/>
                <a:gd name="T24" fmla="*/ 4 w 113"/>
                <a:gd name="T25" fmla="*/ 2 h 62"/>
                <a:gd name="T26" fmla="*/ 4 w 113"/>
                <a:gd name="T27" fmla="*/ 2 h 62"/>
                <a:gd name="T28" fmla="*/ 4 w 113"/>
                <a:gd name="T29" fmla="*/ 2 h 62"/>
                <a:gd name="T30" fmla="*/ 4 w 113"/>
                <a:gd name="T31" fmla="*/ 2 h 62"/>
                <a:gd name="T32" fmla="*/ 4 w 113"/>
                <a:gd name="T33" fmla="*/ 2 h 62"/>
                <a:gd name="T34" fmla="*/ 3 w 113"/>
                <a:gd name="T35" fmla="*/ 1 h 62"/>
                <a:gd name="T36" fmla="*/ 2 w 113"/>
                <a:gd name="T37" fmla="*/ 1 h 62"/>
                <a:gd name="T38" fmla="*/ 2 w 113"/>
                <a:gd name="T39" fmla="*/ 1 h 62"/>
                <a:gd name="T40" fmla="*/ 2 w 113"/>
                <a:gd name="T41" fmla="*/ 1 h 62"/>
                <a:gd name="T42" fmla="*/ 2 w 113"/>
                <a:gd name="T43" fmla="*/ 1 h 62"/>
                <a:gd name="T44" fmla="*/ 2 w 113"/>
                <a:gd name="T45" fmla="*/ 1 h 62"/>
                <a:gd name="T46" fmla="*/ 2 w 113"/>
                <a:gd name="T47" fmla="*/ 1 h 62"/>
                <a:gd name="T48" fmla="*/ 2 w 113"/>
                <a:gd name="T49" fmla="*/ 0 h 62"/>
                <a:gd name="T50" fmla="*/ 2 w 113"/>
                <a:gd name="T51" fmla="*/ 0 h 62"/>
                <a:gd name="T52" fmla="*/ 2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3"/>
                <a:gd name="T82" fmla="*/ 0 h 62"/>
                <a:gd name="T83" fmla="*/ 113 w 113"/>
                <a:gd name="T84" fmla="*/ 62 h 6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65" name="Freeform 415"/>
            <p:cNvSpPr>
              <a:spLocks/>
            </p:cNvSpPr>
            <p:nvPr/>
          </p:nvSpPr>
          <p:spPr bwMode="auto">
            <a:xfrm>
              <a:off x="1748" y="1188"/>
              <a:ext cx="29" cy="15"/>
            </a:xfrm>
            <a:custGeom>
              <a:avLst/>
              <a:gdLst>
                <a:gd name="T0" fmla="*/ 0 w 93"/>
                <a:gd name="T1" fmla="*/ 0 h 50"/>
                <a:gd name="T2" fmla="*/ 1 w 93"/>
                <a:gd name="T3" fmla="*/ 0 h 50"/>
                <a:gd name="T4" fmla="*/ 1 w 93"/>
                <a:gd name="T5" fmla="*/ 0 h 50"/>
                <a:gd name="T6" fmla="*/ 1 w 93"/>
                <a:gd name="T7" fmla="*/ 0 h 50"/>
                <a:gd name="T8" fmla="*/ 2 w 93"/>
                <a:gd name="T9" fmla="*/ 0 h 50"/>
                <a:gd name="T10" fmla="*/ 2 w 93"/>
                <a:gd name="T11" fmla="*/ 0 h 50"/>
                <a:gd name="T12" fmla="*/ 2 w 93"/>
                <a:gd name="T13" fmla="*/ 0 h 50"/>
                <a:gd name="T14" fmla="*/ 2 w 93"/>
                <a:gd name="T15" fmla="*/ 0 h 50"/>
                <a:gd name="T16" fmla="*/ 2 w 93"/>
                <a:gd name="T17" fmla="*/ 1 h 50"/>
                <a:gd name="T18" fmla="*/ 2 w 93"/>
                <a:gd name="T19" fmla="*/ 1 h 50"/>
                <a:gd name="T20" fmla="*/ 3 w 93"/>
                <a:gd name="T21" fmla="*/ 1 h 50"/>
                <a:gd name="T22" fmla="*/ 3 w 93"/>
                <a:gd name="T23" fmla="*/ 1 h 50"/>
                <a:gd name="T24" fmla="*/ 3 w 93"/>
                <a:gd name="T25" fmla="*/ 1 h 50"/>
                <a:gd name="T26" fmla="*/ 2 w 93"/>
                <a:gd name="T27" fmla="*/ 1 h 50"/>
                <a:gd name="T28" fmla="*/ 2 w 93"/>
                <a:gd name="T29" fmla="*/ 1 h 50"/>
                <a:gd name="T30" fmla="*/ 2 w 93"/>
                <a:gd name="T31" fmla="*/ 1 h 50"/>
                <a:gd name="T32" fmla="*/ 2 w 93"/>
                <a:gd name="T33" fmla="*/ 1 h 50"/>
                <a:gd name="T34" fmla="*/ 1 w 93"/>
                <a:gd name="T35" fmla="*/ 1 h 50"/>
                <a:gd name="T36" fmla="*/ 1 w 93"/>
                <a:gd name="T37" fmla="*/ 2 h 50"/>
                <a:gd name="T38" fmla="*/ 1 w 93"/>
                <a:gd name="T39" fmla="*/ 2 h 50"/>
                <a:gd name="T40" fmla="*/ 1 w 93"/>
                <a:gd name="T41" fmla="*/ 1 h 50"/>
                <a:gd name="T42" fmla="*/ 1 w 93"/>
                <a:gd name="T43" fmla="*/ 1 h 50"/>
                <a:gd name="T44" fmla="*/ 1 w 93"/>
                <a:gd name="T45" fmla="*/ 1 h 50"/>
                <a:gd name="T46" fmla="*/ 1 w 93"/>
                <a:gd name="T47" fmla="*/ 1 h 50"/>
                <a:gd name="T48" fmla="*/ 1 w 93"/>
                <a:gd name="T49" fmla="*/ 1 h 50"/>
                <a:gd name="T50" fmla="*/ 1 w 93"/>
                <a:gd name="T51" fmla="*/ 1 h 50"/>
                <a:gd name="T52" fmla="*/ 1 w 93"/>
                <a:gd name="T53" fmla="*/ 1 h 50"/>
                <a:gd name="T54" fmla="*/ 1 w 93"/>
                <a:gd name="T55" fmla="*/ 1 h 50"/>
                <a:gd name="T56" fmla="*/ 1 w 93"/>
                <a:gd name="T57" fmla="*/ 1 h 50"/>
                <a:gd name="T58" fmla="*/ 0 w 93"/>
                <a:gd name="T59" fmla="*/ 1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3"/>
                <a:gd name="T94" fmla="*/ 0 h 50"/>
                <a:gd name="T95" fmla="*/ 93 w 93"/>
                <a:gd name="T96" fmla="*/ 50 h 5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66" name="Freeform 416"/>
            <p:cNvSpPr>
              <a:spLocks/>
            </p:cNvSpPr>
            <p:nvPr/>
          </p:nvSpPr>
          <p:spPr bwMode="auto">
            <a:xfrm>
              <a:off x="1436" y="1246"/>
              <a:ext cx="331" cy="198"/>
            </a:xfrm>
            <a:custGeom>
              <a:avLst/>
              <a:gdLst>
                <a:gd name="T0" fmla="*/ 1 w 1029"/>
                <a:gd name="T1" fmla="*/ 4 h 604"/>
                <a:gd name="T2" fmla="*/ 2 w 1029"/>
                <a:gd name="T3" fmla="*/ 2 h 604"/>
                <a:gd name="T4" fmla="*/ 9 w 1029"/>
                <a:gd name="T5" fmla="*/ 0 h 604"/>
                <a:gd name="T6" fmla="*/ 7 w 1029"/>
                <a:gd name="T7" fmla="*/ 2 h 604"/>
                <a:gd name="T8" fmla="*/ 6 w 1029"/>
                <a:gd name="T9" fmla="*/ 4 h 604"/>
                <a:gd name="T10" fmla="*/ 9 w 1029"/>
                <a:gd name="T11" fmla="*/ 2 h 604"/>
                <a:gd name="T12" fmla="*/ 13 w 1029"/>
                <a:gd name="T13" fmla="*/ 1 h 604"/>
                <a:gd name="T14" fmla="*/ 14 w 1029"/>
                <a:gd name="T15" fmla="*/ 1 h 604"/>
                <a:gd name="T16" fmla="*/ 14 w 1029"/>
                <a:gd name="T17" fmla="*/ 3 h 604"/>
                <a:gd name="T18" fmla="*/ 19 w 1029"/>
                <a:gd name="T19" fmla="*/ 3 h 604"/>
                <a:gd name="T20" fmla="*/ 23 w 1029"/>
                <a:gd name="T21" fmla="*/ 3 h 604"/>
                <a:gd name="T22" fmla="*/ 25 w 1029"/>
                <a:gd name="T23" fmla="*/ 4 h 604"/>
                <a:gd name="T24" fmla="*/ 25 w 1029"/>
                <a:gd name="T25" fmla="*/ 5 h 604"/>
                <a:gd name="T26" fmla="*/ 24 w 1029"/>
                <a:gd name="T27" fmla="*/ 7 h 604"/>
                <a:gd name="T28" fmla="*/ 27 w 1029"/>
                <a:gd name="T29" fmla="*/ 6 h 604"/>
                <a:gd name="T30" fmla="*/ 29 w 1029"/>
                <a:gd name="T31" fmla="*/ 7 h 604"/>
                <a:gd name="T32" fmla="*/ 28 w 1029"/>
                <a:gd name="T33" fmla="*/ 9 h 604"/>
                <a:gd name="T34" fmla="*/ 26 w 1029"/>
                <a:gd name="T35" fmla="*/ 9 h 604"/>
                <a:gd name="T36" fmla="*/ 29 w 1029"/>
                <a:gd name="T37" fmla="*/ 10 h 604"/>
                <a:gd name="T38" fmla="*/ 30 w 1029"/>
                <a:gd name="T39" fmla="*/ 11 h 604"/>
                <a:gd name="T40" fmla="*/ 32 w 1029"/>
                <a:gd name="T41" fmla="*/ 11 h 604"/>
                <a:gd name="T42" fmla="*/ 34 w 1029"/>
                <a:gd name="T43" fmla="*/ 12 h 604"/>
                <a:gd name="T44" fmla="*/ 31 w 1029"/>
                <a:gd name="T45" fmla="*/ 14 h 604"/>
                <a:gd name="T46" fmla="*/ 30 w 1029"/>
                <a:gd name="T47" fmla="*/ 15 h 604"/>
                <a:gd name="T48" fmla="*/ 29 w 1029"/>
                <a:gd name="T49" fmla="*/ 16 h 604"/>
                <a:gd name="T50" fmla="*/ 28 w 1029"/>
                <a:gd name="T51" fmla="*/ 15 h 604"/>
                <a:gd name="T52" fmla="*/ 28 w 1029"/>
                <a:gd name="T53" fmla="*/ 14 h 604"/>
                <a:gd name="T54" fmla="*/ 26 w 1029"/>
                <a:gd name="T55" fmla="*/ 13 h 604"/>
                <a:gd name="T56" fmla="*/ 25 w 1029"/>
                <a:gd name="T57" fmla="*/ 13 h 604"/>
                <a:gd name="T58" fmla="*/ 25 w 1029"/>
                <a:gd name="T59" fmla="*/ 14 h 604"/>
                <a:gd name="T60" fmla="*/ 25 w 1029"/>
                <a:gd name="T61" fmla="*/ 16 h 604"/>
                <a:gd name="T62" fmla="*/ 26 w 1029"/>
                <a:gd name="T63" fmla="*/ 18 h 604"/>
                <a:gd name="T64" fmla="*/ 26 w 1029"/>
                <a:gd name="T65" fmla="*/ 19 h 604"/>
                <a:gd name="T66" fmla="*/ 23 w 1029"/>
                <a:gd name="T67" fmla="*/ 20 h 604"/>
                <a:gd name="T68" fmla="*/ 21 w 1029"/>
                <a:gd name="T69" fmla="*/ 18 h 604"/>
                <a:gd name="T70" fmla="*/ 22 w 1029"/>
                <a:gd name="T71" fmla="*/ 20 h 604"/>
                <a:gd name="T72" fmla="*/ 22 w 1029"/>
                <a:gd name="T73" fmla="*/ 21 h 604"/>
                <a:gd name="T74" fmla="*/ 17 w 1029"/>
                <a:gd name="T75" fmla="*/ 20 h 604"/>
                <a:gd name="T76" fmla="*/ 16 w 1029"/>
                <a:gd name="T77" fmla="*/ 18 h 604"/>
                <a:gd name="T78" fmla="*/ 14 w 1029"/>
                <a:gd name="T79" fmla="*/ 17 h 604"/>
                <a:gd name="T80" fmla="*/ 12 w 1029"/>
                <a:gd name="T81" fmla="*/ 16 h 604"/>
                <a:gd name="T82" fmla="*/ 13 w 1029"/>
                <a:gd name="T83" fmla="*/ 15 h 604"/>
                <a:gd name="T84" fmla="*/ 15 w 1029"/>
                <a:gd name="T85" fmla="*/ 14 h 604"/>
                <a:gd name="T86" fmla="*/ 17 w 1029"/>
                <a:gd name="T87" fmla="*/ 13 h 604"/>
                <a:gd name="T88" fmla="*/ 19 w 1029"/>
                <a:gd name="T89" fmla="*/ 13 h 604"/>
                <a:gd name="T90" fmla="*/ 21 w 1029"/>
                <a:gd name="T91" fmla="*/ 14 h 604"/>
                <a:gd name="T92" fmla="*/ 23 w 1029"/>
                <a:gd name="T93" fmla="*/ 14 h 604"/>
                <a:gd name="T94" fmla="*/ 19 w 1029"/>
                <a:gd name="T95" fmla="*/ 12 h 604"/>
                <a:gd name="T96" fmla="*/ 18 w 1029"/>
                <a:gd name="T97" fmla="*/ 13 h 604"/>
                <a:gd name="T98" fmla="*/ 18 w 1029"/>
                <a:gd name="T99" fmla="*/ 12 h 604"/>
                <a:gd name="T100" fmla="*/ 19 w 1029"/>
                <a:gd name="T101" fmla="*/ 11 h 604"/>
                <a:gd name="T102" fmla="*/ 19 w 1029"/>
                <a:gd name="T103" fmla="*/ 10 h 604"/>
                <a:gd name="T104" fmla="*/ 17 w 1029"/>
                <a:gd name="T105" fmla="*/ 9 h 604"/>
                <a:gd name="T106" fmla="*/ 16 w 1029"/>
                <a:gd name="T107" fmla="*/ 7 h 604"/>
                <a:gd name="T108" fmla="*/ 14 w 1029"/>
                <a:gd name="T109" fmla="*/ 6 h 604"/>
                <a:gd name="T110" fmla="*/ 14 w 1029"/>
                <a:gd name="T111" fmla="*/ 6 h 604"/>
                <a:gd name="T112" fmla="*/ 13 w 1029"/>
                <a:gd name="T113" fmla="*/ 7 h 604"/>
                <a:gd name="T114" fmla="*/ 7 w 1029"/>
                <a:gd name="T115" fmla="*/ 6 h 604"/>
                <a:gd name="T116" fmla="*/ 4 w 1029"/>
                <a:gd name="T117" fmla="*/ 7 h 604"/>
                <a:gd name="T118" fmla="*/ 3 w 1029"/>
                <a:gd name="T119" fmla="*/ 7 h 604"/>
                <a:gd name="T120" fmla="*/ 1 w 1029"/>
                <a:gd name="T121" fmla="*/ 6 h 604"/>
                <a:gd name="T122" fmla="*/ 0 w 1029"/>
                <a:gd name="T123" fmla="*/ 6 h 604"/>
                <a:gd name="T124" fmla="*/ 3 w 1029"/>
                <a:gd name="T125" fmla="*/ 5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9"/>
                <a:gd name="T190" fmla="*/ 0 h 604"/>
                <a:gd name="T191" fmla="*/ 1029 w 1029"/>
                <a:gd name="T192" fmla="*/ 604 h 6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67" name="Freeform 417"/>
            <p:cNvSpPr>
              <a:spLocks/>
            </p:cNvSpPr>
            <p:nvPr/>
          </p:nvSpPr>
          <p:spPr bwMode="auto">
            <a:xfrm>
              <a:off x="1528" y="1110"/>
              <a:ext cx="409" cy="105"/>
            </a:xfrm>
            <a:custGeom>
              <a:avLst/>
              <a:gdLst>
                <a:gd name="T0" fmla="*/ 27 w 1268"/>
                <a:gd name="T1" fmla="*/ 1 h 321"/>
                <a:gd name="T2" fmla="*/ 27 w 1268"/>
                <a:gd name="T3" fmla="*/ 1 h 321"/>
                <a:gd name="T4" fmla="*/ 28 w 1268"/>
                <a:gd name="T5" fmla="*/ 0 h 321"/>
                <a:gd name="T6" fmla="*/ 29 w 1268"/>
                <a:gd name="T7" fmla="*/ 1 h 321"/>
                <a:gd name="T8" fmla="*/ 32 w 1268"/>
                <a:gd name="T9" fmla="*/ 1 h 321"/>
                <a:gd name="T10" fmla="*/ 34 w 1268"/>
                <a:gd name="T11" fmla="*/ 0 h 321"/>
                <a:gd name="T12" fmla="*/ 36 w 1268"/>
                <a:gd name="T13" fmla="*/ 1 h 321"/>
                <a:gd name="T14" fmla="*/ 38 w 1268"/>
                <a:gd name="T15" fmla="*/ 1 h 321"/>
                <a:gd name="T16" fmla="*/ 43 w 1268"/>
                <a:gd name="T17" fmla="*/ 1 h 321"/>
                <a:gd name="T18" fmla="*/ 42 w 1268"/>
                <a:gd name="T19" fmla="*/ 2 h 321"/>
                <a:gd name="T20" fmla="*/ 39 w 1268"/>
                <a:gd name="T21" fmla="*/ 2 h 321"/>
                <a:gd name="T22" fmla="*/ 35 w 1268"/>
                <a:gd name="T23" fmla="*/ 3 h 321"/>
                <a:gd name="T24" fmla="*/ 35 w 1268"/>
                <a:gd name="T25" fmla="*/ 3 h 321"/>
                <a:gd name="T26" fmla="*/ 34 w 1268"/>
                <a:gd name="T27" fmla="*/ 4 h 321"/>
                <a:gd name="T28" fmla="*/ 32 w 1268"/>
                <a:gd name="T29" fmla="*/ 4 h 321"/>
                <a:gd name="T30" fmla="*/ 31 w 1268"/>
                <a:gd name="T31" fmla="*/ 4 h 321"/>
                <a:gd name="T32" fmla="*/ 25 w 1268"/>
                <a:gd name="T33" fmla="*/ 5 h 321"/>
                <a:gd name="T34" fmla="*/ 22 w 1268"/>
                <a:gd name="T35" fmla="*/ 6 h 321"/>
                <a:gd name="T36" fmla="*/ 21 w 1268"/>
                <a:gd name="T37" fmla="*/ 6 h 321"/>
                <a:gd name="T38" fmla="*/ 20 w 1268"/>
                <a:gd name="T39" fmla="*/ 6 h 321"/>
                <a:gd name="T40" fmla="*/ 19 w 1268"/>
                <a:gd name="T41" fmla="*/ 6 h 321"/>
                <a:gd name="T42" fmla="*/ 20 w 1268"/>
                <a:gd name="T43" fmla="*/ 7 h 321"/>
                <a:gd name="T44" fmla="*/ 18 w 1268"/>
                <a:gd name="T45" fmla="*/ 9 h 321"/>
                <a:gd name="T46" fmla="*/ 16 w 1268"/>
                <a:gd name="T47" fmla="*/ 8 h 321"/>
                <a:gd name="T48" fmla="*/ 14 w 1268"/>
                <a:gd name="T49" fmla="*/ 9 h 321"/>
                <a:gd name="T50" fmla="*/ 14 w 1268"/>
                <a:gd name="T51" fmla="*/ 9 h 321"/>
                <a:gd name="T52" fmla="*/ 13 w 1268"/>
                <a:gd name="T53" fmla="*/ 10 h 321"/>
                <a:gd name="T54" fmla="*/ 11 w 1268"/>
                <a:gd name="T55" fmla="*/ 11 h 321"/>
                <a:gd name="T56" fmla="*/ 10 w 1268"/>
                <a:gd name="T57" fmla="*/ 10 h 321"/>
                <a:gd name="T58" fmla="*/ 8 w 1268"/>
                <a:gd name="T59" fmla="*/ 10 h 321"/>
                <a:gd name="T60" fmla="*/ 3 w 1268"/>
                <a:gd name="T61" fmla="*/ 9 h 321"/>
                <a:gd name="T62" fmla="*/ 0 w 1268"/>
                <a:gd name="T63" fmla="*/ 10 h 321"/>
                <a:gd name="T64" fmla="*/ 0 w 1268"/>
                <a:gd name="T65" fmla="*/ 9 h 321"/>
                <a:gd name="T66" fmla="*/ 2 w 1268"/>
                <a:gd name="T67" fmla="*/ 9 h 321"/>
                <a:gd name="T68" fmla="*/ 5 w 1268"/>
                <a:gd name="T69" fmla="*/ 8 h 321"/>
                <a:gd name="T70" fmla="*/ 6 w 1268"/>
                <a:gd name="T71" fmla="*/ 8 h 321"/>
                <a:gd name="T72" fmla="*/ 6 w 1268"/>
                <a:gd name="T73" fmla="*/ 8 h 321"/>
                <a:gd name="T74" fmla="*/ 7 w 1268"/>
                <a:gd name="T75" fmla="*/ 8 h 321"/>
                <a:gd name="T76" fmla="*/ 8 w 1268"/>
                <a:gd name="T77" fmla="*/ 9 h 321"/>
                <a:gd name="T78" fmla="*/ 7 w 1268"/>
                <a:gd name="T79" fmla="*/ 7 h 321"/>
                <a:gd name="T80" fmla="*/ 6 w 1268"/>
                <a:gd name="T81" fmla="*/ 7 h 321"/>
                <a:gd name="T82" fmla="*/ 7 w 1268"/>
                <a:gd name="T83" fmla="*/ 6 h 321"/>
                <a:gd name="T84" fmla="*/ 8 w 1268"/>
                <a:gd name="T85" fmla="*/ 6 h 321"/>
                <a:gd name="T86" fmla="*/ 12 w 1268"/>
                <a:gd name="T87" fmla="*/ 7 h 321"/>
                <a:gd name="T88" fmla="*/ 14 w 1268"/>
                <a:gd name="T89" fmla="*/ 6 h 321"/>
                <a:gd name="T90" fmla="*/ 11 w 1268"/>
                <a:gd name="T91" fmla="*/ 6 h 321"/>
                <a:gd name="T92" fmla="*/ 10 w 1268"/>
                <a:gd name="T93" fmla="*/ 5 h 321"/>
                <a:gd name="T94" fmla="*/ 13 w 1268"/>
                <a:gd name="T95" fmla="*/ 5 h 321"/>
                <a:gd name="T96" fmla="*/ 15 w 1268"/>
                <a:gd name="T97" fmla="*/ 6 h 321"/>
                <a:gd name="T98" fmla="*/ 16 w 1268"/>
                <a:gd name="T99" fmla="*/ 4 h 321"/>
                <a:gd name="T100" fmla="*/ 22 w 1268"/>
                <a:gd name="T101" fmla="*/ 3 h 321"/>
                <a:gd name="T102" fmla="*/ 20 w 1268"/>
                <a:gd name="T103" fmla="*/ 4 h 321"/>
                <a:gd name="T104" fmla="*/ 15 w 1268"/>
                <a:gd name="T105" fmla="*/ 4 h 321"/>
                <a:gd name="T106" fmla="*/ 11 w 1268"/>
                <a:gd name="T107" fmla="*/ 4 h 321"/>
                <a:gd name="T108" fmla="*/ 8 w 1268"/>
                <a:gd name="T109" fmla="*/ 4 h 321"/>
                <a:gd name="T110" fmla="*/ 7 w 1268"/>
                <a:gd name="T111" fmla="*/ 3 h 321"/>
                <a:gd name="T112" fmla="*/ 8 w 1268"/>
                <a:gd name="T113" fmla="*/ 3 h 321"/>
                <a:gd name="T114" fmla="*/ 15 w 1268"/>
                <a:gd name="T115" fmla="*/ 2 h 321"/>
                <a:gd name="T116" fmla="*/ 21 w 1268"/>
                <a:gd name="T117" fmla="*/ 1 h 321"/>
                <a:gd name="T118" fmla="*/ 23 w 1268"/>
                <a:gd name="T119" fmla="*/ 1 h 321"/>
                <a:gd name="T120" fmla="*/ 25 w 1268"/>
                <a:gd name="T121" fmla="*/ 1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68"/>
                <a:gd name="T184" fmla="*/ 0 h 321"/>
                <a:gd name="T185" fmla="*/ 1268 w 1268"/>
                <a:gd name="T186" fmla="*/ 321 h 32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68" name="Freeform 418"/>
            <p:cNvSpPr>
              <a:spLocks/>
            </p:cNvSpPr>
            <p:nvPr/>
          </p:nvSpPr>
          <p:spPr bwMode="auto">
            <a:xfrm>
              <a:off x="553" y="1660"/>
              <a:ext cx="51" cy="38"/>
            </a:xfrm>
            <a:custGeom>
              <a:avLst/>
              <a:gdLst>
                <a:gd name="T0" fmla="*/ 0 w 160"/>
                <a:gd name="T1" fmla="*/ 0 h 117"/>
                <a:gd name="T2" fmla="*/ 0 w 160"/>
                <a:gd name="T3" fmla="*/ 0 h 117"/>
                <a:gd name="T4" fmla="*/ 0 w 160"/>
                <a:gd name="T5" fmla="*/ 1 h 117"/>
                <a:gd name="T6" fmla="*/ 0 w 160"/>
                <a:gd name="T7" fmla="*/ 1 h 117"/>
                <a:gd name="T8" fmla="*/ 1 w 160"/>
                <a:gd name="T9" fmla="*/ 1 h 117"/>
                <a:gd name="T10" fmla="*/ 1 w 160"/>
                <a:gd name="T11" fmla="*/ 2 h 117"/>
                <a:gd name="T12" fmla="*/ 1 w 160"/>
                <a:gd name="T13" fmla="*/ 2 h 117"/>
                <a:gd name="T14" fmla="*/ 1 w 160"/>
                <a:gd name="T15" fmla="*/ 2 h 117"/>
                <a:gd name="T16" fmla="*/ 2 w 160"/>
                <a:gd name="T17" fmla="*/ 3 h 117"/>
                <a:gd name="T18" fmla="*/ 2 w 160"/>
                <a:gd name="T19" fmla="*/ 3 h 117"/>
                <a:gd name="T20" fmla="*/ 2 w 160"/>
                <a:gd name="T21" fmla="*/ 3 h 117"/>
                <a:gd name="T22" fmla="*/ 3 w 160"/>
                <a:gd name="T23" fmla="*/ 3 h 117"/>
                <a:gd name="T24" fmla="*/ 3 w 160"/>
                <a:gd name="T25" fmla="*/ 4 h 117"/>
                <a:gd name="T26" fmla="*/ 4 w 160"/>
                <a:gd name="T27" fmla="*/ 4 h 117"/>
                <a:gd name="T28" fmla="*/ 4 w 160"/>
                <a:gd name="T29" fmla="*/ 4 h 117"/>
                <a:gd name="T30" fmla="*/ 4 w 160"/>
                <a:gd name="T31" fmla="*/ 4 h 117"/>
                <a:gd name="T32" fmla="*/ 4 w 160"/>
                <a:gd name="T33" fmla="*/ 4 h 117"/>
                <a:gd name="T34" fmla="*/ 4 w 160"/>
                <a:gd name="T35" fmla="*/ 4 h 117"/>
                <a:gd name="T36" fmla="*/ 5 w 160"/>
                <a:gd name="T37" fmla="*/ 4 h 117"/>
                <a:gd name="T38" fmla="*/ 5 w 160"/>
                <a:gd name="T39" fmla="*/ 4 h 117"/>
                <a:gd name="T40" fmla="*/ 5 w 160"/>
                <a:gd name="T41" fmla="*/ 4 h 117"/>
                <a:gd name="T42" fmla="*/ 5 w 160"/>
                <a:gd name="T43" fmla="*/ 3 h 117"/>
                <a:gd name="T44" fmla="*/ 4 w 160"/>
                <a:gd name="T45" fmla="*/ 3 h 117"/>
                <a:gd name="T46" fmla="*/ 4 w 160"/>
                <a:gd name="T47" fmla="*/ 3 h 117"/>
                <a:gd name="T48" fmla="*/ 4 w 160"/>
                <a:gd name="T49" fmla="*/ 2 h 117"/>
                <a:gd name="T50" fmla="*/ 4 w 160"/>
                <a:gd name="T51" fmla="*/ 2 h 117"/>
                <a:gd name="T52" fmla="*/ 4 w 160"/>
                <a:gd name="T53" fmla="*/ 2 h 117"/>
                <a:gd name="T54" fmla="*/ 4 w 160"/>
                <a:gd name="T55" fmla="*/ 2 h 117"/>
                <a:gd name="T56" fmla="*/ 4 w 160"/>
                <a:gd name="T57" fmla="*/ 2 h 117"/>
                <a:gd name="T58" fmla="*/ 4 w 160"/>
                <a:gd name="T59" fmla="*/ 1 h 117"/>
                <a:gd name="T60" fmla="*/ 3 w 160"/>
                <a:gd name="T61" fmla="*/ 1 h 117"/>
                <a:gd name="T62" fmla="*/ 3 w 160"/>
                <a:gd name="T63" fmla="*/ 1 h 117"/>
                <a:gd name="T64" fmla="*/ 3 w 160"/>
                <a:gd name="T65" fmla="*/ 1 h 117"/>
                <a:gd name="T66" fmla="*/ 3 w 160"/>
                <a:gd name="T67" fmla="*/ 1 h 117"/>
                <a:gd name="T68" fmla="*/ 2 w 160"/>
                <a:gd name="T69" fmla="*/ 0 h 117"/>
                <a:gd name="T70" fmla="*/ 2 w 160"/>
                <a:gd name="T71" fmla="*/ 0 h 117"/>
                <a:gd name="T72" fmla="*/ 2 w 160"/>
                <a:gd name="T73" fmla="*/ 0 h 117"/>
                <a:gd name="T74" fmla="*/ 2 w 160"/>
                <a:gd name="T75" fmla="*/ 0 h 117"/>
                <a:gd name="T76" fmla="*/ 2 w 160"/>
                <a:gd name="T77" fmla="*/ 0 h 117"/>
                <a:gd name="T78" fmla="*/ 1 w 160"/>
                <a:gd name="T79" fmla="*/ 0 h 117"/>
                <a:gd name="T80" fmla="*/ 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60"/>
                <a:gd name="T127" fmla="*/ 0 h 117"/>
                <a:gd name="T128" fmla="*/ 160 w 160"/>
                <a:gd name="T129" fmla="*/ 117 h 117"/>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69" name="Freeform 419"/>
            <p:cNvSpPr>
              <a:spLocks/>
            </p:cNvSpPr>
            <p:nvPr/>
          </p:nvSpPr>
          <p:spPr bwMode="auto">
            <a:xfrm>
              <a:off x="527" y="1592"/>
              <a:ext cx="26" cy="46"/>
            </a:xfrm>
            <a:custGeom>
              <a:avLst/>
              <a:gdLst>
                <a:gd name="T0" fmla="*/ 1 w 80"/>
                <a:gd name="T1" fmla="*/ 4 h 141"/>
                <a:gd name="T2" fmla="*/ 3 w 80"/>
                <a:gd name="T3" fmla="*/ 1 h 141"/>
                <a:gd name="T4" fmla="*/ 3 w 80"/>
                <a:gd name="T5" fmla="*/ 1 h 141"/>
                <a:gd name="T6" fmla="*/ 2 w 80"/>
                <a:gd name="T7" fmla="*/ 1 h 141"/>
                <a:gd name="T8" fmla="*/ 2 w 80"/>
                <a:gd name="T9" fmla="*/ 1 h 141"/>
                <a:gd name="T10" fmla="*/ 2 w 80"/>
                <a:gd name="T11" fmla="*/ 1 h 141"/>
                <a:gd name="T12" fmla="*/ 2 w 80"/>
                <a:gd name="T13" fmla="*/ 0 h 141"/>
                <a:gd name="T14" fmla="*/ 2 w 80"/>
                <a:gd name="T15" fmla="*/ 0 h 141"/>
                <a:gd name="T16" fmla="*/ 2 w 80"/>
                <a:gd name="T17" fmla="*/ 0 h 141"/>
                <a:gd name="T18" fmla="*/ 1 w 80"/>
                <a:gd name="T19" fmla="*/ 0 h 141"/>
                <a:gd name="T20" fmla="*/ 1 w 80"/>
                <a:gd name="T21" fmla="*/ 0 h 141"/>
                <a:gd name="T22" fmla="*/ 0 w 80"/>
                <a:gd name="T23" fmla="*/ 0 h 141"/>
                <a:gd name="T24" fmla="*/ 0 w 80"/>
                <a:gd name="T25" fmla="*/ 1 h 141"/>
                <a:gd name="T26" fmla="*/ 0 w 80"/>
                <a:gd name="T27" fmla="*/ 1 h 141"/>
                <a:gd name="T28" fmla="*/ 0 w 80"/>
                <a:gd name="T29" fmla="*/ 2 h 141"/>
                <a:gd name="T30" fmla="*/ 0 w 80"/>
                <a:gd name="T31" fmla="*/ 2 h 141"/>
                <a:gd name="T32" fmla="*/ 0 w 80"/>
                <a:gd name="T33" fmla="*/ 3 h 141"/>
                <a:gd name="T34" fmla="*/ 0 w 80"/>
                <a:gd name="T35" fmla="*/ 3 h 141"/>
                <a:gd name="T36" fmla="*/ 0 w 80"/>
                <a:gd name="T37" fmla="*/ 3 h 141"/>
                <a:gd name="T38" fmla="*/ 0 w 80"/>
                <a:gd name="T39" fmla="*/ 3 h 141"/>
                <a:gd name="T40" fmla="*/ 1 w 80"/>
                <a:gd name="T41" fmla="*/ 4 h 141"/>
                <a:gd name="T42" fmla="*/ 1 w 80"/>
                <a:gd name="T43" fmla="*/ 5 h 141"/>
                <a:gd name="T44" fmla="*/ 1 w 80"/>
                <a:gd name="T45" fmla="*/ 5 h 141"/>
                <a:gd name="T46" fmla="*/ 1 w 80"/>
                <a:gd name="T47" fmla="*/ 5 h 141"/>
                <a:gd name="T48" fmla="*/ 1 w 80"/>
                <a:gd name="T49" fmla="*/ 4 h 141"/>
                <a:gd name="T50" fmla="*/ 1 w 80"/>
                <a:gd name="T51" fmla="*/ 4 h 141"/>
                <a:gd name="T52" fmla="*/ 1 w 80"/>
                <a:gd name="T53" fmla="*/ 4 h 141"/>
                <a:gd name="T54" fmla="*/ 1 w 80"/>
                <a:gd name="T55" fmla="*/ 4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0"/>
                <a:gd name="T85" fmla="*/ 0 h 141"/>
                <a:gd name="T86" fmla="*/ 80 w 80"/>
                <a:gd name="T87" fmla="*/ 141 h 14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70" name="Freeform 420"/>
            <p:cNvSpPr>
              <a:spLocks/>
            </p:cNvSpPr>
            <p:nvPr/>
          </p:nvSpPr>
          <p:spPr bwMode="auto">
            <a:xfrm>
              <a:off x="1379" y="1383"/>
              <a:ext cx="83" cy="41"/>
            </a:xfrm>
            <a:custGeom>
              <a:avLst/>
              <a:gdLst>
                <a:gd name="T0" fmla="*/ 0 w 259"/>
                <a:gd name="T1" fmla="*/ 3 h 124"/>
                <a:gd name="T2" fmla="*/ 0 w 259"/>
                <a:gd name="T3" fmla="*/ 4 h 124"/>
                <a:gd name="T4" fmla="*/ 0 w 259"/>
                <a:gd name="T5" fmla="*/ 4 h 124"/>
                <a:gd name="T6" fmla="*/ 0 w 259"/>
                <a:gd name="T7" fmla="*/ 4 h 124"/>
                <a:gd name="T8" fmla="*/ 0 w 259"/>
                <a:gd name="T9" fmla="*/ 4 h 124"/>
                <a:gd name="T10" fmla="*/ 0 w 259"/>
                <a:gd name="T11" fmla="*/ 4 h 124"/>
                <a:gd name="T12" fmla="*/ 1 w 259"/>
                <a:gd name="T13" fmla="*/ 4 h 124"/>
                <a:gd name="T14" fmla="*/ 1 w 259"/>
                <a:gd name="T15" fmla="*/ 4 h 124"/>
                <a:gd name="T16" fmla="*/ 1 w 259"/>
                <a:gd name="T17" fmla="*/ 4 h 124"/>
                <a:gd name="T18" fmla="*/ 2 w 259"/>
                <a:gd name="T19" fmla="*/ 5 h 124"/>
                <a:gd name="T20" fmla="*/ 2 w 259"/>
                <a:gd name="T21" fmla="*/ 5 h 124"/>
                <a:gd name="T22" fmla="*/ 2 w 259"/>
                <a:gd name="T23" fmla="*/ 5 h 124"/>
                <a:gd name="T24" fmla="*/ 3 w 259"/>
                <a:gd name="T25" fmla="*/ 5 h 124"/>
                <a:gd name="T26" fmla="*/ 3 w 259"/>
                <a:gd name="T27" fmla="*/ 4 h 124"/>
                <a:gd name="T28" fmla="*/ 3 w 259"/>
                <a:gd name="T29" fmla="*/ 4 h 124"/>
                <a:gd name="T30" fmla="*/ 3 w 259"/>
                <a:gd name="T31" fmla="*/ 4 h 124"/>
                <a:gd name="T32" fmla="*/ 4 w 259"/>
                <a:gd name="T33" fmla="*/ 4 h 124"/>
                <a:gd name="T34" fmla="*/ 4 w 259"/>
                <a:gd name="T35" fmla="*/ 4 h 124"/>
                <a:gd name="T36" fmla="*/ 4 w 259"/>
                <a:gd name="T37" fmla="*/ 4 h 124"/>
                <a:gd name="T38" fmla="*/ 4 w 259"/>
                <a:gd name="T39" fmla="*/ 4 h 124"/>
                <a:gd name="T40" fmla="*/ 4 w 259"/>
                <a:gd name="T41" fmla="*/ 3 h 124"/>
                <a:gd name="T42" fmla="*/ 5 w 259"/>
                <a:gd name="T43" fmla="*/ 3 h 124"/>
                <a:gd name="T44" fmla="*/ 5 w 259"/>
                <a:gd name="T45" fmla="*/ 3 h 124"/>
                <a:gd name="T46" fmla="*/ 5 w 259"/>
                <a:gd name="T47" fmla="*/ 3 h 124"/>
                <a:gd name="T48" fmla="*/ 6 w 259"/>
                <a:gd name="T49" fmla="*/ 4 h 124"/>
                <a:gd name="T50" fmla="*/ 6 w 259"/>
                <a:gd name="T51" fmla="*/ 4 h 124"/>
                <a:gd name="T52" fmla="*/ 6 w 259"/>
                <a:gd name="T53" fmla="*/ 4 h 124"/>
                <a:gd name="T54" fmla="*/ 7 w 259"/>
                <a:gd name="T55" fmla="*/ 4 h 124"/>
                <a:gd name="T56" fmla="*/ 7 w 259"/>
                <a:gd name="T57" fmla="*/ 4 h 124"/>
                <a:gd name="T58" fmla="*/ 9 w 259"/>
                <a:gd name="T59" fmla="*/ 4 h 124"/>
                <a:gd name="T60" fmla="*/ 9 w 259"/>
                <a:gd name="T61" fmla="*/ 4 h 124"/>
                <a:gd name="T62" fmla="*/ 8 w 259"/>
                <a:gd name="T63" fmla="*/ 4 h 124"/>
                <a:gd name="T64" fmla="*/ 8 w 259"/>
                <a:gd name="T65" fmla="*/ 4 h 124"/>
                <a:gd name="T66" fmla="*/ 8 w 259"/>
                <a:gd name="T67" fmla="*/ 3 h 124"/>
                <a:gd name="T68" fmla="*/ 7 w 259"/>
                <a:gd name="T69" fmla="*/ 3 h 124"/>
                <a:gd name="T70" fmla="*/ 8 w 259"/>
                <a:gd name="T71" fmla="*/ 3 h 124"/>
                <a:gd name="T72" fmla="*/ 8 w 259"/>
                <a:gd name="T73" fmla="*/ 3 h 124"/>
                <a:gd name="T74" fmla="*/ 8 w 259"/>
                <a:gd name="T75" fmla="*/ 3 h 124"/>
                <a:gd name="T76" fmla="*/ 8 w 259"/>
                <a:gd name="T77" fmla="*/ 3 h 124"/>
                <a:gd name="T78" fmla="*/ 8 w 259"/>
                <a:gd name="T79" fmla="*/ 2 h 124"/>
                <a:gd name="T80" fmla="*/ 8 w 259"/>
                <a:gd name="T81" fmla="*/ 2 h 124"/>
                <a:gd name="T82" fmla="*/ 7 w 259"/>
                <a:gd name="T83" fmla="*/ 2 h 124"/>
                <a:gd name="T84" fmla="*/ 7 w 259"/>
                <a:gd name="T85" fmla="*/ 2 h 124"/>
                <a:gd name="T86" fmla="*/ 6 w 259"/>
                <a:gd name="T87" fmla="*/ 1 h 124"/>
                <a:gd name="T88" fmla="*/ 6 w 259"/>
                <a:gd name="T89" fmla="*/ 1 h 124"/>
                <a:gd name="T90" fmla="*/ 5 w 259"/>
                <a:gd name="T91" fmla="*/ 1 h 124"/>
                <a:gd name="T92" fmla="*/ 5 w 259"/>
                <a:gd name="T93" fmla="*/ 1 h 124"/>
                <a:gd name="T94" fmla="*/ 5 w 259"/>
                <a:gd name="T95" fmla="*/ 0 h 124"/>
                <a:gd name="T96" fmla="*/ 4 w 259"/>
                <a:gd name="T97" fmla="*/ 0 h 124"/>
                <a:gd name="T98" fmla="*/ 4 w 259"/>
                <a:gd name="T99" fmla="*/ 0 h 124"/>
                <a:gd name="T100" fmla="*/ 4 w 259"/>
                <a:gd name="T101" fmla="*/ 0 h 124"/>
                <a:gd name="T102" fmla="*/ 4 w 259"/>
                <a:gd name="T103" fmla="*/ 0 h 124"/>
                <a:gd name="T104" fmla="*/ 4 w 259"/>
                <a:gd name="T105" fmla="*/ 0 h 124"/>
                <a:gd name="T106" fmla="*/ 4 w 259"/>
                <a:gd name="T107" fmla="*/ 0 h 124"/>
                <a:gd name="T108" fmla="*/ 3 w 259"/>
                <a:gd name="T109" fmla="*/ 1 h 124"/>
                <a:gd name="T110" fmla="*/ 3 w 259"/>
                <a:gd name="T111" fmla="*/ 1 h 124"/>
                <a:gd name="T112" fmla="*/ 2 w 259"/>
                <a:gd name="T113" fmla="*/ 2 h 124"/>
                <a:gd name="T114" fmla="*/ 1 w 259"/>
                <a:gd name="T115" fmla="*/ 2 h 124"/>
                <a:gd name="T116" fmla="*/ 1 w 259"/>
                <a:gd name="T117" fmla="*/ 3 h 124"/>
                <a:gd name="T118" fmla="*/ 0 w 259"/>
                <a:gd name="T119" fmla="*/ 3 h 124"/>
                <a:gd name="T120" fmla="*/ 0 w 259"/>
                <a:gd name="T121" fmla="*/ 3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9"/>
                <a:gd name="T184" fmla="*/ 0 h 124"/>
                <a:gd name="T185" fmla="*/ 259 w 259"/>
                <a:gd name="T186" fmla="*/ 124 h 1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71" name="Freeform 421"/>
            <p:cNvSpPr>
              <a:spLocks/>
            </p:cNvSpPr>
            <p:nvPr/>
          </p:nvSpPr>
          <p:spPr bwMode="auto">
            <a:xfrm>
              <a:off x="1509" y="1389"/>
              <a:ext cx="38" cy="19"/>
            </a:xfrm>
            <a:custGeom>
              <a:avLst/>
              <a:gdLst>
                <a:gd name="T0" fmla="*/ 0 w 119"/>
                <a:gd name="T1" fmla="*/ 1 h 57"/>
                <a:gd name="T2" fmla="*/ 0 w 119"/>
                <a:gd name="T3" fmla="*/ 1 h 57"/>
                <a:gd name="T4" fmla="*/ 0 w 119"/>
                <a:gd name="T5" fmla="*/ 1 h 57"/>
                <a:gd name="T6" fmla="*/ 1 w 119"/>
                <a:gd name="T7" fmla="*/ 2 h 57"/>
                <a:gd name="T8" fmla="*/ 1 w 119"/>
                <a:gd name="T9" fmla="*/ 2 h 57"/>
                <a:gd name="T10" fmla="*/ 1 w 119"/>
                <a:gd name="T11" fmla="*/ 2 h 57"/>
                <a:gd name="T12" fmla="*/ 1 w 119"/>
                <a:gd name="T13" fmla="*/ 2 h 57"/>
                <a:gd name="T14" fmla="*/ 1 w 119"/>
                <a:gd name="T15" fmla="*/ 2 h 57"/>
                <a:gd name="T16" fmla="*/ 2 w 119"/>
                <a:gd name="T17" fmla="*/ 2 h 57"/>
                <a:gd name="T18" fmla="*/ 2 w 119"/>
                <a:gd name="T19" fmla="*/ 2 h 57"/>
                <a:gd name="T20" fmla="*/ 2 w 119"/>
                <a:gd name="T21" fmla="*/ 2 h 57"/>
                <a:gd name="T22" fmla="*/ 2 w 119"/>
                <a:gd name="T23" fmla="*/ 2 h 57"/>
                <a:gd name="T24" fmla="*/ 3 w 119"/>
                <a:gd name="T25" fmla="*/ 2 h 57"/>
                <a:gd name="T26" fmla="*/ 3 w 119"/>
                <a:gd name="T27" fmla="*/ 2 h 57"/>
                <a:gd name="T28" fmla="*/ 3 w 119"/>
                <a:gd name="T29" fmla="*/ 2 h 57"/>
                <a:gd name="T30" fmla="*/ 3 w 119"/>
                <a:gd name="T31" fmla="*/ 2 h 57"/>
                <a:gd name="T32" fmla="*/ 3 w 119"/>
                <a:gd name="T33" fmla="*/ 1 h 57"/>
                <a:gd name="T34" fmla="*/ 4 w 119"/>
                <a:gd name="T35" fmla="*/ 1 h 57"/>
                <a:gd name="T36" fmla="*/ 4 w 119"/>
                <a:gd name="T37" fmla="*/ 1 h 57"/>
                <a:gd name="T38" fmla="*/ 4 w 119"/>
                <a:gd name="T39" fmla="*/ 0 h 57"/>
                <a:gd name="T40" fmla="*/ 4 w 119"/>
                <a:gd name="T41" fmla="*/ 0 h 57"/>
                <a:gd name="T42" fmla="*/ 3 w 119"/>
                <a:gd name="T43" fmla="*/ 0 h 57"/>
                <a:gd name="T44" fmla="*/ 3 w 119"/>
                <a:gd name="T45" fmla="*/ 0 h 57"/>
                <a:gd name="T46" fmla="*/ 2 w 119"/>
                <a:gd name="T47" fmla="*/ 0 h 57"/>
                <a:gd name="T48" fmla="*/ 1 w 119"/>
                <a:gd name="T49" fmla="*/ 0 h 57"/>
                <a:gd name="T50" fmla="*/ 1 w 119"/>
                <a:gd name="T51" fmla="*/ 0 h 57"/>
                <a:gd name="T52" fmla="*/ 1 w 119"/>
                <a:gd name="T53" fmla="*/ 0 h 57"/>
                <a:gd name="T54" fmla="*/ 1 w 119"/>
                <a:gd name="T55" fmla="*/ 0 h 57"/>
                <a:gd name="T56" fmla="*/ 1 w 119"/>
                <a:gd name="T57" fmla="*/ 1 h 57"/>
                <a:gd name="T58" fmla="*/ 0 w 119"/>
                <a:gd name="T59" fmla="*/ 1 h 57"/>
                <a:gd name="T60" fmla="*/ 0 w 119"/>
                <a:gd name="T61" fmla="*/ 1 h 57"/>
                <a:gd name="T62" fmla="*/ 0 w 119"/>
                <a:gd name="T63" fmla="*/ 1 h 57"/>
                <a:gd name="T64" fmla="*/ 0 w 119"/>
                <a:gd name="T65" fmla="*/ 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19"/>
                <a:gd name="T100" fmla="*/ 0 h 57"/>
                <a:gd name="T101" fmla="*/ 119 w 119"/>
                <a:gd name="T102" fmla="*/ 57 h 5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72" name="Freeform 422"/>
            <p:cNvSpPr>
              <a:spLocks/>
            </p:cNvSpPr>
            <p:nvPr/>
          </p:nvSpPr>
          <p:spPr bwMode="auto">
            <a:xfrm>
              <a:off x="1554" y="1335"/>
              <a:ext cx="34" cy="17"/>
            </a:xfrm>
            <a:custGeom>
              <a:avLst/>
              <a:gdLst>
                <a:gd name="T0" fmla="*/ 0 w 107"/>
                <a:gd name="T1" fmla="*/ 2 h 52"/>
                <a:gd name="T2" fmla="*/ 0 w 107"/>
                <a:gd name="T3" fmla="*/ 2 h 52"/>
                <a:gd name="T4" fmla="*/ 0 w 107"/>
                <a:gd name="T5" fmla="*/ 2 h 52"/>
                <a:gd name="T6" fmla="*/ 0 w 107"/>
                <a:gd name="T7" fmla="*/ 2 h 52"/>
                <a:gd name="T8" fmla="*/ 1 w 107"/>
                <a:gd name="T9" fmla="*/ 2 h 52"/>
                <a:gd name="T10" fmla="*/ 1 w 107"/>
                <a:gd name="T11" fmla="*/ 2 h 52"/>
                <a:gd name="T12" fmla="*/ 1 w 107"/>
                <a:gd name="T13" fmla="*/ 2 h 52"/>
                <a:gd name="T14" fmla="*/ 1 w 107"/>
                <a:gd name="T15" fmla="*/ 2 h 52"/>
                <a:gd name="T16" fmla="*/ 2 w 107"/>
                <a:gd name="T17" fmla="*/ 2 h 52"/>
                <a:gd name="T18" fmla="*/ 2 w 107"/>
                <a:gd name="T19" fmla="*/ 2 h 52"/>
                <a:gd name="T20" fmla="*/ 2 w 107"/>
                <a:gd name="T21" fmla="*/ 2 h 52"/>
                <a:gd name="T22" fmla="*/ 3 w 107"/>
                <a:gd name="T23" fmla="*/ 1 h 52"/>
                <a:gd name="T24" fmla="*/ 3 w 107"/>
                <a:gd name="T25" fmla="*/ 1 h 52"/>
                <a:gd name="T26" fmla="*/ 3 w 107"/>
                <a:gd name="T27" fmla="*/ 1 h 52"/>
                <a:gd name="T28" fmla="*/ 3 w 107"/>
                <a:gd name="T29" fmla="*/ 1 h 52"/>
                <a:gd name="T30" fmla="*/ 3 w 107"/>
                <a:gd name="T31" fmla="*/ 0 h 52"/>
                <a:gd name="T32" fmla="*/ 3 w 107"/>
                <a:gd name="T33" fmla="*/ 0 h 52"/>
                <a:gd name="T34" fmla="*/ 3 w 107"/>
                <a:gd name="T35" fmla="*/ 0 h 52"/>
                <a:gd name="T36" fmla="*/ 2 w 107"/>
                <a:gd name="T37" fmla="*/ 0 h 52"/>
                <a:gd name="T38" fmla="*/ 2 w 107"/>
                <a:gd name="T39" fmla="*/ 0 h 52"/>
                <a:gd name="T40" fmla="*/ 1 w 107"/>
                <a:gd name="T41" fmla="*/ 1 h 52"/>
                <a:gd name="T42" fmla="*/ 1 w 107"/>
                <a:gd name="T43" fmla="*/ 1 h 52"/>
                <a:gd name="T44" fmla="*/ 1 w 107"/>
                <a:gd name="T45" fmla="*/ 1 h 52"/>
                <a:gd name="T46" fmla="*/ 0 w 107"/>
                <a:gd name="T47" fmla="*/ 1 h 52"/>
                <a:gd name="T48" fmla="*/ 0 w 107"/>
                <a:gd name="T49" fmla="*/ 2 h 52"/>
                <a:gd name="T50" fmla="*/ 0 w 107"/>
                <a:gd name="T51" fmla="*/ 2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7"/>
                <a:gd name="T79" fmla="*/ 0 h 52"/>
                <a:gd name="T80" fmla="*/ 107 w 107"/>
                <a:gd name="T81" fmla="*/ 52 h 5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73" name="Freeform 423"/>
            <p:cNvSpPr>
              <a:spLocks/>
            </p:cNvSpPr>
            <p:nvPr/>
          </p:nvSpPr>
          <p:spPr bwMode="auto">
            <a:xfrm>
              <a:off x="1381" y="1244"/>
              <a:ext cx="79" cy="32"/>
            </a:xfrm>
            <a:custGeom>
              <a:avLst/>
              <a:gdLst>
                <a:gd name="T0" fmla="*/ 1 w 246"/>
                <a:gd name="T1" fmla="*/ 3 h 99"/>
                <a:gd name="T2" fmla="*/ 1 w 246"/>
                <a:gd name="T3" fmla="*/ 3 h 99"/>
                <a:gd name="T4" fmla="*/ 1 w 246"/>
                <a:gd name="T5" fmla="*/ 3 h 99"/>
                <a:gd name="T6" fmla="*/ 0 w 246"/>
                <a:gd name="T7" fmla="*/ 3 h 99"/>
                <a:gd name="T8" fmla="*/ 0 w 246"/>
                <a:gd name="T9" fmla="*/ 3 h 99"/>
                <a:gd name="T10" fmla="*/ 0 w 246"/>
                <a:gd name="T11" fmla="*/ 3 h 99"/>
                <a:gd name="T12" fmla="*/ 0 w 246"/>
                <a:gd name="T13" fmla="*/ 3 h 99"/>
                <a:gd name="T14" fmla="*/ 0 w 246"/>
                <a:gd name="T15" fmla="*/ 3 h 99"/>
                <a:gd name="T16" fmla="*/ 0 w 246"/>
                <a:gd name="T17" fmla="*/ 3 h 99"/>
                <a:gd name="T18" fmla="*/ 0 w 246"/>
                <a:gd name="T19" fmla="*/ 2 h 99"/>
                <a:gd name="T20" fmla="*/ 0 w 246"/>
                <a:gd name="T21" fmla="*/ 2 h 99"/>
                <a:gd name="T22" fmla="*/ 0 w 246"/>
                <a:gd name="T23" fmla="*/ 2 h 99"/>
                <a:gd name="T24" fmla="*/ 0 w 246"/>
                <a:gd name="T25" fmla="*/ 2 h 99"/>
                <a:gd name="T26" fmla="*/ 0 w 246"/>
                <a:gd name="T27" fmla="*/ 2 h 99"/>
                <a:gd name="T28" fmla="*/ 1 w 246"/>
                <a:gd name="T29" fmla="*/ 1 h 99"/>
                <a:gd name="T30" fmla="*/ 1 w 246"/>
                <a:gd name="T31" fmla="*/ 1 h 99"/>
                <a:gd name="T32" fmla="*/ 1 w 246"/>
                <a:gd name="T33" fmla="*/ 1 h 99"/>
                <a:gd name="T34" fmla="*/ 2 w 246"/>
                <a:gd name="T35" fmla="*/ 1 h 99"/>
                <a:gd name="T36" fmla="*/ 2 w 246"/>
                <a:gd name="T37" fmla="*/ 1 h 99"/>
                <a:gd name="T38" fmla="*/ 2 w 246"/>
                <a:gd name="T39" fmla="*/ 1 h 99"/>
                <a:gd name="T40" fmla="*/ 3 w 246"/>
                <a:gd name="T41" fmla="*/ 0 h 99"/>
                <a:gd name="T42" fmla="*/ 3 w 246"/>
                <a:gd name="T43" fmla="*/ 0 h 99"/>
                <a:gd name="T44" fmla="*/ 4 w 246"/>
                <a:gd name="T45" fmla="*/ 0 h 99"/>
                <a:gd name="T46" fmla="*/ 4 w 246"/>
                <a:gd name="T47" fmla="*/ 0 h 99"/>
                <a:gd name="T48" fmla="*/ 4 w 246"/>
                <a:gd name="T49" fmla="*/ 0 h 99"/>
                <a:gd name="T50" fmla="*/ 5 w 246"/>
                <a:gd name="T51" fmla="*/ 0 h 99"/>
                <a:gd name="T52" fmla="*/ 6 w 246"/>
                <a:gd name="T53" fmla="*/ 0 h 99"/>
                <a:gd name="T54" fmla="*/ 7 w 246"/>
                <a:gd name="T55" fmla="*/ 0 h 99"/>
                <a:gd name="T56" fmla="*/ 8 w 246"/>
                <a:gd name="T57" fmla="*/ 0 h 99"/>
                <a:gd name="T58" fmla="*/ 8 w 246"/>
                <a:gd name="T59" fmla="*/ 0 h 99"/>
                <a:gd name="T60" fmla="*/ 8 w 246"/>
                <a:gd name="T61" fmla="*/ 1 h 99"/>
                <a:gd name="T62" fmla="*/ 8 w 246"/>
                <a:gd name="T63" fmla="*/ 1 h 99"/>
                <a:gd name="T64" fmla="*/ 8 w 246"/>
                <a:gd name="T65" fmla="*/ 1 h 99"/>
                <a:gd name="T66" fmla="*/ 7 w 246"/>
                <a:gd name="T67" fmla="*/ 1 h 99"/>
                <a:gd name="T68" fmla="*/ 7 w 246"/>
                <a:gd name="T69" fmla="*/ 2 h 99"/>
                <a:gd name="T70" fmla="*/ 6 w 246"/>
                <a:gd name="T71" fmla="*/ 2 h 99"/>
                <a:gd name="T72" fmla="*/ 5 w 246"/>
                <a:gd name="T73" fmla="*/ 2 h 99"/>
                <a:gd name="T74" fmla="*/ 5 w 246"/>
                <a:gd name="T75" fmla="*/ 2 h 99"/>
                <a:gd name="T76" fmla="*/ 5 w 246"/>
                <a:gd name="T77" fmla="*/ 2 h 99"/>
                <a:gd name="T78" fmla="*/ 4 w 246"/>
                <a:gd name="T79" fmla="*/ 2 h 99"/>
                <a:gd name="T80" fmla="*/ 4 w 246"/>
                <a:gd name="T81" fmla="*/ 2 h 99"/>
                <a:gd name="T82" fmla="*/ 4 w 246"/>
                <a:gd name="T83" fmla="*/ 2 h 99"/>
                <a:gd name="T84" fmla="*/ 4 w 246"/>
                <a:gd name="T85" fmla="*/ 2 h 99"/>
                <a:gd name="T86" fmla="*/ 3 w 246"/>
                <a:gd name="T87" fmla="*/ 2 h 99"/>
                <a:gd name="T88" fmla="*/ 3 w 246"/>
                <a:gd name="T89" fmla="*/ 2 h 99"/>
                <a:gd name="T90" fmla="*/ 3 w 246"/>
                <a:gd name="T91" fmla="*/ 2 h 99"/>
                <a:gd name="T92" fmla="*/ 3 w 246"/>
                <a:gd name="T93" fmla="*/ 2 h 99"/>
                <a:gd name="T94" fmla="*/ 2 w 246"/>
                <a:gd name="T95" fmla="*/ 3 h 99"/>
                <a:gd name="T96" fmla="*/ 2 w 246"/>
                <a:gd name="T97" fmla="*/ 3 h 99"/>
                <a:gd name="T98" fmla="*/ 2 w 246"/>
                <a:gd name="T99" fmla="*/ 3 h 99"/>
                <a:gd name="T100" fmla="*/ 1 w 246"/>
                <a:gd name="T101" fmla="*/ 3 h 99"/>
                <a:gd name="T102" fmla="*/ 1 w 246"/>
                <a:gd name="T103" fmla="*/ 3 h 99"/>
                <a:gd name="T104" fmla="*/ 1 w 246"/>
                <a:gd name="T105" fmla="*/ 3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99"/>
                <a:gd name="T161" fmla="*/ 246 w 246"/>
                <a:gd name="T162" fmla="*/ 99 h 9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74" name="Freeform 424"/>
            <p:cNvSpPr>
              <a:spLocks/>
            </p:cNvSpPr>
            <p:nvPr/>
          </p:nvSpPr>
          <p:spPr bwMode="auto">
            <a:xfrm>
              <a:off x="1294" y="1248"/>
              <a:ext cx="76" cy="40"/>
            </a:xfrm>
            <a:custGeom>
              <a:avLst/>
              <a:gdLst>
                <a:gd name="T0" fmla="*/ 1 w 233"/>
                <a:gd name="T1" fmla="*/ 3 h 123"/>
                <a:gd name="T2" fmla="*/ 0 w 233"/>
                <a:gd name="T3" fmla="*/ 3 h 123"/>
                <a:gd name="T4" fmla="*/ 0 w 233"/>
                <a:gd name="T5" fmla="*/ 2 h 123"/>
                <a:gd name="T6" fmla="*/ 1 w 233"/>
                <a:gd name="T7" fmla="*/ 1 h 123"/>
                <a:gd name="T8" fmla="*/ 1 w 233"/>
                <a:gd name="T9" fmla="*/ 1 h 123"/>
                <a:gd name="T10" fmla="*/ 2 w 233"/>
                <a:gd name="T11" fmla="*/ 1 h 123"/>
                <a:gd name="T12" fmla="*/ 3 w 233"/>
                <a:gd name="T13" fmla="*/ 1 h 123"/>
                <a:gd name="T14" fmla="*/ 3 w 233"/>
                <a:gd name="T15" fmla="*/ 1 h 123"/>
                <a:gd name="T16" fmla="*/ 4 w 233"/>
                <a:gd name="T17" fmla="*/ 1 h 123"/>
                <a:gd name="T18" fmla="*/ 4 w 233"/>
                <a:gd name="T19" fmla="*/ 0 h 123"/>
                <a:gd name="T20" fmla="*/ 5 w 233"/>
                <a:gd name="T21" fmla="*/ 0 h 123"/>
                <a:gd name="T22" fmla="*/ 6 w 233"/>
                <a:gd name="T23" fmla="*/ 0 h 123"/>
                <a:gd name="T24" fmla="*/ 6 w 233"/>
                <a:gd name="T25" fmla="*/ 0 h 123"/>
                <a:gd name="T26" fmla="*/ 7 w 233"/>
                <a:gd name="T27" fmla="*/ 0 h 123"/>
                <a:gd name="T28" fmla="*/ 7 w 233"/>
                <a:gd name="T29" fmla="*/ 0 h 123"/>
                <a:gd name="T30" fmla="*/ 8 w 233"/>
                <a:gd name="T31" fmla="*/ 0 h 123"/>
                <a:gd name="T32" fmla="*/ 8 w 233"/>
                <a:gd name="T33" fmla="*/ 0 h 123"/>
                <a:gd name="T34" fmla="*/ 8 w 233"/>
                <a:gd name="T35" fmla="*/ 1 h 123"/>
                <a:gd name="T36" fmla="*/ 8 w 233"/>
                <a:gd name="T37" fmla="*/ 1 h 123"/>
                <a:gd name="T38" fmla="*/ 7 w 233"/>
                <a:gd name="T39" fmla="*/ 1 h 123"/>
                <a:gd name="T40" fmla="*/ 7 w 233"/>
                <a:gd name="T41" fmla="*/ 2 h 123"/>
                <a:gd name="T42" fmla="*/ 7 w 233"/>
                <a:gd name="T43" fmla="*/ 2 h 123"/>
                <a:gd name="T44" fmla="*/ 7 w 233"/>
                <a:gd name="T45" fmla="*/ 3 h 123"/>
                <a:gd name="T46" fmla="*/ 6 w 233"/>
                <a:gd name="T47" fmla="*/ 3 h 123"/>
                <a:gd name="T48" fmla="*/ 5 w 233"/>
                <a:gd name="T49" fmla="*/ 3 h 123"/>
                <a:gd name="T50" fmla="*/ 4 w 233"/>
                <a:gd name="T51" fmla="*/ 4 h 123"/>
                <a:gd name="T52" fmla="*/ 3 w 233"/>
                <a:gd name="T53" fmla="*/ 4 h 123"/>
                <a:gd name="T54" fmla="*/ 3 w 233"/>
                <a:gd name="T55" fmla="*/ 4 h 123"/>
                <a:gd name="T56" fmla="*/ 2 w 233"/>
                <a:gd name="T57" fmla="*/ 4 h 123"/>
                <a:gd name="T58" fmla="*/ 2 w 233"/>
                <a:gd name="T59" fmla="*/ 4 h 123"/>
                <a:gd name="T60" fmla="*/ 2 w 233"/>
                <a:gd name="T61" fmla="*/ 4 h 123"/>
                <a:gd name="T62" fmla="*/ 2 w 233"/>
                <a:gd name="T63" fmla="*/ 4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33"/>
                <a:gd name="T97" fmla="*/ 0 h 123"/>
                <a:gd name="T98" fmla="*/ 233 w 233"/>
                <a:gd name="T99" fmla="*/ 123 h 1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75" name="Freeform 425"/>
            <p:cNvSpPr>
              <a:spLocks/>
            </p:cNvSpPr>
            <p:nvPr/>
          </p:nvSpPr>
          <p:spPr bwMode="auto">
            <a:xfrm>
              <a:off x="983" y="1236"/>
              <a:ext cx="157" cy="56"/>
            </a:xfrm>
            <a:custGeom>
              <a:avLst/>
              <a:gdLst>
                <a:gd name="T0" fmla="*/ 0 w 484"/>
                <a:gd name="T1" fmla="*/ 5 h 172"/>
                <a:gd name="T2" fmla="*/ 0 w 484"/>
                <a:gd name="T3" fmla="*/ 6 h 172"/>
                <a:gd name="T4" fmla="*/ 0 w 484"/>
                <a:gd name="T5" fmla="*/ 6 h 172"/>
                <a:gd name="T6" fmla="*/ 1 w 484"/>
                <a:gd name="T7" fmla="*/ 6 h 172"/>
                <a:gd name="T8" fmla="*/ 1 w 484"/>
                <a:gd name="T9" fmla="*/ 6 h 172"/>
                <a:gd name="T10" fmla="*/ 2 w 484"/>
                <a:gd name="T11" fmla="*/ 6 h 172"/>
                <a:gd name="T12" fmla="*/ 3 w 484"/>
                <a:gd name="T13" fmla="*/ 6 h 172"/>
                <a:gd name="T14" fmla="*/ 3 w 484"/>
                <a:gd name="T15" fmla="*/ 6 h 172"/>
                <a:gd name="T16" fmla="*/ 5 w 484"/>
                <a:gd name="T17" fmla="*/ 6 h 172"/>
                <a:gd name="T18" fmla="*/ 6 w 484"/>
                <a:gd name="T19" fmla="*/ 5 h 172"/>
                <a:gd name="T20" fmla="*/ 8 w 484"/>
                <a:gd name="T21" fmla="*/ 4 h 172"/>
                <a:gd name="T22" fmla="*/ 10 w 484"/>
                <a:gd name="T23" fmla="*/ 4 h 172"/>
                <a:gd name="T24" fmla="*/ 12 w 484"/>
                <a:gd name="T25" fmla="*/ 3 h 172"/>
                <a:gd name="T26" fmla="*/ 14 w 484"/>
                <a:gd name="T27" fmla="*/ 3 h 172"/>
                <a:gd name="T28" fmla="*/ 15 w 484"/>
                <a:gd name="T29" fmla="*/ 2 h 172"/>
                <a:gd name="T30" fmla="*/ 16 w 484"/>
                <a:gd name="T31" fmla="*/ 2 h 172"/>
                <a:gd name="T32" fmla="*/ 16 w 484"/>
                <a:gd name="T33" fmla="*/ 2 h 172"/>
                <a:gd name="T34" fmla="*/ 17 w 484"/>
                <a:gd name="T35" fmla="*/ 1 h 172"/>
                <a:gd name="T36" fmla="*/ 15 w 484"/>
                <a:gd name="T37" fmla="*/ 1 h 172"/>
                <a:gd name="T38" fmla="*/ 13 w 484"/>
                <a:gd name="T39" fmla="*/ 1 h 172"/>
                <a:gd name="T40" fmla="*/ 11 w 484"/>
                <a:gd name="T41" fmla="*/ 0 h 172"/>
                <a:gd name="T42" fmla="*/ 9 w 484"/>
                <a:gd name="T43" fmla="*/ 0 h 172"/>
                <a:gd name="T44" fmla="*/ 8 w 484"/>
                <a:gd name="T45" fmla="*/ 0 h 172"/>
                <a:gd name="T46" fmla="*/ 7 w 484"/>
                <a:gd name="T47" fmla="*/ 0 h 172"/>
                <a:gd name="T48" fmla="*/ 6 w 484"/>
                <a:gd name="T49" fmla="*/ 0 h 172"/>
                <a:gd name="T50" fmla="*/ 6 w 484"/>
                <a:gd name="T51" fmla="*/ 0 h 172"/>
                <a:gd name="T52" fmla="*/ 6 w 484"/>
                <a:gd name="T53" fmla="*/ 0 h 172"/>
                <a:gd name="T54" fmla="*/ 6 w 484"/>
                <a:gd name="T55" fmla="*/ 0 h 172"/>
                <a:gd name="T56" fmla="*/ 6 w 484"/>
                <a:gd name="T57" fmla="*/ 1 h 172"/>
                <a:gd name="T58" fmla="*/ 5 w 484"/>
                <a:gd name="T59" fmla="*/ 1 h 172"/>
                <a:gd name="T60" fmla="*/ 5 w 484"/>
                <a:gd name="T61" fmla="*/ 2 h 172"/>
                <a:gd name="T62" fmla="*/ 4 w 484"/>
                <a:gd name="T63" fmla="*/ 2 h 172"/>
                <a:gd name="T64" fmla="*/ 3 w 484"/>
                <a:gd name="T65" fmla="*/ 2 h 172"/>
                <a:gd name="T66" fmla="*/ 2 w 484"/>
                <a:gd name="T67" fmla="*/ 3 h 172"/>
                <a:gd name="T68" fmla="*/ 1 w 484"/>
                <a:gd name="T69" fmla="*/ 3 h 172"/>
                <a:gd name="T70" fmla="*/ 1 w 484"/>
                <a:gd name="T71" fmla="*/ 3 h 172"/>
                <a:gd name="T72" fmla="*/ 0 w 484"/>
                <a:gd name="T73" fmla="*/ 4 h 172"/>
                <a:gd name="T74" fmla="*/ 0 w 484"/>
                <a:gd name="T75" fmla="*/ 4 h 172"/>
                <a:gd name="T76" fmla="*/ 0 w 484"/>
                <a:gd name="T77" fmla="*/ 5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484"/>
                <a:gd name="T118" fmla="*/ 0 h 172"/>
                <a:gd name="T119" fmla="*/ 484 w 484"/>
                <a:gd name="T120" fmla="*/ 172 h 17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76" name="Freeform 426"/>
            <p:cNvSpPr>
              <a:spLocks/>
            </p:cNvSpPr>
            <p:nvPr/>
          </p:nvSpPr>
          <p:spPr bwMode="auto">
            <a:xfrm>
              <a:off x="1043" y="1255"/>
              <a:ext cx="221" cy="79"/>
            </a:xfrm>
            <a:custGeom>
              <a:avLst/>
              <a:gdLst>
                <a:gd name="T0" fmla="*/ 11 w 684"/>
                <a:gd name="T1" fmla="*/ 0 h 240"/>
                <a:gd name="T2" fmla="*/ 10 w 684"/>
                <a:gd name="T3" fmla="*/ 1 h 240"/>
                <a:gd name="T4" fmla="*/ 10 w 684"/>
                <a:gd name="T5" fmla="*/ 1 h 240"/>
                <a:gd name="T6" fmla="*/ 10 w 684"/>
                <a:gd name="T7" fmla="*/ 2 h 240"/>
                <a:gd name="T8" fmla="*/ 11 w 684"/>
                <a:gd name="T9" fmla="*/ 1 h 240"/>
                <a:gd name="T10" fmla="*/ 13 w 684"/>
                <a:gd name="T11" fmla="*/ 1 h 240"/>
                <a:gd name="T12" fmla="*/ 13 w 684"/>
                <a:gd name="T13" fmla="*/ 1 h 240"/>
                <a:gd name="T14" fmla="*/ 13 w 684"/>
                <a:gd name="T15" fmla="*/ 2 h 240"/>
                <a:gd name="T16" fmla="*/ 14 w 684"/>
                <a:gd name="T17" fmla="*/ 3 h 240"/>
                <a:gd name="T18" fmla="*/ 17 w 684"/>
                <a:gd name="T19" fmla="*/ 2 h 240"/>
                <a:gd name="T20" fmla="*/ 17 w 684"/>
                <a:gd name="T21" fmla="*/ 3 h 240"/>
                <a:gd name="T22" fmla="*/ 18 w 684"/>
                <a:gd name="T23" fmla="*/ 2 h 240"/>
                <a:gd name="T24" fmla="*/ 19 w 684"/>
                <a:gd name="T25" fmla="*/ 2 h 240"/>
                <a:gd name="T26" fmla="*/ 19 w 684"/>
                <a:gd name="T27" fmla="*/ 1 h 240"/>
                <a:gd name="T28" fmla="*/ 19 w 684"/>
                <a:gd name="T29" fmla="*/ 0 h 240"/>
                <a:gd name="T30" fmla="*/ 19 w 684"/>
                <a:gd name="T31" fmla="*/ 0 h 240"/>
                <a:gd name="T32" fmla="*/ 21 w 684"/>
                <a:gd name="T33" fmla="*/ 0 h 240"/>
                <a:gd name="T34" fmla="*/ 22 w 684"/>
                <a:gd name="T35" fmla="*/ 0 h 240"/>
                <a:gd name="T36" fmla="*/ 22 w 684"/>
                <a:gd name="T37" fmla="*/ 1 h 240"/>
                <a:gd name="T38" fmla="*/ 22 w 684"/>
                <a:gd name="T39" fmla="*/ 3 h 240"/>
                <a:gd name="T40" fmla="*/ 22 w 684"/>
                <a:gd name="T41" fmla="*/ 4 h 240"/>
                <a:gd name="T42" fmla="*/ 21 w 684"/>
                <a:gd name="T43" fmla="*/ 4 h 240"/>
                <a:gd name="T44" fmla="*/ 22 w 684"/>
                <a:gd name="T45" fmla="*/ 5 h 240"/>
                <a:gd name="T46" fmla="*/ 23 w 684"/>
                <a:gd name="T47" fmla="*/ 5 h 240"/>
                <a:gd name="T48" fmla="*/ 23 w 684"/>
                <a:gd name="T49" fmla="*/ 6 h 240"/>
                <a:gd name="T50" fmla="*/ 22 w 684"/>
                <a:gd name="T51" fmla="*/ 7 h 240"/>
                <a:gd name="T52" fmla="*/ 20 w 684"/>
                <a:gd name="T53" fmla="*/ 7 h 240"/>
                <a:gd name="T54" fmla="*/ 19 w 684"/>
                <a:gd name="T55" fmla="*/ 6 h 240"/>
                <a:gd name="T56" fmla="*/ 19 w 684"/>
                <a:gd name="T57" fmla="*/ 7 h 240"/>
                <a:gd name="T58" fmla="*/ 18 w 684"/>
                <a:gd name="T59" fmla="*/ 7 h 240"/>
                <a:gd name="T60" fmla="*/ 18 w 684"/>
                <a:gd name="T61" fmla="*/ 8 h 240"/>
                <a:gd name="T62" fmla="*/ 16 w 684"/>
                <a:gd name="T63" fmla="*/ 8 h 240"/>
                <a:gd name="T64" fmla="*/ 15 w 684"/>
                <a:gd name="T65" fmla="*/ 7 h 240"/>
                <a:gd name="T66" fmla="*/ 14 w 684"/>
                <a:gd name="T67" fmla="*/ 7 h 240"/>
                <a:gd name="T68" fmla="*/ 11 w 684"/>
                <a:gd name="T69" fmla="*/ 8 h 240"/>
                <a:gd name="T70" fmla="*/ 8 w 684"/>
                <a:gd name="T71" fmla="*/ 8 h 240"/>
                <a:gd name="T72" fmla="*/ 6 w 684"/>
                <a:gd name="T73" fmla="*/ 9 h 240"/>
                <a:gd name="T74" fmla="*/ 4 w 684"/>
                <a:gd name="T75" fmla="*/ 9 h 240"/>
                <a:gd name="T76" fmla="*/ 3 w 684"/>
                <a:gd name="T77" fmla="*/ 8 h 240"/>
                <a:gd name="T78" fmla="*/ 2 w 684"/>
                <a:gd name="T79" fmla="*/ 7 h 240"/>
                <a:gd name="T80" fmla="*/ 1 w 684"/>
                <a:gd name="T81" fmla="*/ 7 h 240"/>
                <a:gd name="T82" fmla="*/ 0 w 684"/>
                <a:gd name="T83" fmla="*/ 6 h 240"/>
                <a:gd name="T84" fmla="*/ 2 w 684"/>
                <a:gd name="T85" fmla="*/ 6 h 240"/>
                <a:gd name="T86" fmla="*/ 3 w 684"/>
                <a:gd name="T87" fmla="*/ 6 h 240"/>
                <a:gd name="T88" fmla="*/ 5 w 684"/>
                <a:gd name="T89" fmla="*/ 6 h 240"/>
                <a:gd name="T90" fmla="*/ 7 w 684"/>
                <a:gd name="T91" fmla="*/ 6 h 240"/>
                <a:gd name="T92" fmla="*/ 7 w 684"/>
                <a:gd name="T93" fmla="*/ 6 h 240"/>
                <a:gd name="T94" fmla="*/ 1 w 684"/>
                <a:gd name="T95" fmla="*/ 5 h 240"/>
                <a:gd name="T96" fmla="*/ 2 w 684"/>
                <a:gd name="T97" fmla="*/ 5 h 240"/>
                <a:gd name="T98" fmla="*/ 4 w 684"/>
                <a:gd name="T99" fmla="*/ 4 h 240"/>
                <a:gd name="T100" fmla="*/ 5 w 684"/>
                <a:gd name="T101" fmla="*/ 4 h 240"/>
                <a:gd name="T102" fmla="*/ 6 w 684"/>
                <a:gd name="T103" fmla="*/ 4 h 240"/>
                <a:gd name="T104" fmla="*/ 5 w 684"/>
                <a:gd name="T105" fmla="*/ 3 h 240"/>
                <a:gd name="T106" fmla="*/ 4 w 684"/>
                <a:gd name="T107" fmla="*/ 4 h 240"/>
                <a:gd name="T108" fmla="*/ 2 w 684"/>
                <a:gd name="T109" fmla="*/ 4 h 240"/>
                <a:gd name="T110" fmla="*/ 2 w 684"/>
                <a:gd name="T111" fmla="*/ 4 h 240"/>
                <a:gd name="T112" fmla="*/ 2 w 684"/>
                <a:gd name="T113" fmla="*/ 3 h 240"/>
                <a:gd name="T114" fmla="*/ 2 w 684"/>
                <a:gd name="T115" fmla="*/ 3 h 240"/>
                <a:gd name="T116" fmla="*/ 2 w 684"/>
                <a:gd name="T117" fmla="*/ 3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84"/>
                <a:gd name="T178" fmla="*/ 0 h 240"/>
                <a:gd name="T179" fmla="*/ 684 w 684"/>
                <a:gd name="T180" fmla="*/ 240 h 24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77" name="Freeform 427"/>
            <p:cNvSpPr>
              <a:spLocks/>
            </p:cNvSpPr>
            <p:nvPr/>
          </p:nvSpPr>
          <p:spPr bwMode="auto">
            <a:xfrm>
              <a:off x="1645" y="1643"/>
              <a:ext cx="108" cy="93"/>
            </a:xfrm>
            <a:custGeom>
              <a:avLst/>
              <a:gdLst>
                <a:gd name="T0" fmla="*/ 6 w 332"/>
                <a:gd name="T1" fmla="*/ 1 h 287"/>
                <a:gd name="T2" fmla="*/ 7 w 332"/>
                <a:gd name="T3" fmla="*/ 1 h 287"/>
                <a:gd name="T4" fmla="*/ 8 w 332"/>
                <a:gd name="T5" fmla="*/ 0 h 287"/>
                <a:gd name="T6" fmla="*/ 8 w 332"/>
                <a:gd name="T7" fmla="*/ 0 h 287"/>
                <a:gd name="T8" fmla="*/ 8 w 332"/>
                <a:gd name="T9" fmla="*/ 0 h 287"/>
                <a:gd name="T10" fmla="*/ 8 w 332"/>
                <a:gd name="T11" fmla="*/ 0 h 287"/>
                <a:gd name="T12" fmla="*/ 8 w 332"/>
                <a:gd name="T13" fmla="*/ 1 h 287"/>
                <a:gd name="T14" fmla="*/ 7 w 332"/>
                <a:gd name="T15" fmla="*/ 2 h 287"/>
                <a:gd name="T16" fmla="*/ 7 w 332"/>
                <a:gd name="T17" fmla="*/ 2 h 287"/>
                <a:gd name="T18" fmla="*/ 7 w 332"/>
                <a:gd name="T19" fmla="*/ 2 h 287"/>
                <a:gd name="T20" fmla="*/ 7 w 332"/>
                <a:gd name="T21" fmla="*/ 3 h 287"/>
                <a:gd name="T22" fmla="*/ 7 w 332"/>
                <a:gd name="T23" fmla="*/ 3 h 287"/>
                <a:gd name="T24" fmla="*/ 7 w 332"/>
                <a:gd name="T25" fmla="*/ 2 h 287"/>
                <a:gd name="T26" fmla="*/ 8 w 332"/>
                <a:gd name="T27" fmla="*/ 3 h 287"/>
                <a:gd name="T28" fmla="*/ 7 w 332"/>
                <a:gd name="T29" fmla="*/ 3 h 287"/>
                <a:gd name="T30" fmla="*/ 7 w 332"/>
                <a:gd name="T31" fmla="*/ 3 h 287"/>
                <a:gd name="T32" fmla="*/ 7 w 332"/>
                <a:gd name="T33" fmla="*/ 4 h 287"/>
                <a:gd name="T34" fmla="*/ 8 w 332"/>
                <a:gd name="T35" fmla="*/ 4 h 287"/>
                <a:gd name="T36" fmla="*/ 11 w 332"/>
                <a:gd name="T37" fmla="*/ 4 h 287"/>
                <a:gd name="T38" fmla="*/ 11 w 332"/>
                <a:gd name="T39" fmla="*/ 5 h 287"/>
                <a:gd name="T40" fmla="*/ 11 w 332"/>
                <a:gd name="T41" fmla="*/ 5 h 287"/>
                <a:gd name="T42" fmla="*/ 10 w 332"/>
                <a:gd name="T43" fmla="*/ 5 h 287"/>
                <a:gd name="T44" fmla="*/ 10 w 332"/>
                <a:gd name="T45" fmla="*/ 5 h 287"/>
                <a:gd name="T46" fmla="*/ 10 w 332"/>
                <a:gd name="T47" fmla="*/ 6 h 287"/>
                <a:gd name="T48" fmla="*/ 11 w 332"/>
                <a:gd name="T49" fmla="*/ 6 h 287"/>
                <a:gd name="T50" fmla="*/ 11 w 332"/>
                <a:gd name="T51" fmla="*/ 6 h 287"/>
                <a:gd name="T52" fmla="*/ 11 w 332"/>
                <a:gd name="T53" fmla="*/ 6 h 287"/>
                <a:gd name="T54" fmla="*/ 10 w 332"/>
                <a:gd name="T55" fmla="*/ 7 h 287"/>
                <a:gd name="T56" fmla="*/ 8 w 332"/>
                <a:gd name="T57" fmla="*/ 8 h 287"/>
                <a:gd name="T58" fmla="*/ 7 w 332"/>
                <a:gd name="T59" fmla="*/ 9 h 287"/>
                <a:gd name="T60" fmla="*/ 6 w 332"/>
                <a:gd name="T61" fmla="*/ 8 h 287"/>
                <a:gd name="T62" fmla="*/ 6 w 332"/>
                <a:gd name="T63" fmla="*/ 8 h 287"/>
                <a:gd name="T64" fmla="*/ 7 w 332"/>
                <a:gd name="T65" fmla="*/ 8 h 287"/>
                <a:gd name="T66" fmla="*/ 7 w 332"/>
                <a:gd name="T67" fmla="*/ 8 h 287"/>
                <a:gd name="T68" fmla="*/ 5 w 332"/>
                <a:gd name="T69" fmla="*/ 8 h 287"/>
                <a:gd name="T70" fmla="*/ 4 w 332"/>
                <a:gd name="T71" fmla="*/ 8 h 287"/>
                <a:gd name="T72" fmla="*/ 2 w 332"/>
                <a:gd name="T73" fmla="*/ 8 h 287"/>
                <a:gd name="T74" fmla="*/ 1 w 332"/>
                <a:gd name="T75" fmla="*/ 8 h 287"/>
                <a:gd name="T76" fmla="*/ 0 w 332"/>
                <a:gd name="T77" fmla="*/ 8 h 287"/>
                <a:gd name="T78" fmla="*/ 0 w 332"/>
                <a:gd name="T79" fmla="*/ 7 h 287"/>
                <a:gd name="T80" fmla="*/ 0 w 332"/>
                <a:gd name="T81" fmla="*/ 7 h 287"/>
                <a:gd name="T82" fmla="*/ 0 w 332"/>
                <a:gd name="T83" fmla="*/ 7 h 287"/>
                <a:gd name="T84" fmla="*/ 0 w 332"/>
                <a:gd name="T85" fmla="*/ 7 h 287"/>
                <a:gd name="T86" fmla="*/ 1 w 332"/>
                <a:gd name="T87" fmla="*/ 6 h 287"/>
                <a:gd name="T88" fmla="*/ 3 w 332"/>
                <a:gd name="T89" fmla="*/ 6 h 287"/>
                <a:gd name="T90" fmla="*/ 3 w 332"/>
                <a:gd name="T91" fmla="*/ 5 h 287"/>
                <a:gd name="T92" fmla="*/ 3 w 332"/>
                <a:gd name="T93" fmla="*/ 5 h 287"/>
                <a:gd name="T94" fmla="*/ 4 w 332"/>
                <a:gd name="T95" fmla="*/ 5 h 287"/>
                <a:gd name="T96" fmla="*/ 4 w 332"/>
                <a:gd name="T97" fmla="*/ 4 h 287"/>
                <a:gd name="T98" fmla="*/ 5 w 332"/>
                <a:gd name="T99" fmla="*/ 3 h 287"/>
                <a:gd name="T100" fmla="*/ 5 w 332"/>
                <a:gd name="T101" fmla="*/ 2 h 287"/>
                <a:gd name="T102" fmla="*/ 5 w 332"/>
                <a:gd name="T103" fmla="*/ 2 h 287"/>
                <a:gd name="T104" fmla="*/ 6 w 332"/>
                <a:gd name="T105" fmla="*/ 2 h 287"/>
                <a:gd name="T106" fmla="*/ 6 w 332"/>
                <a:gd name="T107" fmla="*/ 1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32"/>
                <a:gd name="T163" fmla="*/ 0 h 287"/>
                <a:gd name="T164" fmla="*/ 332 w 332"/>
                <a:gd name="T165" fmla="*/ 287 h 287"/>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78" name="Freeform 428"/>
            <p:cNvSpPr>
              <a:spLocks/>
            </p:cNvSpPr>
            <p:nvPr/>
          </p:nvSpPr>
          <p:spPr bwMode="auto">
            <a:xfrm>
              <a:off x="1102" y="1190"/>
              <a:ext cx="111" cy="27"/>
            </a:xfrm>
            <a:custGeom>
              <a:avLst/>
              <a:gdLst>
                <a:gd name="T0" fmla="*/ 4 w 345"/>
                <a:gd name="T1" fmla="*/ 3 h 86"/>
                <a:gd name="T2" fmla="*/ 4 w 345"/>
                <a:gd name="T3" fmla="*/ 3 h 86"/>
                <a:gd name="T4" fmla="*/ 5 w 345"/>
                <a:gd name="T5" fmla="*/ 3 h 86"/>
                <a:gd name="T6" fmla="*/ 5 w 345"/>
                <a:gd name="T7" fmla="*/ 2 h 86"/>
                <a:gd name="T8" fmla="*/ 5 w 345"/>
                <a:gd name="T9" fmla="*/ 2 h 86"/>
                <a:gd name="T10" fmla="*/ 6 w 345"/>
                <a:gd name="T11" fmla="*/ 2 h 86"/>
                <a:gd name="T12" fmla="*/ 8 w 345"/>
                <a:gd name="T13" fmla="*/ 2 h 86"/>
                <a:gd name="T14" fmla="*/ 8 w 345"/>
                <a:gd name="T15" fmla="*/ 2 h 86"/>
                <a:gd name="T16" fmla="*/ 9 w 345"/>
                <a:gd name="T17" fmla="*/ 2 h 86"/>
                <a:gd name="T18" fmla="*/ 9 w 345"/>
                <a:gd name="T19" fmla="*/ 1 h 86"/>
                <a:gd name="T20" fmla="*/ 10 w 345"/>
                <a:gd name="T21" fmla="*/ 1 h 86"/>
                <a:gd name="T22" fmla="*/ 10 w 345"/>
                <a:gd name="T23" fmla="*/ 1 h 86"/>
                <a:gd name="T24" fmla="*/ 11 w 345"/>
                <a:gd name="T25" fmla="*/ 1 h 86"/>
                <a:gd name="T26" fmla="*/ 11 w 345"/>
                <a:gd name="T27" fmla="*/ 1 h 86"/>
                <a:gd name="T28" fmla="*/ 12 w 345"/>
                <a:gd name="T29" fmla="*/ 0 h 86"/>
                <a:gd name="T30" fmla="*/ 11 w 345"/>
                <a:gd name="T31" fmla="*/ 0 h 86"/>
                <a:gd name="T32" fmla="*/ 11 w 345"/>
                <a:gd name="T33" fmla="*/ 0 h 86"/>
                <a:gd name="T34" fmla="*/ 11 w 345"/>
                <a:gd name="T35" fmla="*/ 0 h 86"/>
                <a:gd name="T36" fmla="*/ 10 w 345"/>
                <a:gd name="T37" fmla="*/ 0 h 86"/>
                <a:gd name="T38" fmla="*/ 10 w 345"/>
                <a:gd name="T39" fmla="*/ 0 h 86"/>
                <a:gd name="T40" fmla="*/ 10 w 345"/>
                <a:gd name="T41" fmla="*/ 0 h 86"/>
                <a:gd name="T42" fmla="*/ 9 w 345"/>
                <a:gd name="T43" fmla="*/ 0 h 86"/>
                <a:gd name="T44" fmla="*/ 9 w 345"/>
                <a:gd name="T45" fmla="*/ 0 h 86"/>
                <a:gd name="T46" fmla="*/ 9 w 345"/>
                <a:gd name="T47" fmla="*/ 0 h 86"/>
                <a:gd name="T48" fmla="*/ 8 w 345"/>
                <a:gd name="T49" fmla="*/ 0 h 86"/>
                <a:gd name="T50" fmla="*/ 7 w 345"/>
                <a:gd name="T51" fmla="*/ 0 h 86"/>
                <a:gd name="T52" fmla="*/ 7 w 345"/>
                <a:gd name="T53" fmla="*/ 0 h 86"/>
                <a:gd name="T54" fmla="*/ 5 w 345"/>
                <a:gd name="T55" fmla="*/ 1 h 86"/>
                <a:gd name="T56" fmla="*/ 4 w 345"/>
                <a:gd name="T57" fmla="*/ 1 h 86"/>
                <a:gd name="T58" fmla="*/ 4 w 345"/>
                <a:gd name="T59" fmla="*/ 1 h 86"/>
                <a:gd name="T60" fmla="*/ 3 w 345"/>
                <a:gd name="T61" fmla="*/ 1 h 86"/>
                <a:gd name="T62" fmla="*/ 2 w 345"/>
                <a:gd name="T63" fmla="*/ 2 h 86"/>
                <a:gd name="T64" fmla="*/ 2 w 345"/>
                <a:gd name="T65" fmla="*/ 2 h 86"/>
                <a:gd name="T66" fmla="*/ 1 w 345"/>
                <a:gd name="T67" fmla="*/ 2 h 86"/>
                <a:gd name="T68" fmla="*/ 1 w 345"/>
                <a:gd name="T69" fmla="*/ 2 h 86"/>
                <a:gd name="T70" fmla="*/ 0 w 345"/>
                <a:gd name="T71" fmla="*/ 3 h 86"/>
                <a:gd name="T72" fmla="*/ 0 w 345"/>
                <a:gd name="T73" fmla="*/ 3 h 86"/>
                <a:gd name="T74" fmla="*/ 4 w 345"/>
                <a:gd name="T75" fmla="*/ 3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45"/>
                <a:gd name="T115" fmla="*/ 0 h 86"/>
                <a:gd name="T116" fmla="*/ 345 w 345"/>
                <a:gd name="T117" fmla="*/ 86 h 8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79" name="Freeform 429"/>
            <p:cNvSpPr>
              <a:spLocks/>
            </p:cNvSpPr>
            <p:nvPr/>
          </p:nvSpPr>
          <p:spPr bwMode="auto">
            <a:xfrm>
              <a:off x="1158" y="1199"/>
              <a:ext cx="149" cy="43"/>
            </a:xfrm>
            <a:custGeom>
              <a:avLst/>
              <a:gdLst>
                <a:gd name="T0" fmla="*/ 1 w 464"/>
                <a:gd name="T1" fmla="*/ 3 h 130"/>
                <a:gd name="T2" fmla="*/ 3 w 464"/>
                <a:gd name="T3" fmla="*/ 3 h 130"/>
                <a:gd name="T4" fmla="*/ 4 w 464"/>
                <a:gd name="T5" fmla="*/ 3 h 130"/>
                <a:gd name="T6" fmla="*/ 3 w 464"/>
                <a:gd name="T7" fmla="*/ 3 h 130"/>
                <a:gd name="T8" fmla="*/ 3 w 464"/>
                <a:gd name="T9" fmla="*/ 4 h 130"/>
                <a:gd name="T10" fmla="*/ 2 w 464"/>
                <a:gd name="T11" fmla="*/ 4 h 130"/>
                <a:gd name="T12" fmla="*/ 2 w 464"/>
                <a:gd name="T13" fmla="*/ 4 h 130"/>
                <a:gd name="T14" fmla="*/ 3 w 464"/>
                <a:gd name="T15" fmla="*/ 5 h 130"/>
                <a:gd name="T16" fmla="*/ 3 w 464"/>
                <a:gd name="T17" fmla="*/ 5 h 130"/>
                <a:gd name="T18" fmla="*/ 4 w 464"/>
                <a:gd name="T19" fmla="*/ 5 h 130"/>
                <a:gd name="T20" fmla="*/ 4 w 464"/>
                <a:gd name="T21" fmla="*/ 5 h 130"/>
                <a:gd name="T22" fmla="*/ 5 w 464"/>
                <a:gd name="T23" fmla="*/ 4 h 130"/>
                <a:gd name="T24" fmla="*/ 6 w 464"/>
                <a:gd name="T25" fmla="*/ 4 h 130"/>
                <a:gd name="T26" fmla="*/ 7 w 464"/>
                <a:gd name="T27" fmla="*/ 4 h 130"/>
                <a:gd name="T28" fmla="*/ 8 w 464"/>
                <a:gd name="T29" fmla="*/ 4 h 130"/>
                <a:gd name="T30" fmla="*/ 9 w 464"/>
                <a:gd name="T31" fmla="*/ 4 h 130"/>
                <a:gd name="T32" fmla="*/ 10 w 464"/>
                <a:gd name="T33" fmla="*/ 4 h 130"/>
                <a:gd name="T34" fmla="*/ 11 w 464"/>
                <a:gd name="T35" fmla="*/ 4 h 130"/>
                <a:gd name="T36" fmla="*/ 13 w 464"/>
                <a:gd name="T37" fmla="*/ 3 h 130"/>
                <a:gd name="T38" fmla="*/ 14 w 464"/>
                <a:gd name="T39" fmla="*/ 3 h 130"/>
                <a:gd name="T40" fmla="*/ 15 w 464"/>
                <a:gd name="T41" fmla="*/ 2 h 130"/>
                <a:gd name="T42" fmla="*/ 15 w 464"/>
                <a:gd name="T43" fmla="*/ 2 h 130"/>
                <a:gd name="T44" fmla="*/ 14 w 464"/>
                <a:gd name="T45" fmla="*/ 2 h 130"/>
                <a:gd name="T46" fmla="*/ 14 w 464"/>
                <a:gd name="T47" fmla="*/ 2 h 130"/>
                <a:gd name="T48" fmla="*/ 13 w 464"/>
                <a:gd name="T49" fmla="*/ 2 h 130"/>
                <a:gd name="T50" fmla="*/ 13 w 464"/>
                <a:gd name="T51" fmla="*/ 1 h 130"/>
                <a:gd name="T52" fmla="*/ 14 w 464"/>
                <a:gd name="T53" fmla="*/ 1 h 130"/>
                <a:gd name="T54" fmla="*/ 14 w 464"/>
                <a:gd name="T55" fmla="*/ 0 h 130"/>
                <a:gd name="T56" fmla="*/ 13 w 464"/>
                <a:gd name="T57" fmla="*/ 0 h 130"/>
                <a:gd name="T58" fmla="*/ 12 w 464"/>
                <a:gd name="T59" fmla="*/ 1 h 130"/>
                <a:gd name="T60" fmla="*/ 11 w 464"/>
                <a:gd name="T61" fmla="*/ 2 h 130"/>
                <a:gd name="T62" fmla="*/ 11 w 464"/>
                <a:gd name="T63" fmla="*/ 2 h 130"/>
                <a:gd name="T64" fmla="*/ 10 w 464"/>
                <a:gd name="T65" fmla="*/ 2 h 130"/>
                <a:gd name="T66" fmla="*/ 10 w 464"/>
                <a:gd name="T67" fmla="*/ 2 h 130"/>
                <a:gd name="T68" fmla="*/ 9 w 464"/>
                <a:gd name="T69" fmla="*/ 2 h 130"/>
                <a:gd name="T70" fmla="*/ 9 w 464"/>
                <a:gd name="T71" fmla="*/ 2 h 130"/>
                <a:gd name="T72" fmla="*/ 8 w 464"/>
                <a:gd name="T73" fmla="*/ 2 h 130"/>
                <a:gd name="T74" fmla="*/ 7 w 464"/>
                <a:gd name="T75" fmla="*/ 1 h 130"/>
                <a:gd name="T76" fmla="*/ 6 w 464"/>
                <a:gd name="T77" fmla="*/ 1 h 130"/>
                <a:gd name="T78" fmla="*/ 5 w 464"/>
                <a:gd name="T79" fmla="*/ 1 h 130"/>
                <a:gd name="T80" fmla="*/ 4 w 464"/>
                <a:gd name="T81" fmla="*/ 1 h 130"/>
                <a:gd name="T82" fmla="*/ 3 w 464"/>
                <a:gd name="T83" fmla="*/ 2 h 130"/>
                <a:gd name="T84" fmla="*/ 2 w 464"/>
                <a:gd name="T85" fmla="*/ 2 h 130"/>
                <a:gd name="T86" fmla="*/ 1 w 464"/>
                <a:gd name="T87" fmla="*/ 2 h 130"/>
                <a:gd name="T88" fmla="*/ 0 w 464"/>
                <a:gd name="T89" fmla="*/ 3 h 130"/>
                <a:gd name="T90" fmla="*/ 0 w 464"/>
                <a:gd name="T91" fmla="*/ 3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64"/>
                <a:gd name="T139" fmla="*/ 0 h 130"/>
                <a:gd name="T140" fmla="*/ 464 w 464"/>
                <a:gd name="T141" fmla="*/ 130 h 13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80" name="Freeform 430"/>
            <p:cNvSpPr>
              <a:spLocks/>
            </p:cNvSpPr>
            <p:nvPr/>
          </p:nvSpPr>
          <p:spPr bwMode="auto">
            <a:xfrm>
              <a:off x="1472" y="1205"/>
              <a:ext cx="153" cy="31"/>
            </a:xfrm>
            <a:custGeom>
              <a:avLst/>
              <a:gdLst>
                <a:gd name="T0" fmla="*/ 2 w 472"/>
                <a:gd name="T1" fmla="*/ 0 h 92"/>
                <a:gd name="T2" fmla="*/ 2 w 472"/>
                <a:gd name="T3" fmla="*/ 0 h 92"/>
                <a:gd name="T4" fmla="*/ 1 w 472"/>
                <a:gd name="T5" fmla="*/ 0 h 92"/>
                <a:gd name="T6" fmla="*/ 0 w 472"/>
                <a:gd name="T7" fmla="*/ 0 h 92"/>
                <a:gd name="T8" fmla="*/ 0 w 472"/>
                <a:gd name="T9" fmla="*/ 0 h 92"/>
                <a:gd name="T10" fmla="*/ 0 w 472"/>
                <a:gd name="T11" fmla="*/ 1 h 92"/>
                <a:gd name="T12" fmla="*/ 0 w 472"/>
                <a:gd name="T13" fmla="*/ 1 h 92"/>
                <a:gd name="T14" fmla="*/ 1 w 472"/>
                <a:gd name="T15" fmla="*/ 1 h 92"/>
                <a:gd name="T16" fmla="*/ 1 w 472"/>
                <a:gd name="T17" fmla="*/ 2 h 92"/>
                <a:gd name="T18" fmla="*/ 0 w 472"/>
                <a:gd name="T19" fmla="*/ 2 h 92"/>
                <a:gd name="T20" fmla="*/ 0 w 472"/>
                <a:gd name="T21" fmla="*/ 2 h 92"/>
                <a:gd name="T22" fmla="*/ 0 w 472"/>
                <a:gd name="T23" fmla="*/ 2 h 92"/>
                <a:gd name="T24" fmla="*/ 1 w 472"/>
                <a:gd name="T25" fmla="*/ 3 h 92"/>
                <a:gd name="T26" fmla="*/ 2 w 472"/>
                <a:gd name="T27" fmla="*/ 3 h 92"/>
                <a:gd name="T28" fmla="*/ 4 w 472"/>
                <a:gd name="T29" fmla="*/ 3 h 92"/>
                <a:gd name="T30" fmla="*/ 6 w 472"/>
                <a:gd name="T31" fmla="*/ 3 h 92"/>
                <a:gd name="T32" fmla="*/ 12 w 472"/>
                <a:gd name="T33" fmla="*/ 3 h 92"/>
                <a:gd name="T34" fmla="*/ 13 w 472"/>
                <a:gd name="T35" fmla="*/ 3 h 92"/>
                <a:gd name="T36" fmla="*/ 13 w 472"/>
                <a:gd name="T37" fmla="*/ 3 h 92"/>
                <a:gd name="T38" fmla="*/ 14 w 472"/>
                <a:gd name="T39" fmla="*/ 3 h 92"/>
                <a:gd name="T40" fmla="*/ 14 w 472"/>
                <a:gd name="T41" fmla="*/ 3 h 92"/>
                <a:gd name="T42" fmla="*/ 15 w 472"/>
                <a:gd name="T43" fmla="*/ 3 h 92"/>
                <a:gd name="T44" fmla="*/ 16 w 472"/>
                <a:gd name="T45" fmla="*/ 3 h 92"/>
                <a:gd name="T46" fmla="*/ 16 w 472"/>
                <a:gd name="T47" fmla="*/ 3 h 92"/>
                <a:gd name="T48" fmla="*/ 16 w 472"/>
                <a:gd name="T49" fmla="*/ 1 h 92"/>
                <a:gd name="T50" fmla="*/ 16 w 472"/>
                <a:gd name="T51" fmla="*/ 1 h 92"/>
                <a:gd name="T52" fmla="*/ 15 w 472"/>
                <a:gd name="T53" fmla="*/ 1 h 92"/>
                <a:gd name="T54" fmla="*/ 15 w 472"/>
                <a:gd name="T55" fmla="*/ 0 h 92"/>
                <a:gd name="T56" fmla="*/ 14 w 472"/>
                <a:gd name="T57" fmla="*/ 0 h 92"/>
                <a:gd name="T58" fmla="*/ 13 w 472"/>
                <a:gd name="T59" fmla="*/ 1 h 92"/>
                <a:gd name="T60" fmla="*/ 13 w 472"/>
                <a:gd name="T61" fmla="*/ 1 h 92"/>
                <a:gd name="T62" fmla="*/ 11 w 472"/>
                <a:gd name="T63" fmla="*/ 1 h 92"/>
                <a:gd name="T64" fmla="*/ 10 w 472"/>
                <a:gd name="T65" fmla="*/ 1 h 92"/>
                <a:gd name="T66" fmla="*/ 9 w 472"/>
                <a:gd name="T67" fmla="*/ 2 h 92"/>
                <a:gd name="T68" fmla="*/ 8 w 472"/>
                <a:gd name="T69" fmla="*/ 2 h 92"/>
                <a:gd name="T70" fmla="*/ 6 w 472"/>
                <a:gd name="T71" fmla="*/ 2 h 92"/>
                <a:gd name="T72" fmla="*/ 6 w 472"/>
                <a:gd name="T73" fmla="*/ 2 h 92"/>
                <a:gd name="T74" fmla="*/ 4 w 472"/>
                <a:gd name="T75" fmla="*/ 2 h 92"/>
                <a:gd name="T76" fmla="*/ 3 w 472"/>
                <a:gd name="T77" fmla="*/ 2 h 92"/>
                <a:gd name="T78" fmla="*/ 3 w 472"/>
                <a:gd name="T79" fmla="*/ 1 h 92"/>
                <a:gd name="T80" fmla="*/ 2 w 472"/>
                <a:gd name="T81" fmla="*/ 1 h 92"/>
                <a:gd name="T82" fmla="*/ 2 w 472"/>
                <a:gd name="T83" fmla="*/ 1 h 92"/>
                <a:gd name="T84" fmla="*/ 2 w 472"/>
                <a:gd name="T85" fmla="*/ 0 h 92"/>
                <a:gd name="T86" fmla="*/ 3 w 472"/>
                <a:gd name="T87" fmla="*/ 0 h 92"/>
                <a:gd name="T88" fmla="*/ 3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72"/>
                <a:gd name="T136" fmla="*/ 0 h 92"/>
                <a:gd name="T137" fmla="*/ 472 w 472"/>
                <a:gd name="T138" fmla="*/ 92 h 9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81" name="Freeform 431"/>
            <p:cNvSpPr>
              <a:spLocks/>
            </p:cNvSpPr>
            <p:nvPr/>
          </p:nvSpPr>
          <p:spPr bwMode="auto">
            <a:xfrm>
              <a:off x="1513" y="1136"/>
              <a:ext cx="106" cy="45"/>
            </a:xfrm>
            <a:custGeom>
              <a:avLst/>
              <a:gdLst>
                <a:gd name="T0" fmla="*/ 5 w 326"/>
                <a:gd name="T1" fmla="*/ 4 h 135"/>
                <a:gd name="T2" fmla="*/ 7 w 326"/>
                <a:gd name="T3" fmla="*/ 4 h 135"/>
                <a:gd name="T4" fmla="*/ 9 w 326"/>
                <a:gd name="T5" fmla="*/ 3 h 135"/>
                <a:gd name="T6" fmla="*/ 10 w 326"/>
                <a:gd name="T7" fmla="*/ 3 h 135"/>
                <a:gd name="T8" fmla="*/ 11 w 326"/>
                <a:gd name="T9" fmla="*/ 2 h 135"/>
                <a:gd name="T10" fmla="*/ 11 w 326"/>
                <a:gd name="T11" fmla="*/ 2 h 135"/>
                <a:gd name="T12" fmla="*/ 11 w 326"/>
                <a:gd name="T13" fmla="*/ 2 h 135"/>
                <a:gd name="T14" fmla="*/ 10 w 326"/>
                <a:gd name="T15" fmla="*/ 2 h 135"/>
                <a:gd name="T16" fmla="*/ 10 w 326"/>
                <a:gd name="T17" fmla="*/ 1 h 135"/>
                <a:gd name="T18" fmla="*/ 9 w 326"/>
                <a:gd name="T19" fmla="*/ 1 h 135"/>
                <a:gd name="T20" fmla="*/ 8 w 326"/>
                <a:gd name="T21" fmla="*/ 1 h 135"/>
                <a:gd name="T22" fmla="*/ 7 w 326"/>
                <a:gd name="T23" fmla="*/ 1 h 135"/>
                <a:gd name="T24" fmla="*/ 7 w 326"/>
                <a:gd name="T25" fmla="*/ 1 h 135"/>
                <a:gd name="T26" fmla="*/ 7 w 326"/>
                <a:gd name="T27" fmla="*/ 1 h 135"/>
                <a:gd name="T28" fmla="*/ 7 w 326"/>
                <a:gd name="T29" fmla="*/ 0 h 135"/>
                <a:gd name="T30" fmla="*/ 6 w 326"/>
                <a:gd name="T31" fmla="*/ 0 h 135"/>
                <a:gd name="T32" fmla="*/ 6 w 326"/>
                <a:gd name="T33" fmla="*/ 0 h 135"/>
                <a:gd name="T34" fmla="*/ 5 w 326"/>
                <a:gd name="T35" fmla="*/ 0 h 135"/>
                <a:gd name="T36" fmla="*/ 3 w 326"/>
                <a:gd name="T37" fmla="*/ 0 h 135"/>
                <a:gd name="T38" fmla="*/ 2 w 326"/>
                <a:gd name="T39" fmla="*/ 1 h 135"/>
                <a:gd name="T40" fmla="*/ 1 w 326"/>
                <a:gd name="T41" fmla="*/ 1 h 135"/>
                <a:gd name="T42" fmla="*/ 0 w 326"/>
                <a:gd name="T43" fmla="*/ 1 h 135"/>
                <a:gd name="T44" fmla="*/ 0 w 326"/>
                <a:gd name="T45" fmla="*/ 2 h 135"/>
                <a:gd name="T46" fmla="*/ 0 w 326"/>
                <a:gd name="T47" fmla="*/ 2 h 135"/>
                <a:gd name="T48" fmla="*/ 1 w 326"/>
                <a:gd name="T49" fmla="*/ 3 h 135"/>
                <a:gd name="T50" fmla="*/ 2 w 326"/>
                <a:gd name="T51" fmla="*/ 3 h 135"/>
                <a:gd name="T52" fmla="*/ 1 w 326"/>
                <a:gd name="T53" fmla="*/ 3 h 135"/>
                <a:gd name="T54" fmla="*/ 1 w 326"/>
                <a:gd name="T55" fmla="*/ 4 h 135"/>
                <a:gd name="T56" fmla="*/ 2 w 326"/>
                <a:gd name="T57" fmla="*/ 4 h 135"/>
                <a:gd name="T58" fmla="*/ 2 w 326"/>
                <a:gd name="T59" fmla="*/ 5 h 135"/>
                <a:gd name="T60" fmla="*/ 2 w 326"/>
                <a:gd name="T61" fmla="*/ 5 h 135"/>
                <a:gd name="T62" fmla="*/ 2 w 326"/>
                <a:gd name="T63" fmla="*/ 5 h 135"/>
                <a:gd name="T64" fmla="*/ 3 w 326"/>
                <a:gd name="T65" fmla="*/ 5 h 135"/>
                <a:gd name="T66" fmla="*/ 4 w 326"/>
                <a:gd name="T67" fmla="*/ 5 h 135"/>
                <a:gd name="T68" fmla="*/ 4 w 326"/>
                <a:gd name="T69" fmla="*/ 5 h 135"/>
                <a:gd name="T70" fmla="*/ 4 w 326"/>
                <a:gd name="T71" fmla="*/ 4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6"/>
                <a:gd name="T109" fmla="*/ 0 h 135"/>
                <a:gd name="T110" fmla="*/ 326 w 326"/>
                <a:gd name="T111" fmla="*/ 135 h 13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82" name="Freeform 432"/>
            <p:cNvSpPr>
              <a:spLocks/>
            </p:cNvSpPr>
            <p:nvPr/>
          </p:nvSpPr>
          <p:spPr bwMode="auto">
            <a:xfrm>
              <a:off x="1584" y="1245"/>
              <a:ext cx="51" cy="18"/>
            </a:xfrm>
            <a:custGeom>
              <a:avLst/>
              <a:gdLst>
                <a:gd name="T0" fmla="*/ 2 w 159"/>
                <a:gd name="T1" fmla="*/ 2 h 56"/>
                <a:gd name="T2" fmla="*/ 1 w 159"/>
                <a:gd name="T3" fmla="*/ 2 h 56"/>
                <a:gd name="T4" fmla="*/ 1 w 159"/>
                <a:gd name="T5" fmla="*/ 2 h 56"/>
                <a:gd name="T6" fmla="*/ 1 w 159"/>
                <a:gd name="T7" fmla="*/ 2 h 56"/>
                <a:gd name="T8" fmla="*/ 1 w 159"/>
                <a:gd name="T9" fmla="*/ 1 h 56"/>
                <a:gd name="T10" fmla="*/ 0 w 159"/>
                <a:gd name="T11" fmla="*/ 1 h 56"/>
                <a:gd name="T12" fmla="*/ 0 w 159"/>
                <a:gd name="T13" fmla="*/ 1 h 56"/>
                <a:gd name="T14" fmla="*/ 0 w 159"/>
                <a:gd name="T15" fmla="*/ 1 h 56"/>
                <a:gd name="T16" fmla="*/ 0 w 159"/>
                <a:gd name="T17" fmla="*/ 1 h 56"/>
                <a:gd name="T18" fmla="*/ 0 w 159"/>
                <a:gd name="T19" fmla="*/ 0 h 56"/>
                <a:gd name="T20" fmla="*/ 0 w 159"/>
                <a:gd name="T21" fmla="*/ 0 h 56"/>
                <a:gd name="T22" fmla="*/ 1 w 159"/>
                <a:gd name="T23" fmla="*/ 0 h 56"/>
                <a:gd name="T24" fmla="*/ 1 w 159"/>
                <a:gd name="T25" fmla="*/ 0 h 56"/>
                <a:gd name="T26" fmla="*/ 2 w 159"/>
                <a:gd name="T27" fmla="*/ 0 h 56"/>
                <a:gd name="T28" fmla="*/ 2 w 159"/>
                <a:gd name="T29" fmla="*/ 0 h 56"/>
                <a:gd name="T30" fmla="*/ 3 w 159"/>
                <a:gd name="T31" fmla="*/ 0 h 56"/>
                <a:gd name="T32" fmla="*/ 4 w 159"/>
                <a:gd name="T33" fmla="*/ 0 h 56"/>
                <a:gd name="T34" fmla="*/ 4 w 159"/>
                <a:gd name="T35" fmla="*/ 0 h 56"/>
                <a:gd name="T36" fmla="*/ 4 w 159"/>
                <a:gd name="T37" fmla="*/ 0 h 56"/>
                <a:gd name="T38" fmla="*/ 4 w 159"/>
                <a:gd name="T39" fmla="*/ 0 h 56"/>
                <a:gd name="T40" fmla="*/ 5 w 159"/>
                <a:gd name="T41" fmla="*/ 0 h 56"/>
                <a:gd name="T42" fmla="*/ 5 w 159"/>
                <a:gd name="T43" fmla="*/ 0 h 56"/>
                <a:gd name="T44" fmla="*/ 5 w 159"/>
                <a:gd name="T45" fmla="*/ 0 h 56"/>
                <a:gd name="T46" fmla="*/ 5 w 159"/>
                <a:gd name="T47" fmla="*/ 1 h 56"/>
                <a:gd name="T48" fmla="*/ 5 w 159"/>
                <a:gd name="T49" fmla="*/ 1 h 56"/>
                <a:gd name="T50" fmla="*/ 5 w 159"/>
                <a:gd name="T51" fmla="*/ 1 h 56"/>
                <a:gd name="T52" fmla="*/ 5 w 159"/>
                <a:gd name="T53" fmla="*/ 1 h 56"/>
                <a:gd name="T54" fmla="*/ 5 w 159"/>
                <a:gd name="T55" fmla="*/ 2 h 56"/>
                <a:gd name="T56" fmla="*/ 5 w 159"/>
                <a:gd name="T57" fmla="*/ 2 h 56"/>
                <a:gd name="T58" fmla="*/ 4 w 159"/>
                <a:gd name="T59" fmla="*/ 2 h 56"/>
                <a:gd name="T60" fmla="*/ 4 w 159"/>
                <a:gd name="T61" fmla="*/ 2 h 56"/>
                <a:gd name="T62" fmla="*/ 4 w 159"/>
                <a:gd name="T63" fmla="*/ 2 h 56"/>
                <a:gd name="T64" fmla="*/ 4 w 159"/>
                <a:gd name="T65" fmla="*/ 2 h 56"/>
                <a:gd name="T66" fmla="*/ 3 w 159"/>
                <a:gd name="T67" fmla="*/ 2 h 56"/>
                <a:gd name="T68" fmla="*/ 2 w 159"/>
                <a:gd name="T69" fmla="*/ 2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59"/>
                <a:gd name="T106" fmla="*/ 0 h 56"/>
                <a:gd name="T107" fmla="*/ 159 w 159"/>
                <a:gd name="T108" fmla="*/ 56 h 5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83" name="Freeform 433"/>
            <p:cNvSpPr>
              <a:spLocks/>
            </p:cNvSpPr>
            <p:nvPr/>
          </p:nvSpPr>
          <p:spPr bwMode="auto">
            <a:xfrm>
              <a:off x="534" y="1280"/>
              <a:ext cx="1205" cy="539"/>
            </a:xfrm>
            <a:custGeom>
              <a:avLst/>
              <a:gdLst>
                <a:gd name="T0" fmla="*/ 98 w 3734"/>
                <a:gd name="T1" fmla="*/ 48 h 1644"/>
                <a:gd name="T2" fmla="*/ 86 w 3734"/>
                <a:gd name="T3" fmla="*/ 54 h 1644"/>
                <a:gd name="T4" fmla="*/ 78 w 3734"/>
                <a:gd name="T5" fmla="*/ 56 h 1644"/>
                <a:gd name="T6" fmla="*/ 77 w 3734"/>
                <a:gd name="T7" fmla="*/ 58 h 1644"/>
                <a:gd name="T8" fmla="*/ 73 w 3734"/>
                <a:gd name="T9" fmla="*/ 57 h 1644"/>
                <a:gd name="T10" fmla="*/ 76 w 3734"/>
                <a:gd name="T11" fmla="*/ 53 h 1644"/>
                <a:gd name="T12" fmla="*/ 73 w 3734"/>
                <a:gd name="T13" fmla="*/ 50 h 1644"/>
                <a:gd name="T14" fmla="*/ 70 w 3734"/>
                <a:gd name="T15" fmla="*/ 46 h 1644"/>
                <a:gd name="T16" fmla="*/ 66 w 3734"/>
                <a:gd name="T17" fmla="*/ 47 h 1644"/>
                <a:gd name="T18" fmla="*/ 60 w 3734"/>
                <a:gd name="T19" fmla="*/ 45 h 1644"/>
                <a:gd name="T20" fmla="*/ 9 w 3734"/>
                <a:gd name="T21" fmla="*/ 44 h 1644"/>
                <a:gd name="T22" fmla="*/ 4 w 3734"/>
                <a:gd name="T23" fmla="*/ 40 h 1644"/>
                <a:gd name="T24" fmla="*/ 5 w 3734"/>
                <a:gd name="T25" fmla="*/ 37 h 1644"/>
                <a:gd name="T26" fmla="*/ 5 w 3734"/>
                <a:gd name="T27" fmla="*/ 33 h 1644"/>
                <a:gd name="T28" fmla="*/ 9 w 3734"/>
                <a:gd name="T29" fmla="*/ 30 h 1644"/>
                <a:gd name="T30" fmla="*/ 8 w 3734"/>
                <a:gd name="T31" fmla="*/ 26 h 1644"/>
                <a:gd name="T32" fmla="*/ 4 w 3734"/>
                <a:gd name="T33" fmla="*/ 23 h 1644"/>
                <a:gd name="T34" fmla="*/ 20 w 3734"/>
                <a:gd name="T35" fmla="*/ 4 h 1644"/>
                <a:gd name="T36" fmla="*/ 38 w 3734"/>
                <a:gd name="T37" fmla="*/ 4 h 1644"/>
                <a:gd name="T38" fmla="*/ 44 w 3734"/>
                <a:gd name="T39" fmla="*/ 4 h 1644"/>
                <a:gd name="T40" fmla="*/ 55 w 3734"/>
                <a:gd name="T41" fmla="*/ 6 h 1644"/>
                <a:gd name="T42" fmla="*/ 60 w 3734"/>
                <a:gd name="T43" fmla="*/ 7 h 1644"/>
                <a:gd name="T44" fmla="*/ 70 w 3734"/>
                <a:gd name="T45" fmla="*/ 7 h 1644"/>
                <a:gd name="T46" fmla="*/ 77 w 3734"/>
                <a:gd name="T47" fmla="*/ 8 h 1644"/>
                <a:gd name="T48" fmla="*/ 79 w 3734"/>
                <a:gd name="T49" fmla="*/ 8 h 1644"/>
                <a:gd name="T50" fmla="*/ 85 w 3734"/>
                <a:gd name="T51" fmla="*/ 4 h 1644"/>
                <a:gd name="T52" fmla="*/ 87 w 3734"/>
                <a:gd name="T53" fmla="*/ 0 h 1644"/>
                <a:gd name="T54" fmla="*/ 89 w 3734"/>
                <a:gd name="T55" fmla="*/ 4 h 1644"/>
                <a:gd name="T56" fmla="*/ 90 w 3734"/>
                <a:gd name="T57" fmla="*/ 6 h 1644"/>
                <a:gd name="T58" fmla="*/ 91 w 3734"/>
                <a:gd name="T59" fmla="*/ 7 h 1644"/>
                <a:gd name="T60" fmla="*/ 97 w 3734"/>
                <a:gd name="T61" fmla="*/ 4 h 1644"/>
                <a:gd name="T62" fmla="*/ 102 w 3734"/>
                <a:gd name="T63" fmla="*/ 5 h 1644"/>
                <a:gd name="T64" fmla="*/ 97 w 3734"/>
                <a:gd name="T65" fmla="*/ 10 h 1644"/>
                <a:gd name="T66" fmla="*/ 94 w 3734"/>
                <a:gd name="T67" fmla="*/ 10 h 1644"/>
                <a:gd name="T68" fmla="*/ 86 w 3734"/>
                <a:gd name="T69" fmla="*/ 11 h 1644"/>
                <a:gd name="T70" fmla="*/ 84 w 3734"/>
                <a:gd name="T71" fmla="*/ 14 h 1644"/>
                <a:gd name="T72" fmla="*/ 78 w 3734"/>
                <a:gd name="T73" fmla="*/ 16 h 1644"/>
                <a:gd name="T74" fmla="*/ 70 w 3734"/>
                <a:gd name="T75" fmla="*/ 22 h 1644"/>
                <a:gd name="T76" fmla="*/ 71 w 3734"/>
                <a:gd name="T77" fmla="*/ 28 h 1644"/>
                <a:gd name="T78" fmla="*/ 79 w 3734"/>
                <a:gd name="T79" fmla="*/ 32 h 1644"/>
                <a:gd name="T80" fmla="*/ 82 w 3734"/>
                <a:gd name="T81" fmla="*/ 37 h 1644"/>
                <a:gd name="T82" fmla="*/ 88 w 3734"/>
                <a:gd name="T83" fmla="*/ 35 h 1644"/>
                <a:gd name="T84" fmla="*/ 96 w 3734"/>
                <a:gd name="T85" fmla="*/ 28 h 1644"/>
                <a:gd name="T86" fmla="*/ 97 w 3734"/>
                <a:gd name="T87" fmla="*/ 21 h 1644"/>
                <a:gd name="T88" fmla="*/ 106 w 3734"/>
                <a:gd name="T89" fmla="*/ 18 h 1644"/>
                <a:gd name="T90" fmla="*/ 110 w 3734"/>
                <a:gd name="T91" fmla="*/ 21 h 1644"/>
                <a:gd name="T92" fmla="*/ 108 w 3734"/>
                <a:gd name="T93" fmla="*/ 26 h 1644"/>
                <a:gd name="T94" fmla="*/ 117 w 3734"/>
                <a:gd name="T95" fmla="*/ 22 h 1644"/>
                <a:gd name="T96" fmla="*/ 119 w 3734"/>
                <a:gd name="T97" fmla="*/ 27 h 1644"/>
                <a:gd name="T98" fmla="*/ 123 w 3734"/>
                <a:gd name="T99" fmla="*/ 32 h 1644"/>
                <a:gd name="T100" fmla="*/ 122 w 3734"/>
                <a:gd name="T101" fmla="*/ 34 h 1644"/>
                <a:gd name="T102" fmla="*/ 124 w 3734"/>
                <a:gd name="T103" fmla="*/ 36 h 1644"/>
                <a:gd name="T104" fmla="*/ 119 w 3734"/>
                <a:gd name="T105" fmla="*/ 39 h 1644"/>
                <a:gd name="T106" fmla="*/ 106 w 3734"/>
                <a:gd name="T107" fmla="*/ 41 h 1644"/>
                <a:gd name="T108" fmla="*/ 96 w 3734"/>
                <a:gd name="T109" fmla="*/ 47 h 1644"/>
                <a:gd name="T110" fmla="*/ 97 w 3734"/>
                <a:gd name="T111" fmla="*/ 47 h 1644"/>
                <a:gd name="T112" fmla="*/ 108 w 3734"/>
                <a:gd name="T113" fmla="*/ 44 h 1644"/>
                <a:gd name="T114" fmla="*/ 103 w 3734"/>
                <a:gd name="T115" fmla="*/ 46 h 1644"/>
                <a:gd name="T116" fmla="*/ 106 w 3734"/>
                <a:gd name="T117" fmla="*/ 49 h 1644"/>
                <a:gd name="T118" fmla="*/ 109 w 3734"/>
                <a:gd name="T119" fmla="*/ 52 h 1644"/>
                <a:gd name="T120" fmla="*/ 101 w 3734"/>
                <a:gd name="T121" fmla="*/ 55 h 1644"/>
                <a:gd name="T122" fmla="*/ 107 w 3734"/>
                <a:gd name="T123" fmla="*/ 52 h 1644"/>
                <a:gd name="T124" fmla="*/ 101 w 3734"/>
                <a:gd name="T125" fmla="*/ 52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734"/>
                <a:gd name="T190" fmla="*/ 0 h 1644"/>
                <a:gd name="T191" fmla="*/ 3734 w 3734"/>
                <a:gd name="T192" fmla="*/ 1644 h 16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324" name="Freeform 434"/>
          <p:cNvSpPr>
            <a:spLocks/>
          </p:cNvSpPr>
          <p:nvPr>
            <p:custDataLst>
              <p:tags r:id="rId275"/>
            </p:custDataLst>
          </p:nvPr>
        </p:nvSpPr>
        <p:spPr bwMode="auto">
          <a:xfrm>
            <a:off x="6343652" y="3541713"/>
            <a:ext cx="169333" cy="158750"/>
          </a:xfrm>
          <a:custGeom>
            <a:avLst/>
            <a:gdLst>
              <a:gd name="T0" fmla="*/ 2147483647 w 292"/>
              <a:gd name="T1" fmla="*/ 1369210476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493721645 w 292"/>
              <a:gd name="T25" fmla="*/ 2147483647 h 308"/>
              <a:gd name="T26" fmla="*/ 740393381 w 292"/>
              <a:gd name="T27" fmla="*/ 2147483647 h 308"/>
              <a:gd name="T28" fmla="*/ 904967045 w 292"/>
              <a:gd name="T29" fmla="*/ 2147483647 h 308"/>
              <a:gd name="T30" fmla="*/ 576008477 w 292"/>
              <a:gd name="T31" fmla="*/ 2147483647 h 308"/>
              <a:gd name="T32" fmla="*/ 164573718 w 292"/>
              <a:gd name="T33" fmla="*/ 2147483647 h 308"/>
              <a:gd name="T34" fmla="*/ 0 w 292"/>
              <a:gd name="T35" fmla="*/ 2147483647 h 308"/>
              <a:gd name="T36" fmla="*/ 246861040 w 292"/>
              <a:gd name="T37" fmla="*/ 2147483647 h 308"/>
              <a:gd name="T38" fmla="*/ 987254529 w 292"/>
              <a:gd name="T39" fmla="*/ 2147483647 h 308"/>
              <a:gd name="T40" fmla="*/ 2139081852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1643106691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25" name="Freeform 435"/>
          <p:cNvSpPr>
            <a:spLocks/>
          </p:cNvSpPr>
          <p:nvPr>
            <p:custDataLst>
              <p:tags r:id="rId276"/>
            </p:custDataLst>
          </p:nvPr>
        </p:nvSpPr>
        <p:spPr bwMode="auto">
          <a:xfrm>
            <a:off x="6485469" y="3692525"/>
            <a:ext cx="8467" cy="57150"/>
          </a:xfrm>
          <a:custGeom>
            <a:avLst/>
            <a:gdLst>
              <a:gd name="T0" fmla="*/ 1026372445 w 14"/>
              <a:gd name="T1" fmla="*/ 0 h 7"/>
              <a:gd name="T2" fmla="*/ 1212966237 w 14"/>
              <a:gd name="T3" fmla="*/ 2147483647 h 7"/>
              <a:gd name="T4" fmla="*/ 1306366548 w 14"/>
              <a:gd name="T5" fmla="*/ 2147483647 h 7"/>
              <a:gd name="T6" fmla="*/ 0 w 14"/>
              <a:gd name="T7" fmla="*/ 2147483647 h 7"/>
              <a:gd name="T8" fmla="*/ 1026372445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26" name="Freeform 436"/>
          <p:cNvSpPr>
            <a:spLocks/>
          </p:cNvSpPr>
          <p:nvPr>
            <p:custDataLst>
              <p:tags r:id="rId277"/>
            </p:custDataLst>
          </p:nvPr>
        </p:nvSpPr>
        <p:spPr bwMode="auto">
          <a:xfrm>
            <a:off x="5806019" y="2928938"/>
            <a:ext cx="332316" cy="50006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1342081482 w 581"/>
              <a:gd name="T19" fmla="*/ 2147483647 h 955"/>
              <a:gd name="T20" fmla="*/ 157891841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717812113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27" name="Freeform 437"/>
          <p:cNvSpPr>
            <a:spLocks/>
          </p:cNvSpPr>
          <p:nvPr>
            <p:custDataLst>
              <p:tags r:id="rId278"/>
            </p:custDataLst>
          </p:nvPr>
        </p:nvSpPr>
        <p:spPr bwMode="auto">
          <a:xfrm>
            <a:off x="5374222" y="2311400"/>
            <a:ext cx="21167" cy="57150"/>
          </a:xfrm>
          <a:custGeom>
            <a:avLst/>
            <a:gdLst>
              <a:gd name="T0" fmla="*/ 1141475260 w 45"/>
              <a:gd name="T1" fmla="*/ 0 h 36"/>
              <a:gd name="T2" fmla="*/ 0 w 45"/>
              <a:gd name="T3" fmla="*/ 2147483647 h 36"/>
              <a:gd name="T4" fmla="*/ 1009804527 w 45"/>
              <a:gd name="T5" fmla="*/ 2147483647 h 36"/>
              <a:gd name="T6" fmla="*/ 1975676947 w 45"/>
              <a:gd name="T7" fmla="*/ 2147483647 h 36"/>
              <a:gd name="T8" fmla="*/ 1141475260 w 45"/>
              <a:gd name="T9" fmla="*/ 0 h 36"/>
              <a:gd name="T10" fmla="*/ 0 60000 65536"/>
              <a:gd name="T11" fmla="*/ 0 60000 65536"/>
              <a:gd name="T12" fmla="*/ 0 60000 65536"/>
              <a:gd name="T13" fmla="*/ 0 60000 65536"/>
              <a:gd name="T14" fmla="*/ 0 60000 65536"/>
              <a:gd name="T15" fmla="*/ 0 w 45"/>
              <a:gd name="T16" fmla="*/ 0 h 36"/>
              <a:gd name="T17" fmla="*/ 45 w 45"/>
              <a:gd name="T18" fmla="*/ 36 h 36"/>
            </a:gdLst>
            <a:ahLst/>
            <a:cxnLst>
              <a:cxn ang="T10">
                <a:pos x="T0" y="T1"/>
              </a:cxn>
              <a:cxn ang="T11">
                <a:pos x="T2" y="T3"/>
              </a:cxn>
              <a:cxn ang="T12">
                <a:pos x="T4" y="T5"/>
              </a:cxn>
              <a:cxn ang="T13">
                <a:pos x="T6" y="T7"/>
              </a:cxn>
              <a:cxn ang="T14">
                <a:pos x="T8" y="T9"/>
              </a:cxn>
            </a:cxnLst>
            <a:rect l="T15" t="T16" r="T17" b="T18"/>
            <a:pathLst>
              <a:path w="45" h="36">
                <a:moveTo>
                  <a:pt x="26" y="0"/>
                </a:moveTo>
                <a:lnTo>
                  <a:pt x="0" y="18"/>
                </a:lnTo>
                <a:lnTo>
                  <a:pt x="23" y="36"/>
                </a:lnTo>
                <a:lnTo>
                  <a:pt x="45" y="15"/>
                </a:lnTo>
                <a:lnTo>
                  <a:pt x="26" y="0"/>
                </a:lnTo>
                <a:close/>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328" name="Group 438"/>
          <p:cNvGrpSpPr>
            <a:grpSpLocks/>
          </p:cNvGrpSpPr>
          <p:nvPr>
            <p:custDataLst>
              <p:tags r:id="rId279"/>
            </p:custDataLst>
          </p:nvPr>
        </p:nvGrpSpPr>
        <p:grpSpPr bwMode="auto">
          <a:xfrm>
            <a:off x="3107272" y="4371982"/>
            <a:ext cx="512233" cy="1031875"/>
            <a:chOff x="1589" y="3126"/>
            <a:chExt cx="290" cy="657"/>
          </a:xfrm>
          <a:solidFill>
            <a:schemeClr val="accent5">
              <a:lumMod val="75000"/>
            </a:schemeClr>
          </a:solidFill>
        </p:grpSpPr>
        <p:sp>
          <p:nvSpPr>
            <p:cNvPr id="2439" name="Freeform 439"/>
            <p:cNvSpPr>
              <a:spLocks/>
            </p:cNvSpPr>
            <p:nvPr/>
          </p:nvSpPr>
          <p:spPr bwMode="auto">
            <a:xfrm>
              <a:off x="1748" y="3531"/>
              <a:ext cx="15" cy="17"/>
            </a:xfrm>
            <a:custGeom>
              <a:avLst/>
              <a:gdLst>
                <a:gd name="T0" fmla="*/ 2 w 46"/>
                <a:gd name="T1" fmla="*/ 0 h 51"/>
                <a:gd name="T2" fmla="*/ 1 w 46"/>
                <a:gd name="T3" fmla="*/ 0 h 51"/>
                <a:gd name="T4" fmla="*/ 0 w 46"/>
                <a:gd name="T5" fmla="*/ 0 h 51"/>
                <a:gd name="T6" fmla="*/ 0 w 46"/>
                <a:gd name="T7" fmla="*/ 0 h 51"/>
                <a:gd name="T8" fmla="*/ 0 w 46"/>
                <a:gd name="T9" fmla="*/ 0 h 51"/>
                <a:gd name="T10" fmla="*/ 0 w 46"/>
                <a:gd name="T11" fmla="*/ 1 h 51"/>
                <a:gd name="T12" fmla="*/ 0 w 46"/>
                <a:gd name="T13" fmla="*/ 1 h 51"/>
                <a:gd name="T14" fmla="*/ 0 w 46"/>
                <a:gd name="T15" fmla="*/ 1 h 51"/>
                <a:gd name="T16" fmla="*/ 0 w 46"/>
                <a:gd name="T17" fmla="*/ 1 h 51"/>
                <a:gd name="T18" fmla="*/ 0 w 46"/>
                <a:gd name="T19" fmla="*/ 1 h 51"/>
                <a:gd name="T20" fmla="*/ 0 w 46"/>
                <a:gd name="T21" fmla="*/ 1 h 51"/>
                <a:gd name="T22" fmla="*/ 0 w 46"/>
                <a:gd name="T23" fmla="*/ 2 h 51"/>
                <a:gd name="T24" fmla="*/ 0 w 46"/>
                <a:gd name="T25" fmla="*/ 2 h 51"/>
                <a:gd name="T26" fmla="*/ 0 w 46"/>
                <a:gd name="T27" fmla="*/ 2 h 51"/>
                <a:gd name="T28" fmla="*/ 1 w 46"/>
                <a:gd name="T29" fmla="*/ 2 h 51"/>
                <a:gd name="T30" fmla="*/ 1 w 46"/>
                <a:gd name="T31" fmla="*/ 2 h 51"/>
                <a:gd name="T32" fmla="*/ 1 w 46"/>
                <a:gd name="T33" fmla="*/ 2 h 51"/>
                <a:gd name="T34" fmla="*/ 1 w 46"/>
                <a:gd name="T35" fmla="*/ 2 h 51"/>
                <a:gd name="T36" fmla="*/ 1 w 46"/>
                <a:gd name="T37" fmla="*/ 2 h 51"/>
                <a:gd name="T38" fmla="*/ 2 w 46"/>
                <a:gd name="T39" fmla="*/ 2 h 51"/>
                <a:gd name="T40" fmla="*/ 2 w 46"/>
                <a:gd name="T41" fmla="*/ 1 h 51"/>
                <a:gd name="T42" fmla="*/ 2 w 46"/>
                <a:gd name="T43" fmla="*/ 1 h 51"/>
                <a:gd name="T44" fmla="*/ 2 w 46"/>
                <a:gd name="T45" fmla="*/ 1 h 51"/>
                <a:gd name="T46" fmla="*/ 2 w 46"/>
                <a:gd name="T47" fmla="*/ 0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6"/>
                <a:gd name="T73" fmla="*/ 0 h 51"/>
                <a:gd name="T74" fmla="*/ 46 w 46"/>
                <a:gd name="T75" fmla="*/ 51 h 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40" name="Freeform 440"/>
            <p:cNvSpPr>
              <a:spLocks/>
            </p:cNvSpPr>
            <p:nvPr/>
          </p:nvSpPr>
          <p:spPr bwMode="auto">
            <a:xfrm>
              <a:off x="1759" y="3730"/>
              <a:ext cx="63" cy="53"/>
            </a:xfrm>
            <a:custGeom>
              <a:avLst/>
              <a:gdLst>
                <a:gd name="T0" fmla="*/ 0 w 192"/>
                <a:gd name="T1" fmla="*/ 0 h 158"/>
                <a:gd name="T2" fmla="*/ 0 w 192"/>
                <a:gd name="T3" fmla="*/ 1 h 158"/>
                <a:gd name="T4" fmla="*/ 0 w 192"/>
                <a:gd name="T5" fmla="*/ 1 h 158"/>
                <a:gd name="T6" fmla="*/ 0 w 192"/>
                <a:gd name="T7" fmla="*/ 1 h 158"/>
                <a:gd name="T8" fmla="*/ 0 w 192"/>
                <a:gd name="T9" fmla="*/ 2 h 158"/>
                <a:gd name="T10" fmla="*/ 0 w 192"/>
                <a:gd name="T11" fmla="*/ 2 h 158"/>
                <a:gd name="T12" fmla="*/ 1 w 192"/>
                <a:gd name="T13" fmla="*/ 3 h 158"/>
                <a:gd name="T14" fmla="*/ 1 w 192"/>
                <a:gd name="T15" fmla="*/ 3 h 158"/>
                <a:gd name="T16" fmla="*/ 1 w 192"/>
                <a:gd name="T17" fmla="*/ 3 h 158"/>
                <a:gd name="T18" fmla="*/ 2 w 192"/>
                <a:gd name="T19" fmla="*/ 5 h 158"/>
                <a:gd name="T20" fmla="*/ 2 w 192"/>
                <a:gd name="T21" fmla="*/ 6 h 158"/>
                <a:gd name="T22" fmla="*/ 3 w 192"/>
                <a:gd name="T23" fmla="*/ 6 h 158"/>
                <a:gd name="T24" fmla="*/ 3 w 192"/>
                <a:gd name="T25" fmla="*/ 6 h 158"/>
                <a:gd name="T26" fmla="*/ 3 w 192"/>
                <a:gd name="T27" fmla="*/ 6 h 158"/>
                <a:gd name="T28" fmla="*/ 3 w 192"/>
                <a:gd name="T29" fmla="*/ 6 h 158"/>
                <a:gd name="T30" fmla="*/ 4 w 192"/>
                <a:gd name="T31" fmla="*/ 6 h 158"/>
                <a:gd name="T32" fmla="*/ 4 w 192"/>
                <a:gd name="T33" fmla="*/ 6 h 158"/>
                <a:gd name="T34" fmla="*/ 5 w 192"/>
                <a:gd name="T35" fmla="*/ 6 h 158"/>
                <a:gd name="T36" fmla="*/ 7 w 192"/>
                <a:gd name="T37" fmla="*/ 6 h 158"/>
                <a:gd name="T38" fmla="*/ 7 w 192"/>
                <a:gd name="T39" fmla="*/ 6 h 158"/>
                <a:gd name="T40" fmla="*/ 6 w 192"/>
                <a:gd name="T41" fmla="*/ 6 h 158"/>
                <a:gd name="T42" fmla="*/ 6 w 192"/>
                <a:gd name="T43" fmla="*/ 6 h 158"/>
                <a:gd name="T44" fmla="*/ 6 w 192"/>
                <a:gd name="T45" fmla="*/ 6 h 158"/>
                <a:gd name="T46" fmla="*/ 5 w 192"/>
                <a:gd name="T47" fmla="*/ 5 h 158"/>
                <a:gd name="T48" fmla="*/ 5 w 192"/>
                <a:gd name="T49" fmla="*/ 5 h 158"/>
                <a:gd name="T50" fmla="*/ 4 w 192"/>
                <a:gd name="T51" fmla="*/ 5 h 158"/>
                <a:gd name="T52" fmla="*/ 4 w 192"/>
                <a:gd name="T53" fmla="*/ 4 h 158"/>
                <a:gd name="T54" fmla="*/ 3 w 192"/>
                <a:gd name="T55" fmla="*/ 4 h 158"/>
                <a:gd name="T56" fmla="*/ 3 w 192"/>
                <a:gd name="T57" fmla="*/ 4 h 158"/>
                <a:gd name="T58" fmla="*/ 2 w 192"/>
                <a:gd name="T59" fmla="*/ 3 h 158"/>
                <a:gd name="T60" fmla="*/ 2 w 192"/>
                <a:gd name="T61" fmla="*/ 3 h 158"/>
                <a:gd name="T62" fmla="*/ 2 w 192"/>
                <a:gd name="T63" fmla="*/ 2 h 158"/>
                <a:gd name="T64" fmla="*/ 1 w 192"/>
                <a:gd name="T65" fmla="*/ 2 h 158"/>
                <a:gd name="T66" fmla="*/ 1 w 192"/>
                <a:gd name="T67" fmla="*/ 1 h 158"/>
                <a:gd name="T68" fmla="*/ 1 w 192"/>
                <a:gd name="T69" fmla="*/ 1 h 158"/>
                <a:gd name="T70" fmla="*/ 1 w 192"/>
                <a:gd name="T71" fmla="*/ 1 h 158"/>
                <a:gd name="T72" fmla="*/ 0 w 192"/>
                <a:gd name="T73" fmla="*/ 0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92"/>
                <a:gd name="T115" fmla="*/ 0 h 158"/>
                <a:gd name="T116" fmla="*/ 192 w 192"/>
                <a:gd name="T117" fmla="*/ 158 h 15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41" name="Freeform 441"/>
            <p:cNvSpPr>
              <a:spLocks/>
            </p:cNvSpPr>
            <p:nvPr/>
          </p:nvSpPr>
          <p:spPr bwMode="auto">
            <a:xfrm>
              <a:off x="1589" y="3126"/>
              <a:ext cx="290" cy="606"/>
            </a:xfrm>
            <a:custGeom>
              <a:avLst/>
              <a:gdLst>
                <a:gd name="T0" fmla="*/ 27 w 884"/>
                <a:gd name="T1" fmla="*/ 15 h 1818"/>
                <a:gd name="T2" fmla="*/ 31 w 884"/>
                <a:gd name="T3" fmla="*/ 13 h 1818"/>
                <a:gd name="T4" fmla="*/ 31 w 884"/>
                <a:gd name="T5" fmla="*/ 9 h 1818"/>
                <a:gd name="T6" fmla="*/ 30 w 884"/>
                <a:gd name="T7" fmla="*/ 7 h 1818"/>
                <a:gd name="T8" fmla="*/ 30 w 884"/>
                <a:gd name="T9" fmla="*/ 10 h 1818"/>
                <a:gd name="T10" fmla="*/ 27 w 884"/>
                <a:gd name="T11" fmla="*/ 12 h 1818"/>
                <a:gd name="T12" fmla="*/ 24 w 884"/>
                <a:gd name="T13" fmla="*/ 12 h 1818"/>
                <a:gd name="T14" fmla="*/ 22 w 884"/>
                <a:gd name="T15" fmla="*/ 11 h 1818"/>
                <a:gd name="T16" fmla="*/ 23 w 884"/>
                <a:gd name="T17" fmla="*/ 8 h 1818"/>
                <a:gd name="T18" fmla="*/ 19 w 884"/>
                <a:gd name="T19" fmla="*/ 5 h 1818"/>
                <a:gd name="T20" fmla="*/ 15 w 884"/>
                <a:gd name="T21" fmla="*/ 3 h 1818"/>
                <a:gd name="T22" fmla="*/ 13 w 884"/>
                <a:gd name="T23" fmla="*/ 0 h 1818"/>
                <a:gd name="T24" fmla="*/ 10 w 884"/>
                <a:gd name="T25" fmla="*/ 1 h 1818"/>
                <a:gd name="T26" fmla="*/ 8 w 884"/>
                <a:gd name="T27" fmla="*/ 1 h 1818"/>
                <a:gd name="T28" fmla="*/ 6 w 884"/>
                <a:gd name="T29" fmla="*/ 0 h 1818"/>
                <a:gd name="T30" fmla="*/ 3 w 884"/>
                <a:gd name="T31" fmla="*/ 2 h 1818"/>
                <a:gd name="T32" fmla="*/ 2 w 884"/>
                <a:gd name="T33" fmla="*/ 4 h 1818"/>
                <a:gd name="T34" fmla="*/ 1 w 884"/>
                <a:gd name="T35" fmla="*/ 7 h 1818"/>
                <a:gd name="T36" fmla="*/ 2 w 884"/>
                <a:gd name="T37" fmla="*/ 9 h 1818"/>
                <a:gd name="T38" fmla="*/ 2 w 884"/>
                <a:gd name="T39" fmla="*/ 12 h 1818"/>
                <a:gd name="T40" fmla="*/ 0 w 884"/>
                <a:gd name="T41" fmla="*/ 16 h 1818"/>
                <a:gd name="T42" fmla="*/ 0 w 884"/>
                <a:gd name="T43" fmla="*/ 23 h 1818"/>
                <a:gd name="T44" fmla="*/ 3 w 884"/>
                <a:gd name="T45" fmla="*/ 26 h 1818"/>
                <a:gd name="T46" fmla="*/ 2 w 884"/>
                <a:gd name="T47" fmla="*/ 28 h 1818"/>
                <a:gd name="T48" fmla="*/ 2 w 884"/>
                <a:gd name="T49" fmla="*/ 30 h 1818"/>
                <a:gd name="T50" fmla="*/ 3 w 884"/>
                <a:gd name="T51" fmla="*/ 31 h 1818"/>
                <a:gd name="T52" fmla="*/ 2 w 884"/>
                <a:gd name="T53" fmla="*/ 33 h 1818"/>
                <a:gd name="T54" fmla="*/ 3 w 884"/>
                <a:gd name="T55" fmla="*/ 36 h 1818"/>
                <a:gd name="T56" fmla="*/ 3 w 884"/>
                <a:gd name="T57" fmla="*/ 39 h 1818"/>
                <a:gd name="T58" fmla="*/ 3 w 884"/>
                <a:gd name="T59" fmla="*/ 43 h 1818"/>
                <a:gd name="T60" fmla="*/ 5 w 884"/>
                <a:gd name="T61" fmla="*/ 47 h 1818"/>
                <a:gd name="T62" fmla="*/ 7 w 884"/>
                <a:gd name="T63" fmla="*/ 52 h 1818"/>
                <a:gd name="T64" fmla="*/ 8 w 884"/>
                <a:gd name="T65" fmla="*/ 54 h 1818"/>
                <a:gd name="T66" fmla="*/ 8 w 884"/>
                <a:gd name="T67" fmla="*/ 57 h 1818"/>
                <a:gd name="T68" fmla="*/ 8 w 884"/>
                <a:gd name="T69" fmla="*/ 59 h 1818"/>
                <a:gd name="T70" fmla="*/ 7 w 884"/>
                <a:gd name="T71" fmla="*/ 61 h 1818"/>
                <a:gd name="T72" fmla="*/ 8 w 884"/>
                <a:gd name="T73" fmla="*/ 64 h 1818"/>
                <a:gd name="T74" fmla="*/ 11 w 884"/>
                <a:gd name="T75" fmla="*/ 66 h 1818"/>
                <a:gd name="T76" fmla="*/ 14 w 884"/>
                <a:gd name="T77" fmla="*/ 67 h 1818"/>
                <a:gd name="T78" fmla="*/ 16 w 884"/>
                <a:gd name="T79" fmla="*/ 66 h 1818"/>
                <a:gd name="T80" fmla="*/ 16 w 884"/>
                <a:gd name="T81" fmla="*/ 63 h 1818"/>
                <a:gd name="T82" fmla="*/ 17 w 884"/>
                <a:gd name="T83" fmla="*/ 60 h 1818"/>
                <a:gd name="T84" fmla="*/ 17 w 884"/>
                <a:gd name="T85" fmla="*/ 56 h 1818"/>
                <a:gd name="T86" fmla="*/ 15 w 884"/>
                <a:gd name="T87" fmla="*/ 55 h 1818"/>
                <a:gd name="T88" fmla="*/ 14 w 884"/>
                <a:gd name="T89" fmla="*/ 53 h 1818"/>
                <a:gd name="T90" fmla="*/ 16 w 884"/>
                <a:gd name="T91" fmla="*/ 52 h 1818"/>
                <a:gd name="T92" fmla="*/ 17 w 884"/>
                <a:gd name="T93" fmla="*/ 49 h 1818"/>
                <a:gd name="T94" fmla="*/ 16 w 884"/>
                <a:gd name="T95" fmla="*/ 45 h 1818"/>
                <a:gd name="T96" fmla="*/ 15 w 884"/>
                <a:gd name="T97" fmla="*/ 42 h 1818"/>
                <a:gd name="T98" fmla="*/ 18 w 884"/>
                <a:gd name="T99" fmla="*/ 43 h 1818"/>
                <a:gd name="T100" fmla="*/ 20 w 884"/>
                <a:gd name="T101" fmla="*/ 43 h 1818"/>
                <a:gd name="T102" fmla="*/ 20 w 884"/>
                <a:gd name="T103" fmla="*/ 40 h 1818"/>
                <a:gd name="T104" fmla="*/ 20 w 884"/>
                <a:gd name="T105" fmla="*/ 38 h 1818"/>
                <a:gd name="T106" fmla="*/ 24 w 884"/>
                <a:gd name="T107" fmla="*/ 38 h 1818"/>
                <a:gd name="T108" fmla="*/ 28 w 884"/>
                <a:gd name="T109" fmla="*/ 36 h 1818"/>
                <a:gd name="T110" fmla="*/ 29 w 884"/>
                <a:gd name="T111" fmla="*/ 33 h 1818"/>
                <a:gd name="T112" fmla="*/ 28 w 884"/>
                <a:gd name="T113" fmla="*/ 32 h 1818"/>
                <a:gd name="T114" fmla="*/ 27 w 884"/>
                <a:gd name="T115" fmla="*/ 30 h 1818"/>
                <a:gd name="T116" fmla="*/ 24 w 884"/>
                <a:gd name="T117" fmla="*/ 28 h 1818"/>
                <a:gd name="T118" fmla="*/ 25 w 884"/>
                <a:gd name="T119" fmla="*/ 20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84"/>
                <a:gd name="T181" fmla="*/ 0 h 1818"/>
                <a:gd name="T182" fmla="*/ 884 w 884"/>
                <a:gd name="T183" fmla="*/ 1818 h 18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329" name="Freeform 442"/>
          <p:cNvSpPr>
            <a:spLocks/>
          </p:cNvSpPr>
          <p:nvPr>
            <p:custDataLst>
              <p:tags r:id="rId280"/>
            </p:custDataLst>
          </p:nvPr>
        </p:nvSpPr>
        <p:spPr bwMode="auto">
          <a:xfrm>
            <a:off x="6720419" y="2324100"/>
            <a:ext cx="165100" cy="10953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1857621632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30" name="Freeform 443"/>
          <p:cNvSpPr>
            <a:spLocks/>
          </p:cNvSpPr>
          <p:nvPr>
            <p:custDataLst>
              <p:tags r:id="rId281"/>
            </p:custDataLst>
          </p:nvPr>
        </p:nvSpPr>
        <p:spPr bwMode="auto">
          <a:xfrm>
            <a:off x="6009217" y="1897063"/>
            <a:ext cx="279400" cy="150812"/>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1209856279 w 485"/>
              <a:gd name="T25" fmla="*/ 2147483647 h 291"/>
              <a:gd name="T26" fmla="*/ 645157409 w 485"/>
              <a:gd name="T27" fmla="*/ 2147483647 h 291"/>
              <a:gd name="T28" fmla="*/ 241933947 w 485"/>
              <a:gd name="T29" fmla="*/ 2147483647 h 291"/>
              <a:gd name="T30" fmla="*/ 0 w 485"/>
              <a:gd name="T31" fmla="*/ 2147483647 h 291"/>
              <a:gd name="T32" fmla="*/ 403223462 w 485"/>
              <a:gd name="T33" fmla="*/ 2147483647 h 291"/>
              <a:gd name="T34" fmla="*/ 1129211954 w 485"/>
              <a:gd name="T35" fmla="*/ 2147483647 h 291"/>
              <a:gd name="T36" fmla="*/ 1855013040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31" name="Freeform 444"/>
          <p:cNvSpPr>
            <a:spLocks/>
          </p:cNvSpPr>
          <p:nvPr>
            <p:custDataLst>
              <p:tags r:id="rId282"/>
            </p:custDataLst>
          </p:nvPr>
        </p:nvSpPr>
        <p:spPr bwMode="auto">
          <a:xfrm>
            <a:off x="5818717" y="2228857"/>
            <a:ext cx="110067" cy="87313"/>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1136537819 w 186"/>
              <a:gd name="T19" fmla="*/ 2147483647 h 166"/>
              <a:gd name="T20" fmla="*/ 0 w 186"/>
              <a:gd name="T21" fmla="*/ 2147483647 h 166"/>
              <a:gd name="T22" fmla="*/ 0 w 186"/>
              <a:gd name="T23" fmla="*/ 0 h 166"/>
              <a:gd name="T24" fmla="*/ 611997317 w 186"/>
              <a:gd name="T25" fmla="*/ 291043182 h 166"/>
              <a:gd name="T26" fmla="*/ 1223797579 w 186"/>
              <a:gd name="T27" fmla="*/ 436564445 h 166"/>
              <a:gd name="T28" fmla="*/ 1748338747 w 186"/>
              <a:gd name="T29" fmla="*/ 582086365 h 166"/>
              <a:gd name="T30" fmla="*/ 2147483647 w 186"/>
              <a:gd name="T31" fmla="*/ 582086365 h 166"/>
              <a:gd name="T32" fmla="*/ 2147483647 w 186"/>
              <a:gd name="T33" fmla="*/ 582086365 h 166"/>
              <a:gd name="T34" fmla="*/ 2147483647 w 186"/>
              <a:gd name="T35" fmla="*/ 436564445 h 166"/>
              <a:gd name="T36" fmla="*/ 2147483647 w 186"/>
              <a:gd name="T37" fmla="*/ 291043182 h 166"/>
              <a:gd name="T38" fmla="*/ 2147483647 w 186"/>
              <a:gd name="T39" fmla="*/ 0 h 166"/>
              <a:gd name="T40" fmla="*/ 2147483647 w 186"/>
              <a:gd name="T41" fmla="*/ 1746258832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32" name="Freeform 445"/>
          <p:cNvSpPr>
            <a:spLocks/>
          </p:cNvSpPr>
          <p:nvPr>
            <p:custDataLst>
              <p:tags r:id="rId283"/>
            </p:custDataLst>
          </p:nvPr>
        </p:nvSpPr>
        <p:spPr bwMode="auto">
          <a:xfrm>
            <a:off x="3638550" y="3665538"/>
            <a:ext cx="110067" cy="57150"/>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1825417173 h 104"/>
              <a:gd name="T14" fmla="*/ 2147483647 w 186"/>
              <a:gd name="T15" fmla="*/ 1659332728 h 104"/>
              <a:gd name="T16" fmla="*/ 2147483647 w 186"/>
              <a:gd name="T17" fmla="*/ 1493550518 h 104"/>
              <a:gd name="T18" fmla="*/ 2147483647 w 186"/>
              <a:gd name="T19" fmla="*/ 1327466072 h 104"/>
              <a:gd name="T20" fmla="*/ 2147483647 w 186"/>
              <a:gd name="T21" fmla="*/ 995599692 h 104"/>
              <a:gd name="T22" fmla="*/ 2147483647 w 186"/>
              <a:gd name="T23" fmla="*/ 497950689 h 104"/>
              <a:gd name="T24" fmla="*/ 2147483647 w 186"/>
              <a:gd name="T25" fmla="*/ 166084514 h 104"/>
              <a:gd name="T26" fmla="*/ 2147483647 w 186"/>
              <a:gd name="T27" fmla="*/ 0 h 104"/>
              <a:gd name="T28" fmla="*/ 2147483647 w 186"/>
              <a:gd name="T29" fmla="*/ 0 h 104"/>
              <a:gd name="T30" fmla="*/ 2147483647 w 186"/>
              <a:gd name="T31" fmla="*/ 166084514 h 104"/>
              <a:gd name="T32" fmla="*/ 2147483647 w 186"/>
              <a:gd name="T33" fmla="*/ 331866793 h 104"/>
              <a:gd name="T34" fmla="*/ 2147483647 w 186"/>
              <a:gd name="T35" fmla="*/ 663733036 h 104"/>
              <a:gd name="T36" fmla="*/ 2147483647 w 186"/>
              <a:gd name="T37" fmla="*/ 995599692 h 104"/>
              <a:gd name="T38" fmla="*/ 2147483647 w 186"/>
              <a:gd name="T39" fmla="*/ 1659332728 h 104"/>
              <a:gd name="T40" fmla="*/ 2147483647 w 186"/>
              <a:gd name="T41" fmla="*/ 2147483647 h 104"/>
              <a:gd name="T42" fmla="*/ 2147483647 w 186"/>
              <a:gd name="T43" fmla="*/ 2147483647 h 104"/>
              <a:gd name="T44" fmla="*/ 1748338747 w 186"/>
              <a:gd name="T45" fmla="*/ 2147483647 h 104"/>
              <a:gd name="T46" fmla="*/ 611997317 w 186"/>
              <a:gd name="T47" fmla="*/ 2147483647 h 104"/>
              <a:gd name="T48" fmla="*/ 0 w 186"/>
              <a:gd name="T49" fmla="*/ 2147483647 h 104"/>
              <a:gd name="T50" fmla="*/ 699453687 w 186"/>
              <a:gd name="T51" fmla="*/ 2147483647 h 104"/>
              <a:gd name="T52" fmla="*/ 1398710320 w 186"/>
              <a:gd name="T53" fmla="*/ 2147483647 h 104"/>
              <a:gd name="T54" fmla="*/ 1835794674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33" name="Freeform 446"/>
          <p:cNvSpPr>
            <a:spLocks/>
          </p:cNvSpPr>
          <p:nvPr>
            <p:custDataLst>
              <p:tags r:id="rId284"/>
            </p:custDataLst>
          </p:nvPr>
        </p:nvSpPr>
        <p:spPr bwMode="auto">
          <a:xfrm>
            <a:off x="6030384" y="2263775"/>
            <a:ext cx="177800" cy="96838"/>
          </a:xfrm>
          <a:custGeom>
            <a:avLst/>
            <a:gdLst>
              <a:gd name="T0" fmla="*/ 2147483647 w 311"/>
              <a:gd name="T1" fmla="*/ 2147483647 h 179"/>
              <a:gd name="T2" fmla="*/ 2147483647 w 311"/>
              <a:gd name="T3" fmla="*/ 2147483647 h 179"/>
              <a:gd name="T4" fmla="*/ 2147483647 w 311"/>
              <a:gd name="T5" fmla="*/ 2147483647 h 179"/>
              <a:gd name="T6" fmla="*/ 2147483647 w 311"/>
              <a:gd name="T7" fmla="*/ 633348706 h 179"/>
              <a:gd name="T8" fmla="*/ 2147483647 w 311"/>
              <a:gd name="T9" fmla="*/ 0 h 179"/>
              <a:gd name="T10" fmla="*/ 2147483647 w 311"/>
              <a:gd name="T11" fmla="*/ 316674353 h 179"/>
              <a:gd name="T12" fmla="*/ 2147483647 w 311"/>
              <a:gd name="T13" fmla="*/ 950022924 h 179"/>
              <a:gd name="T14" fmla="*/ 2147483647 w 311"/>
              <a:gd name="T15" fmla="*/ 1900045848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1655391243 w 311"/>
              <a:gd name="T67" fmla="*/ 2147483647 h 179"/>
              <a:gd name="T68" fmla="*/ 1024783200 w 311"/>
              <a:gd name="T69" fmla="*/ 2147483647 h 179"/>
              <a:gd name="T70" fmla="*/ 551735837 w 311"/>
              <a:gd name="T71" fmla="*/ 2147483647 h 179"/>
              <a:gd name="T72" fmla="*/ 236432137 w 311"/>
              <a:gd name="T73" fmla="*/ 2147483647 h 179"/>
              <a:gd name="T74" fmla="*/ 0 w 311"/>
              <a:gd name="T75" fmla="*/ 2147483647 h 179"/>
              <a:gd name="T76" fmla="*/ 0 w 311"/>
              <a:gd name="T77" fmla="*/ 2147483647 h 179"/>
              <a:gd name="T78" fmla="*/ 236432137 w 311"/>
              <a:gd name="T79" fmla="*/ 2147483647 h 179"/>
              <a:gd name="T80" fmla="*/ 1024783200 w 311"/>
              <a:gd name="T81" fmla="*/ 2147483647 h 179"/>
              <a:gd name="T82" fmla="*/ 1655391243 w 311"/>
              <a:gd name="T83" fmla="*/ 2147483647 h 179"/>
              <a:gd name="T84" fmla="*/ 1970695265 w 311"/>
              <a:gd name="T85" fmla="*/ 2147483647 h 179"/>
              <a:gd name="T86" fmla="*/ 2049566399 w 311"/>
              <a:gd name="T87" fmla="*/ 2147483647 h 179"/>
              <a:gd name="T88" fmla="*/ 1892007647 w 311"/>
              <a:gd name="T89" fmla="*/ 2147483647 h 179"/>
              <a:gd name="T90" fmla="*/ 1497830776 w 311"/>
              <a:gd name="T91" fmla="*/ 2147483647 h 179"/>
              <a:gd name="T92" fmla="*/ 630607829 w 311"/>
              <a:gd name="T93" fmla="*/ 2147483647 h 179"/>
              <a:gd name="T94" fmla="*/ 78872019 w 311"/>
              <a:gd name="T95" fmla="*/ 2147483647 h 179"/>
              <a:gd name="T96" fmla="*/ 78872019 w 311"/>
              <a:gd name="T97" fmla="*/ 2058382957 h 179"/>
              <a:gd name="T98" fmla="*/ 473047791 w 311"/>
              <a:gd name="T99" fmla="*/ 950022924 h 179"/>
              <a:gd name="T100" fmla="*/ 0 w 311"/>
              <a:gd name="T101" fmla="*/ 950022924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34" name="Freeform 447"/>
          <p:cNvSpPr>
            <a:spLocks/>
          </p:cNvSpPr>
          <p:nvPr>
            <p:custDataLst>
              <p:tags r:id="rId285"/>
            </p:custDataLst>
          </p:nvPr>
        </p:nvSpPr>
        <p:spPr bwMode="auto">
          <a:xfrm>
            <a:off x="5171017" y="3190875"/>
            <a:ext cx="237067" cy="165100"/>
          </a:xfrm>
          <a:custGeom>
            <a:avLst/>
            <a:gdLst>
              <a:gd name="T0" fmla="*/ 507655944 w 405"/>
              <a:gd name="T1" fmla="*/ 2147483647 h 314"/>
              <a:gd name="T2" fmla="*/ 1099920077 w 405"/>
              <a:gd name="T3" fmla="*/ 2147483647 h 314"/>
              <a:gd name="T4" fmla="*/ 1438357226 w 405"/>
              <a:gd name="T5" fmla="*/ 2147483647 h 314"/>
              <a:gd name="T6" fmla="*/ 1946013828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1599053345 h 314"/>
              <a:gd name="T38" fmla="*/ 2147483647 w 405"/>
              <a:gd name="T39" fmla="*/ 581398635 h 314"/>
              <a:gd name="T40" fmla="*/ 2147483647 w 405"/>
              <a:gd name="T41" fmla="*/ 0 h 314"/>
              <a:gd name="T42" fmla="*/ 2147483647 w 405"/>
              <a:gd name="T43" fmla="*/ 2035033902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35" name="Freeform 448"/>
          <p:cNvSpPr>
            <a:spLocks/>
          </p:cNvSpPr>
          <p:nvPr>
            <p:custDataLst>
              <p:tags r:id="rId286"/>
            </p:custDataLst>
          </p:nvPr>
        </p:nvSpPr>
        <p:spPr bwMode="auto">
          <a:xfrm>
            <a:off x="5634572" y="3259138"/>
            <a:ext cx="258233" cy="349250"/>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1641082224 w 453"/>
              <a:gd name="T29" fmla="*/ 2147483647 h 661"/>
              <a:gd name="T30" fmla="*/ 547088332 w 453"/>
              <a:gd name="T31" fmla="*/ 2147483647 h 661"/>
              <a:gd name="T32" fmla="*/ 78234017 w 453"/>
              <a:gd name="T33" fmla="*/ 2147483647 h 661"/>
              <a:gd name="T34" fmla="*/ 625139336 w 453"/>
              <a:gd name="T35" fmla="*/ 2147483647 h 661"/>
              <a:gd name="T36" fmla="*/ 1563030793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1622540401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36" name="Freeform 449"/>
          <p:cNvSpPr>
            <a:spLocks/>
          </p:cNvSpPr>
          <p:nvPr>
            <p:custDataLst>
              <p:tags r:id="rId287"/>
            </p:custDataLst>
          </p:nvPr>
        </p:nvSpPr>
        <p:spPr bwMode="auto">
          <a:xfrm>
            <a:off x="8902703" y="3017838"/>
            <a:ext cx="74084" cy="57150"/>
          </a:xfrm>
          <a:custGeom>
            <a:avLst/>
            <a:gdLst>
              <a:gd name="T0" fmla="*/ 0 w 126"/>
              <a:gd name="T1" fmla="*/ 2147483647 h 105"/>
              <a:gd name="T2" fmla="*/ 343027468 w 126"/>
              <a:gd name="T3" fmla="*/ 2147483647 h 105"/>
              <a:gd name="T4" fmla="*/ 857568615 w 126"/>
              <a:gd name="T5" fmla="*/ 2147483647 h 105"/>
              <a:gd name="T6" fmla="*/ 1372109873 w 126"/>
              <a:gd name="T7" fmla="*/ 2147483647 h 105"/>
              <a:gd name="T8" fmla="*/ 2057969236 w 126"/>
              <a:gd name="T9" fmla="*/ 2147483647 h 105"/>
              <a:gd name="T10" fmla="*/ 2147483647 w 126"/>
              <a:gd name="T11" fmla="*/ 1773630140 h 105"/>
              <a:gd name="T12" fmla="*/ 2147483647 w 126"/>
              <a:gd name="T13" fmla="*/ 0 h 105"/>
              <a:gd name="T14" fmla="*/ 2147483647 w 126"/>
              <a:gd name="T15" fmla="*/ 0 h 105"/>
              <a:gd name="T16" fmla="*/ 2147483647 w 126"/>
              <a:gd name="T17" fmla="*/ 644929670 h 105"/>
              <a:gd name="T18" fmla="*/ 2147483647 w 126"/>
              <a:gd name="T19" fmla="*/ 1289859341 h 105"/>
              <a:gd name="T20" fmla="*/ 2147483647 w 126"/>
              <a:gd name="T21" fmla="*/ 1934788739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057969236 w 126"/>
              <a:gd name="T67" fmla="*/ 2147483647 h 105"/>
              <a:gd name="T68" fmla="*/ 1715137231 w 126"/>
              <a:gd name="T69" fmla="*/ 2147483647 h 105"/>
              <a:gd name="T70" fmla="*/ 1372109873 w 126"/>
              <a:gd name="T71" fmla="*/ 2147483647 h 105"/>
              <a:gd name="T72" fmla="*/ 1200595753 w 126"/>
              <a:gd name="T73" fmla="*/ 2147483647 h 105"/>
              <a:gd name="T74" fmla="*/ 1114839134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37" name="Freeform 450"/>
          <p:cNvSpPr>
            <a:spLocks/>
          </p:cNvSpPr>
          <p:nvPr>
            <p:custDataLst>
              <p:tags r:id="rId288"/>
            </p:custDataLst>
          </p:nvPr>
        </p:nvSpPr>
        <p:spPr bwMode="auto">
          <a:xfrm>
            <a:off x="2709336" y="3281370"/>
            <a:ext cx="397933" cy="523875"/>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1591003261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913844193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38" name="Freeform 451"/>
          <p:cNvSpPr>
            <a:spLocks/>
          </p:cNvSpPr>
          <p:nvPr>
            <p:custDataLst>
              <p:tags r:id="rId289"/>
            </p:custDataLst>
          </p:nvPr>
        </p:nvSpPr>
        <p:spPr bwMode="auto">
          <a:xfrm>
            <a:off x="5712889" y="3549650"/>
            <a:ext cx="249767" cy="274638"/>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499549129 w 429"/>
              <a:gd name="T55" fmla="*/ 2147483647 h 524"/>
              <a:gd name="T56" fmla="*/ 2081326874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1007874082 h 524"/>
              <a:gd name="T122" fmla="*/ 2147483647 w 429"/>
              <a:gd name="T123" fmla="*/ 719988601 h 524"/>
              <a:gd name="T124" fmla="*/ 2147483647 w 429"/>
              <a:gd name="T125" fmla="*/ 575771223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39" name="Freeform 452"/>
          <p:cNvSpPr>
            <a:spLocks/>
          </p:cNvSpPr>
          <p:nvPr>
            <p:custDataLst>
              <p:tags r:id="rId290"/>
            </p:custDataLst>
          </p:nvPr>
        </p:nvSpPr>
        <p:spPr bwMode="auto">
          <a:xfrm>
            <a:off x="5755220" y="2192338"/>
            <a:ext cx="169333"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1069540926 w 292"/>
              <a:gd name="T47" fmla="*/ 2147483647 h 223"/>
              <a:gd name="T48" fmla="*/ 329147872 w 292"/>
              <a:gd name="T49" fmla="*/ 2147483647 h 223"/>
              <a:gd name="T50" fmla="*/ 82286859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1211897966 h 223"/>
              <a:gd name="T66" fmla="*/ 2147483647 w 292"/>
              <a:gd name="T67" fmla="*/ 0 h 223"/>
              <a:gd name="T68" fmla="*/ 2147483647 w 292"/>
              <a:gd name="T69" fmla="*/ 1885233443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40" name="Freeform 453"/>
          <p:cNvSpPr>
            <a:spLocks/>
          </p:cNvSpPr>
          <p:nvPr>
            <p:custDataLst>
              <p:tags r:id="rId291"/>
            </p:custDataLst>
          </p:nvPr>
        </p:nvSpPr>
        <p:spPr bwMode="auto">
          <a:xfrm>
            <a:off x="5689605" y="2051050"/>
            <a:ext cx="224367" cy="7778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1400436935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1185328289 h 147"/>
              <a:gd name="T60" fmla="*/ 2147483647 w 379"/>
              <a:gd name="T61" fmla="*/ 296262222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41" name="Freeform 454"/>
          <p:cNvSpPr>
            <a:spLocks/>
          </p:cNvSpPr>
          <p:nvPr>
            <p:custDataLst>
              <p:tags r:id="rId292"/>
            </p:custDataLst>
          </p:nvPr>
        </p:nvSpPr>
        <p:spPr bwMode="auto">
          <a:xfrm>
            <a:off x="5640917" y="1906592"/>
            <a:ext cx="40216" cy="60325"/>
          </a:xfrm>
          <a:custGeom>
            <a:avLst/>
            <a:gdLst>
              <a:gd name="T0" fmla="*/ 0 w 61"/>
              <a:gd name="T1" fmla="*/ 0 h 67"/>
              <a:gd name="T2" fmla="*/ 0 w 61"/>
              <a:gd name="T3" fmla="*/ 2147483647 h 67"/>
              <a:gd name="T4" fmla="*/ 0 w 61"/>
              <a:gd name="T5" fmla="*/ 2147483647 h 67"/>
              <a:gd name="T6" fmla="*/ 120778043 w 61"/>
              <a:gd name="T7" fmla="*/ 2147483647 h 67"/>
              <a:gd name="T8" fmla="*/ 241800350 w 61"/>
              <a:gd name="T9" fmla="*/ 2147483647 h 67"/>
              <a:gd name="T10" fmla="*/ 362578424 w 61"/>
              <a:gd name="T11" fmla="*/ 2147483647 h 67"/>
              <a:gd name="T12" fmla="*/ 725401110 w 61"/>
              <a:gd name="T13" fmla="*/ 2147483647 h 67"/>
              <a:gd name="T14" fmla="*/ 1450802221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1571579739 w 61"/>
              <a:gd name="T43" fmla="*/ 2147483647 h 67"/>
              <a:gd name="T44" fmla="*/ 1209001933 w 61"/>
              <a:gd name="T45" fmla="*/ 2147483647 h 67"/>
              <a:gd name="T46" fmla="*/ 725401110 w 61"/>
              <a:gd name="T47" fmla="*/ 1460019649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67"/>
              <a:gd name="T77" fmla="*/ 61 w 61"/>
              <a:gd name="T78" fmla="*/ 67 h 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42" name="Freeform 455"/>
          <p:cNvSpPr>
            <a:spLocks/>
          </p:cNvSpPr>
          <p:nvPr>
            <p:custDataLst>
              <p:tags r:id="rId293"/>
            </p:custDataLst>
          </p:nvPr>
        </p:nvSpPr>
        <p:spPr bwMode="auto">
          <a:xfrm>
            <a:off x="5602817" y="1911350"/>
            <a:ext cx="33867" cy="58738"/>
          </a:xfrm>
          <a:custGeom>
            <a:avLst/>
            <a:gdLst>
              <a:gd name="T0" fmla="*/ 0 w 60"/>
              <a:gd name="T1" fmla="*/ 2147483647 h 55"/>
              <a:gd name="T2" fmla="*/ 0 w 60"/>
              <a:gd name="T3" fmla="*/ 2147483647 h 55"/>
              <a:gd name="T4" fmla="*/ 379390073 w 60"/>
              <a:gd name="T5" fmla="*/ 2147483647 h 55"/>
              <a:gd name="T6" fmla="*/ 758600652 w 60"/>
              <a:gd name="T7" fmla="*/ 2147483647 h 55"/>
              <a:gd name="T8" fmla="*/ 1213796688 w 60"/>
              <a:gd name="T9" fmla="*/ 2147483647 h 55"/>
              <a:gd name="T10" fmla="*/ 1593186231 w 60"/>
              <a:gd name="T11" fmla="*/ 2147483647 h 55"/>
              <a:gd name="T12" fmla="*/ 2048383326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1744978286 w 60"/>
              <a:gd name="T37" fmla="*/ 1218103500 h 55"/>
              <a:gd name="T38" fmla="*/ 1137990407 w 60"/>
              <a:gd name="T39" fmla="*/ 2147483647 h 55"/>
              <a:gd name="T40" fmla="*/ 531002740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0"/>
              <a:gd name="T67" fmla="*/ 0 h 55"/>
              <a:gd name="T68" fmla="*/ 60 w 60"/>
              <a:gd name="T69" fmla="*/ 55 h 55"/>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43" name="Freeform 456"/>
          <p:cNvSpPr>
            <a:spLocks/>
          </p:cNvSpPr>
          <p:nvPr>
            <p:custDataLst>
              <p:tags r:id="rId294"/>
            </p:custDataLst>
          </p:nvPr>
        </p:nvSpPr>
        <p:spPr bwMode="auto">
          <a:xfrm>
            <a:off x="5562601" y="1857375"/>
            <a:ext cx="69851" cy="7778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1580947636 w 120"/>
              <a:gd name="T25" fmla="*/ 2147483647 h 148"/>
              <a:gd name="T26" fmla="*/ 915215290 w 120"/>
              <a:gd name="T27" fmla="*/ 2147483647 h 148"/>
              <a:gd name="T28" fmla="*/ 499156448 w 120"/>
              <a:gd name="T29" fmla="*/ 2147483647 h 148"/>
              <a:gd name="T30" fmla="*/ 249673395 w 120"/>
              <a:gd name="T31" fmla="*/ 2147483647 h 148"/>
              <a:gd name="T32" fmla="*/ 166385610 w 120"/>
              <a:gd name="T33" fmla="*/ 2147483647 h 148"/>
              <a:gd name="T34" fmla="*/ 83288195 w 120"/>
              <a:gd name="T35" fmla="*/ 2147483647 h 148"/>
              <a:gd name="T36" fmla="*/ 0 w 120"/>
              <a:gd name="T37" fmla="*/ 2147483647 h 148"/>
              <a:gd name="T38" fmla="*/ 166385610 w 120"/>
              <a:gd name="T39" fmla="*/ 2147483647 h 148"/>
              <a:gd name="T40" fmla="*/ 665732346 w 120"/>
              <a:gd name="T41" fmla="*/ 2147483647 h 148"/>
              <a:gd name="T42" fmla="*/ 1164888358 w 120"/>
              <a:gd name="T43" fmla="*/ 2147483647 h 148"/>
              <a:gd name="T44" fmla="*/ 1664045460 w 120"/>
              <a:gd name="T45" fmla="*/ 2147483647 h 148"/>
              <a:gd name="T46" fmla="*/ 2147483647 w 120"/>
              <a:gd name="T47" fmla="*/ 2147483647 h 148"/>
              <a:gd name="T48" fmla="*/ 2147483647 w 120"/>
              <a:gd name="T49" fmla="*/ 2147483647 h 148"/>
              <a:gd name="T50" fmla="*/ 2147483647 w 120"/>
              <a:gd name="T51" fmla="*/ 2032644277 h 148"/>
              <a:gd name="T52" fmla="*/ 2147483647 w 120"/>
              <a:gd name="T53" fmla="*/ 1597275533 h 148"/>
              <a:gd name="T54" fmla="*/ 2147483647 w 120"/>
              <a:gd name="T55" fmla="*/ 725984330 h 148"/>
              <a:gd name="T56" fmla="*/ 2147483647 w 120"/>
              <a:gd name="T57" fmla="*/ 0 h 148"/>
              <a:gd name="T58" fmla="*/ 2147483647 w 120"/>
              <a:gd name="T59" fmla="*/ 290338466 h 148"/>
              <a:gd name="T60" fmla="*/ 2147483647 w 120"/>
              <a:gd name="T61" fmla="*/ 1016322664 h 148"/>
              <a:gd name="T62" fmla="*/ 2147483647 w 120"/>
              <a:gd name="T63" fmla="*/ 1451967609 h 148"/>
              <a:gd name="T64" fmla="*/ 2147483647 w 120"/>
              <a:gd name="T65" fmla="*/ 188761386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44" name="Freeform 457"/>
          <p:cNvSpPr>
            <a:spLocks/>
          </p:cNvSpPr>
          <p:nvPr>
            <p:custDataLst>
              <p:tags r:id="rId295"/>
            </p:custDataLst>
          </p:nvPr>
        </p:nvSpPr>
        <p:spPr bwMode="auto">
          <a:xfrm>
            <a:off x="6138333" y="2662245"/>
            <a:ext cx="364067" cy="307975"/>
          </a:xfrm>
          <a:custGeom>
            <a:avLst/>
            <a:gdLst>
              <a:gd name="T0" fmla="*/ 1701555636 w 631"/>
              <a:gd name="T1" fmla="*/ 281462632 h 592"/>
              <a:gd name="T2" fmla="*/ 2147483647 w 631"/>
              <a:gd name="T3" fmla="*/ 563196303 h 592"/>
              <a:gd name="T4" fmla="*/ 2147483647 w 631"/>
              <a:gd name="T5" fmla="*/ 1126391566 h 592"/>
              <a:gd name="T6" fmla="*/ 2147483647 w 631"/>
              <a:gd name="T7" fmla="*/ 1548856098 h 592"/>
              <a:gd name="T8" fmla="*/ 2147483647 w 631"/>
              <a:gd name="T9" fmla="*/ 2147483647 h 592"/>
              <a:gd name="T10" fmla="*/ 2147483647 w 631"/>
              <a:gd name="T11" fmla="*/ 2147483647 h 592"/>
              <a:gd name="T12" fmla="*/ 2147483647 w 631"/>
              <a:gd name="T13" fmla="*/ 2147483647 h 592"/>
              <a:gd name="T14" fmla="*/ 2147483647 w 631"/>
              <a:gd name="T15" fmla="*/ 2147483647 h 592"/>
              <a:gd name="T16" fmla="*/ 2147483647 w 631"/>
              <a:gd name="T17" fmla="*/ 2147483647 h 592"/>
              <a:gd name="T18" fmla="*/ 2147483647 w 631"/>
              <a:gd name="T19" fmla="*/ 2147483647 h 592"/>
              <a:gd name="T20" fmla="*/ 2147483647 w 631"/>
              <a:gd name="T21" fmla="*/ 2147483647 h 592"/>
              <a:gd name="T22" fmla="*/ 2147483647 w 631"/>
              <a:gd name="T23" fmla="*/ 2147483647 h 592"/>
              <a:gd name="T24" fmla="*/ 2147483647 w 631"/>
              <a:gd name="T25" fmla="*/ 2147483647 h 592"/>
              <a:gd name="T26" fmla="*/ 2147483647 w 631"/>
              <a:gd name="T27" fmla="*/ 2147483647 h 592"/>
              <a:gd name="T28" fmla="*/ 2147483647 w 631"/>
              <a:gd name="T29" fmla="*/ 2147483647 h 592"/>
              <a:gd name="T30" fmla="*/ 2147483647 w 631"/>
              <a:gd name="T31" fmla="*/ 2147483647 h 592"/>
              <a:gd name="T32" fmla="*/ 2147483647 w 631"/>
              <a:gd name="T33" fmla="*/ 2147483647 h 592"/>
              <a:gd name="T34" fmla="*/ 2147483647 w 631"/>
              <a:gd name="T35" fmla="*/ 2147483647 h 592"/>
              <a:gd name="T36" fmla="*/ 2147483647 w 631"/>
              <a:gd name="T37" fmla="*/ 2147483647 h 592"/>
              <a:gd name="T38" fmla="*/ 2147483647 w 631"/>
              <a:gd name="T39" fmla="*/ 2147483647 h 592"/>
              <a:gd name="T40" fmla="*/ 2147483647 w 631"/>
              <a:gd name="T41" fmla="*/ 2147483647 h 592"/>
              <a:gd name="T42" fmla="*/ 2147483647 w 631"/>
              <a:gd name="T43" fmla="*/ 2147483647 h 592"/>
              <a:gd name="T44" fmla="*/ 2147483647 w 631"/>
              <a:gd name="T45" fmla="*/ 2147483647 h 592"/>
              <a:gd name="T46" fmla="*/ 2147483647 w 631"/>
              <a:gd name="T47" fmla="*/ 2147483647 h 592"/>
              <a:gd name="T48" fmla="*/ 2147483647 w 631"/>
              <a:gd name="T49" fmla="*/ 2147483647 h 592"/>
              <a:gd name="T50" fmla="*/ 2147483647 w 631"/>
              <a:gd name="T51" fmla="*/ 2147483647 h 592"/>
              <a:gd name="T52" fmla="*/ 2147483647 w 631"/>
              <a:gd name="T53" fmla="*/ 2147483647 h 592"/>
              <a:gd name="T54" fmla="*/ 2147483647 w 631"/>
              <a:gd name="T55" fmla="*/ 2147483647 h 592"/>
              <a:gd name="T56" fmla="*/ 2147483647 w 631"/>
              <a:gd name="T57" fmla="*/ 2147483647 h 592"/>
              <a:gd name="T58" fmla="*/ 2147483647 w 631"/>
              <a:gd name="T59" fmla="*/ 2147483647 h 592"/>
              <a:gd name="T60" fmla="*/ 2147483647 w 631"/>
              <a:gd name="T61" fmla="*/ 2147483647 h 592"/>
              <a:gd name="T62" fmla="*/ 2147483647 w 631"/>
              <a:gd name="T63" fmla="*/ 2147483647 h 592"/>
              <a:gd name="T64" fmla="*/ 2147483647 w 631"/>
              <a:gd name="T65" fmla="*/ 2147483647 h 592"/>
              <a:gd name="T66" fmla="*/ 2147483647 w 631"/>
              <a:gd name="T67" fmla="*/ 2147483647 h 592"/>
              <a:gd name="T68" fmla="*/ 2147483647 w 631"/>
              <a:gd name="T69" fmla="*/ 2147483647 h 592"/>
              <a:gd name="T70" fmla="*/ 2147483647 w 631"/>
              <a:gd name="T71" fmla="*/ 2147483647 h 592"/>
              <a:gd name="T72" fmla="*/ 2147483647 w 631"/>
              <a:gd name="T73" fmla="*/ 2147483647 h 592"/>
              <a:gd name="T74" fmla="*/ 2147483647 w 631"/>
              <a:gd name="T75" fmla="*/ 2147483647 h 592"/>
              <a:gd name="T76" fmla="*/ 2147483647 w 631"/>
              <a:gd name="T77" fmla="*/ 2147483647 h 592"/>
              <a:gd name="T78" fmla="*/ 2147483647 w 631"/>
              <a:gd name="T79" fmla="*/ 2147483647 h 592"/>
              <a:gd name="T80" fmla="*/ 2147483647 w 631"/>
              <a:gd name="T81" fmla="*/ 2147483647 h 592"/>
              <a:gd name="T82" fmla="*/ 2147483647 w 631"/>
              <a:gd name="T83" fmla="*/ 2147483647 h 592"/>
              <a:gd name="T84" fmla="*/ 2147483647 w 631"/>
              <a:gd name="T85" fmla="*/ 2147483647 h 592"/>
              <a:gd name="T86" fmla="*/ 2025688363 w 631"/>
              <a:gd name="T87" fmla="*/ 2147483647 h 592"/>
              <a:gd name="T88" fmla="*/ 891317722 w 631"/>
              <a:gd name="T89" fmla="*/ 2147483647 h 592"/>
              <a:gd name="T90" fmla="*/ 161972732 w 631"/>
              <a:gd name="T91" fmla="*/ 2147483647 h 592"/>
              <a:gd name="T92" fmla="*/ 0 w 631"/>
              <a:gd name="T93" fmla="*/ 2147483647 h 592"/>
              <a:gd name="T94" fmla="*/ 243052594 w 631"/>
              <a:gd name="T95" fmla="*/ 2147483647 h 592"/>
              <a:gd name="T96" fmla="*/ 810237914 w 631"/>
              <a:gd name="T97" fmla="*/ 2147483647 h 592"/>
              <a:gd name="T98" fmla="*/ 1377422477 w 631"/>
              <a:gd name="T99" fmla="*/ 2147483647 h 592"/>
              <a:gd name="T100" fmla="*/ 1620662766 w 631"/>
              <a:gd name="T101" fmla="*/ 2147483647 h 592"/>
              <a:gd name="T102" fmla="*/ 1458503151 w 631"/>
              <a:gd name="T103" fmla="*/ 2147483647 h 592"/>
              <a:gd name="T104" fmla="*/ 1053290184 w 631"/>
              <a:gd name="T105" fmla="*/ 2147483647 h 592"/>
              <a:gd name="T106" fmla="*/ 729345044 w 631"/>
              <a:gd name="T107" fmla="*/ 2147483647 h 592"/>
              <a:gd name="T108" fmla="*/ 567185429 w 631"/>
              <a:gd name="T109" fmla="*/ 2147483647 h 592"/>
              <a:gd name="T110" fmla="*/ 1053290184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31"/>
              <a:gd name="T169" fmla="*/ 0 h 592"/>
              <a:gd name="T170" fmla="*/ 631 w 631"/>
              <a:gd name="T171" fmla="*/ 592 h 59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45" name="Freeform 458"/>
          <p:cNvSpPr>
            <a:spLocks/>
          </p:cNvSpPr>
          <p:nvPr>
            <p:custDataLst>
              <p:tags r:id="rId296"/>
            </p:custDataLst>
          </p:nvPr>
        </p:nvSpPr>
        <p:spPr bwMode="auto">
          <a:xfrm>
            <a:off x="5598585" y="2297113"/>
            <a:ext cx="23283" cy="57150"/>
          </a:xfrm>
          <a:custGeom>
            <a:avLst/>
            <a:gdLst>
              <a:gd name="T0" fmla="*/ 582400041 w 40"/>
              <a:gd name="T1" fmla="*/ 2147483647 h 93"/>
              <a:gd name="T2" fmla="*/ 832054160 w 40"/>
              <a:gd name="T3" fmla="*/ 2147483647 h 93"/>
              <a:gd name="T4" fmla="*/ 1164800083 w 40"/>
              <a:gd name="T5" fmla="*/ 2147483647 h 93"/>
              <a:gd name="T6" fmla="*/ 1663917985 w 40"/>
              <a:gd name="T7" fmla="*/ 2147483647 h 93"/>
              <a:gd name="T8" fmla="*/ 2079944301 w 40"/>
              <a:gd name="T9" fmla="*/ 2147483647 h 93"/>
              <a:gd name="T10" fmla="*/ 2147483647 w 40"/>
              <a:gd name="T11" fmla="*/ 928214940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1081517725 w 40"/>
              <a:gd name="T33" fmla="*/ 2147483647 h 93"/>
              <a:gd name="T34" fmla="*/ 915145309 w 40"/>
              <a:gd name="T35" fmla="*/ 2147483647 h 93"/>
              <a:gd name="T36" fmla="*/ 665491191 w 40"/>
              <a:gd name="T37" fmla="*/ 2147483647 h 93"/>
              <a:gd name="T38" fmla="*/ 499118120 w 40"/>
              <a:gd name="T39" fmla="*/ 2147483647 h 93"/>
              <a:gd name="T40" fmla="*/ 332745377 w 40"/>
              <a:gd name="T41" fmla="*/ 2147483647 h 93"/>
              <a:gd name="T42" fmla="*/ 83281512 w 40"/>
              <a:gd name="T43" fmla="*/ 2147483647 h 93"/>
              <a:gd name="T44" fmla="*/ 0 w 40"/>
              <a:gd name="T45" fmla="*/ 2147483647 h 93"/>
              <a:gd name="T46" fmla="*/ 83281512 w 40"/>
              <a:gd name="T47" fmla="*/ 2147483647 h 93"/>
              <a:gd name="T48" fmla="*/ 249654664 w 40"/>
              <a:gd name="T49" fmla="*/ 2147483647 h 93"/>
              <a:gd name="T50" fmla="*/ 499118120 w 40"/>
              <a:gd name="T51" fmla="*/ 2147483647 h 93"/>
              <a:gd name="T52" fmla="*/ 582400041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46" name="Freeform 459"/>
          <p:cNvSpPr>
            <a:spLocks/>
          </p:cNvSpPr>
          <p:nvPr>
            <p:custDataLst>
              <p:tags r:id="rId297"/>
            </p:custDataLst>
          </p:nvPr>
        </p:nvSpPr>
        <p:spPr bwMode="auto">
          <a:xfrm>
            <a:off x="5118103" y="2047875"/>
            <a:ext cx="393700"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1758791105 w 664"/>
              <a:gd name="T15" fmla="*/ 2147483647 h 518"/>
              <a:gd name="T16" fmla="*/ 2110588459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1757459141 h 518"/>
              <a:gd name="T44" fmla="*/ 2147483647 w 664"/>
              <a:gd name="T45" fmla="*/ 585727028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47" name="Freeform 460"/>
          <p:cNvSpPr>
            <a:spLocks/>
          </p:cNvSpPr>
          <p:nvPr>
            <p:custDataLst>
              <p:tags r:id="rId298"/>
            </p:custDataLst>
          </p:nvPr>
        </p:nvSpPr>
        <p:spPr bwMode="auto">
          <a:xfrm>
            <a:off x="6559550" y="2282825"/>
            <a:ext cx="201083"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1179762879 w 352"/>
              <a:gd name="T53" fmla="*/ 1099507561 h 153"/>
              <a:gd name="T54" fmla="*/ 0 w 352"/>
              <a:gd name="T55" fmla="*/ 0 h 153"/>
              <a:gd name="T56" fmla="*/ 550507096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48" name="Freeform 461"/>
          <p:cNvSpPr>
            <a:spLocks/>
          </p:cNvSpPr>
          <p:nvPr>
            <p:custDataLst>
              <p:tags r:id="rId299"/>
            </p:custDataLst>
          </p:nvPr>
        </p:nvSpPr>
        <p:spPr bwMode="auto">
          <a:xfrm>
            <a:off x="5958422" y="2343150"/>
            <a:ext cx="196849" cy="173038"/>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1153486564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074380357 h 327"/>
              <a:gd name="T82" fmla="*/ 2147483647 w 331"/>
              <a:gd name="T83" fmla="*/ 1037190179 h 327"/>
              <a:gd name="T84" fmla="*/ 2147483647 w 331"/>
              <a:gd name="T85" fmla="*/ 2074380357 h 327"/>
              <a:gd name="T86" fmla="*/ 2147483647 w 331"/>
              <a:gd name="T87" fmla="*/ 2147483647 h 327"/>
              <a:gd name="T88" fmla="*/ 2147483647 w 331"/>
              <a:gd name="T89" fmla="*/ 2147483647 h 327"/>
              <a:gd name="T90" fmla="*/ 2147483647 w 331"/>
              <a:gd name="T91" fmla="*/ 2147483647 h 327"/>
              <a:gd name="T92" fmla="*/ 2147483647 w 331"/>
              <a:gd name="T93" fmla="*/ 889060181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49" name="Freeform 462"/>
          <p:cNvSpPr>
            <a:spLocks/>
          </p:cNvSpPr>
          <p:nvPr>
            <p:custDataLst>
              <p:tags r:id="rId300"/>
            </p:custDataLst>
          </p:nvPr>
        </p:nvSpPr>
        <p:spPr bwMode="auto">
          <a:xfrm>
            <a:off x="6070600" y="2535238"/>
            <a:ext cx="93133"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093420100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50" name="Freeform 463"/>
          <p:cNvSpPr>
            <a:spLocks/>
          </p:cNvSpPr>
          <p:nvPr>
            <p:custDataLst>
              <p:tags r:id="rId301"/>
            </p:custDataLst>
          </p:nvPr>
        </p:nvSpPr>
        <p:spPr bwMode="auto">
          <a:xfrm>
            <a:off x="4842938" y="3267075"/>
            <a:ext cx="249767" cy="158750"/>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040746987 w 426"/>
              <a:gd name="T107" fmla="*/ 2147483647 h 299"/>
              <a:gd name="T108" fmla="*/ 680249216 w 426"/>
              <a:gd name="T109" fmla="*/ 2147483647 h 299"/>
              <a:gd name="T110" fmla="*/ 127541860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1945628056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51" name="Freeform 464"/>
          <p:cNvSpPr>
            <a:spLocks/>
          </p:cNvSpPr>
          <p:nvPr>
            <p:custDataLst>
              <p:tags r:id="rId302"/>
            </p:custDataLst>
          </p:nvPr>
        </p:nvSpPr>
        <p:spPr bwMode="auto">
          <a:xfrm>
            <a:off x="7569201" y="2530482"/>
            <a:ext cx="922867" cy="874713"/>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52" name="Freeform 465"/>
          <p:cNvSpPr>
            <a:spLocks/>
          </p:cNvSpPr>
          <p:nvPr>
            <p:custDataLst>
              <p:tags r:id="rId303"/>
            </p:custDataLst>
          </p:nvPr>
        </p:nvSpPr>
        <p:spPr bwMode="auto">
          <a:xfrm>
            <a:off x="5065185" y="3325816"/>
            <a:ext cx="211667" cy="206375"/>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1124166738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011885873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53" name="Freeform 466"/>
          <p:cNvSpPr>
            <a:spLocks/>
          </p:cNvSpPr>
          <p:nvPr>
            <p:custDataLst>
              <p:tags r:id="rId304"/>
            </p:custDataLst>
          </p:nvPr>
        </p:nvSpPr>
        <p:spPr bwMode="auto">
          <a:xfrm>
            <a:off x="6489700" y="3521075"/>
            <a:ext cx="256117" cy="2714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1678170506 h 523"/>
              <a:gd name="T44" fmla="*/ 2147483647 w 449"/>
              <a:gd name="T45" fmla="*/ 838950819 h 523"/>
              <a:gd name="T46" fmla="*/ 2147483647 w 449"/>
              <a:gd name="T47" fmla="*/ 1118600919 h 523"/>
              <a:gd name="T48" fmla="*/ 2147483647 w 449"/>
              <a:gd name="T49" fmla="*/ 838950819 h 523"/>
              <a:gd name="T50" fmla="*/ 2147483647 w 449"/>
              <a:gd name="T51" fmla="*/ 0 h 523"/>
              <a:gd name="T52" fmla="*/ 2147483647 w 449"/>
              <a:gd name="T53" fmla="*/ 0 h 523"/>
              <a:gd name="T54" fmla="*/ 391488179 w 449"/>
              <a:gd name="T55" fmla="*/ 0 h 523"/>
              <a:gd name="T56" fmla="*/ 391488179 w 449"/>
              <a:gd name="T57" fmla="*/ 2147483647 h 523"/>
              <a:gd name="T58" fmla="*/ 391488179 w 449"/>
              <a:gd name="T59" fmla="*/ 2147483647 h 523"/>
              <a:gd name="T60" fmla="*/ 1174463788 w 449"/>
              <a:gd name="T61" fmla="*/ 2147483647 h 523"/>
              <a:gd name="T62" fmla="*/ 1800954138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548156756 w 449"/>
              <a:gd name="T73" fmla="*/ 2147483647 h 523"/>
              <a:gd name="T74" fmla="*/ 782976358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54" name="Freeform 467"/>
          <p:cNvSpPr>
            <a:spLocks/>
          </p:cNvSpPr>
          <p:nvPr>
            <p:custDataLst>
              <p:tags r:id="rId305"/>
            </p:custDataLst>
          </p:nvPr>
        </p:nvSpPr>
        <p:spPr bwMode="auto">
          <a:xfrm>
            <a:off x="6466417" y="2606682"/>
            <a:ext cx="135467" cy="130175"/>
          </a:xfrm>
          <a:custGeom>
            <a:avLst/>
            <a:gdLst>
              <a:gd name="T0" fmla="*/ 1090339886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889055077 h 246"/>
              <a:gd name="T42" fmla="*/ 2147483647 w 226"/>
              <a:gd name="T43" fmla="*/ 148129125 h 246"/>
              <a:gd name="T44" fmla="*/ 2147483647 w 226"/>
              <a:gd name="T45" fmla="*/ 1037184136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1635408454 w 226"/>
              <a:gd name="T63" fmla="*/ 2147483647 h 246"/>
              <a:gd name="T64" fmla="*/ 908650588 w 226"/>
              <a:gd name="T65" fmla="*/ 2147483647 h 246"/>
              <a:gd name="T66" fmla="*/ 2726355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55" name="Freeform 468"/>
          <p:cNvSpPr>
            <a:spLocks/>
          </p:cNvSpPr>
          <p:nvPr>
            <p:custDataLst>
              <p:tags r:id="rId306"/>
            </p:custDataLst>
          </p:nvPr>
        </p:nvSpPr>
        <p:spPr bwMode="auto">
          <a:xfrm>
            <a:off x="6864356" y="2709863"/>
            <a:ext cx="29633" cy="55562"/>
          </a:xfrm>
          <a:custGeom>
            <a:avLst/>
            <a:gdLst>
              <a:gd name="T0" fmla="*/ 1372221898 w 60"/>
              <a:gd name="T1" fmla="*/ 0 h 81"/>
              <a:gd name="T2" fmla="*/ 1473893839 w 60"/>
              <a:gd name="T3" fmla="*/ 645564517 h 81"/>
              <a:gd name="T4" fmla="*/ 1626332482 w 60"/>
              <a:gd name="T5" fmla="*/ 968346861 h 81"/>
              <a:gd name="T6" fmla="*/ 1829674882 w 60"/>
              <a:gd name="T7" fmla="*/ 968346861 h 81"/>
              <a:gd name="T8" fmla="*/ 2033018764 w 60"/>
              <a:gd name="T9" fmla="*/ 645564517 h 81"/>
              <a:gd name="T10" fmla="*/ 2147483647 w 60"/>
              <a:gd name="T11" fmla="*/ 322782259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1016440484 w 60"/>
              <a:gd name="T27" fmla="*/ 2147483647 h 81"/>
              <a:gd name="T28" fmla="*/ 711563383 w 60"/>
              <a:gd name="T29" fmla="*/ 2147483647 h 81"/>
              <a:gd name="T30" fmla="*/ 355781506 w 60"/>
              <a:gd name="T31" fmla="*/ 2147483647 h 81"/>
              <a:gd name="T32" fmla="*/ 254110306 w 60"/>
              <a:gd name="T33" fmla="*/ 2147483647 h 81"/>
              <a:gd name="T34" fmla="*/ 101671617 w 60"/>
              <a:gd name="T35" fmla="*/ 2147483647 h 81"/>
              <a:gd name="T36" fmla="*/ 50767096 w 60"/>
              <a:gd name="T37" fmla="*/ 2147483647 h 81"/>
              <a:gd name="T38" fmla="*/ 0 w 60"/>
              <a:gd name="T39" fmla="*/ 2147483647 h 81"/>
              <a:gd name="T40" fmla="*/ 355781506 w 60"/>
              <a:gd name="T41" fmla="*/ 2147483647 h 81"/>
              <a:gd name="T42" fmla="*/ 1016440484 w 60"/>
              <a:gd name="T43" fmla="*/ 1936693723 h 81"/>
              <a:gd name="T44" fmla="*/ 1728004423 w 60"/>
              <a:gd name="T45" fmla="*/ 0 h 81"/>
              <a:gd name="T46" fmla="*/ 1372221898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56" name="Freeform 469"/>
          <p:cNvSpPr>
            <a:spLocks/>
          </p:cNvSpPr>
          <p:nvPr>
            <p:custDataLst>
              <p:tags r:id="rId307"/>
            </p:custDataLst>
          </p:nvPr>
        </p:nvSpPr>
        <p:spPr bwMode="auto">
          <a:xfrm>
            <a:off x="5913967" y="1844676"/>
            <a:ext cx="215900"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071172096 h 129"/>
              <a:gd name="T22" fmla="*/ 2147483647 w 370"/>
              <a:gd name="T23" fmla="*/ 1242756804 h 129"/>
              <a:gd name="T24" fmla="*/ 2147483647 w 370"/>
              <a:gd name="T25" fmla="*/ 276227804 h 129"/>
              <a:gd name="T26" fmla="*/ 2147483647 w 370"/>
              <a:gd name="T27" fmla="*/ 0 h 129"/>
              <a:gd name="T28" fmla="*/ 2147483647 w 370"/>
              <a:gd name="T29" fmla="*/ 0 h 129"/>
              <a:gd name="T30" fmla="*/ 2147483647 w 370"/>
              <a:gd name="T31" fmla="*/ 138113902 h 129"/>
              <a:gd name="T32" fmla="*/ 2147483647 w 370"/>
              <a:gd name="T33" fmla="*/ 276227804 h 129"/>
              <a:gd name="T34" fmla="*/ 2147483647 w 370"/>
              <a:gd name="T35" fmla="*/ 414341642 h 129"/>
              <a:gd name="T36" fmla="*/ 2147483647 w 370"/>
              <a:gd name="T37" fmla="*/ 966529388 h 129"/>
              <a:gd name="T38" fmla="*/ 2147483647 w 370"/>
              <a:gd name="T39" fmla="*/ 1656831100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1760109727 w 370"/>
              <a:gd name="T63" fmla="*/ 2147483647 h 129"/>
              <a:gd name="T64" fmla="*/ 1341054092 w 370"/>
              <a:gd name="T65" fmla="*/ 2147483647 h 129"/>
              <a:gd name="T66" fmla="*/ 1005886958 w 370"/>
              <a:gd name="T67" fmla="*/ 2147483647 h 129"/>
              <a:gd name="T68" fmla="*/ 754415109 w 370"/>
              <a:gd name="T69" fmla="*/ 2147483647 h 129"/>
              <a:gd name="T70" fmla="*/ 419055744 w 370"/>
              <a:gd name="T71" fmla="*/ 2147483647 h 129"/>
              <a:gd name="T72" fmla="*/ 251471740 w 370"/>
              <a:gd name="T73" fmla="*/ 2147483647 h 129"/>
              <a:gd name="T74" fmla="*/ 83887653 w 370"/>
              <a:gd name="T75" fmla="*/ 2147483647 h 129"/>
              <a:gd name="T76" fmla="*/ 0 w 370"/>
              <a:gd name="T77" fmla="*/ 2147483647 h 129"/>
              <a:gd name="T78" fmla="*/ 0 w 370"/>
              <a:gd name="T79" fmla="*/ 2147483647 h 129"/>
              <a:gd name="T80" fmla="*/ 83887653 w 370"/>
              <a:gd name="T81" fmla="*/ 2147483647 h 129"/>
              <a:gd name="T82" fmla="*/ 251471740 w 370"/>
              <a:gd name="T83" fmla="*/ 2147483647 h 129"/>
              <a:gd name="T84" fmla="*/ 502943479 w 370"/>
              <a:gd name="T85" fmla="*/ 2147483647 h 129"/>
              <a:gd name="T86" fmla="*/ 921999333 w 370"/>
              <a:gd name="T87" fmla="*/ 2147483647 h 129"/>
              <a:gd name="T88" fmla="*/ 1676413786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57" name="Freeform 470"/>
          <p:cNvSpPr>
            <a:spLocks/>
          </p:cNvSpPr>
          <p:nvPr>
            <p:custDataLst>
              <p:tags r:id="rId308"/>
            </p:custDataLst>
          </p:nvPr>
        </p:nvSpPr>
        <p:spPr bwMode="auto">
          <a:xfrm>
            <a:off x="6462184" y="2565400"/>
            <a:ext cx="40216" cy="57150"/>
          </a:xfrm>
          <a:custGeom>
            <a:avLst/>
            <a:gdLst>
              <a:gd name="T0" fmla="*/ 1447064756 w 80"/>
              <a:gd name="T1" fmla="*/ 224739946 h 94"/>
              <a:gd name="T2" fmla="*/ 1822192046 w 80"/>
              <a:gd name="T3" fmla="*/ 0 h 94"/>
              <a:gd name="T4" fmla="*/ 2147483647 w 80"/>
              <a:gd name="T5" fmla="*/ 0 h 94"/>
              <a:gd name="T6" fmla="*/ 2147483647 w 80"/>
              <a:gd name="T7" fmla="*/ 449479892 h 94"/>
              <a:gd name="T8" fmla="*/ 2147483647 w 80"/>
              <a:gd name="T9" fmla="*/ 898959784 h 94"/>
              <a:gd name="T10" fmla="*/ 2147483647 w 80"/>
              <a:gd name="T11" fmla="*/ 1348439829 h 94"/>
              <a:gd name="T12" fmla="*/ 2147483647 w 80"/>
              <a:gd name="T13" fmla="*/ 1797919569 h 94"/>
              <a:gd name="T14" fmla="*/ 2147483647 w 80"/>
              <a:gd name="T15" fmla="*/ 1797919569 h 94"/>
              <a:gd name="T16" fmla="*/ 2147483647 w 80"/>
              <a:gd name="T17" fmla="*/ 1573179091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3730908 w 80"/>
              <a:gd name="T35" fmla="*/ 2147483647 h 94"/>
              <a:gd name="T36" fmla="*/ 1982961477 w 80"/>
              <a:gd name="T37" fmla="*/ 2147483647 h 94"/>
              <a:gd name="T38" fmla="*/ 1822192046 w 80"/>
              <a:gd name="T39" fmla="*/ 2147483647 h 94"/>
              <a:gd name="T40" fmla="*/ 1554243874 w 80"/>
              <a:gd name="T41" fmla="*/ 2147483647 h 94"/>
              <a:gd name="T42" fmla="*/ 1232705766 w 80"/>
              <a:gd name="T43" fmla="*/ 2147483647 h 94"/>
              <a:gd name="T44" fmla="*/ 1018205014 w 80"/>
              <a:gd name="T45" fmla="*/ 2147483647 h 94"/>
              <a:gd name="T46" fmla="*/ 696666718 w 80"/>
              <a:gd name="T47" fmla="*/ 2147483647 h 94"/>
              <a:gd name="T48" fmla="*/ 375128138 w 80"/>
              <a:gd name="T49" fmla="*/ 2147483647 h 94"/>
              <a:gd name="T50" fmla="*/ 0 w 80"/>
              <a:gd name="T51" fmla="*/ 2147483647 h 94"/>
              <a:gd name="T52" fmla="*/ 428717792 w 80"/>
              <a:gd name="T53" fmla="*/ 2147483647 h 94"/>
              <a:gd name="T54" fmla="*/ 696666718 w 80"/>
              <a:gd name="T55" fmla="*/ 2147483647 h 94"/>
              <a:gd name="T56" fmla="*/ 1018205014 w 80"/>
              <a:gd name="T57" fmla="*/ 2147483647 h 94"/>
              <a:gd name="T58" fmla="*/ 1447064756 w 80"/>
              <a:gd name="T59" fmla="*/ 224739946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80"/>
              <a:gd name="T91" fmla="*/ 0 h 94"/>
              <a:gd name="T92" fmla="*/ 80 w 80"/>
              <a:gd name="T93" fmla="*/ 94 h 9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58" name="Freeform 471"/>
          <p:cNvSpPr>
            <a:spLocks/>
          </p:cNvSpPr>
          <p:nvPr>
            <p:custDataLst>
              <p:tags r:id="rId309"/>
            </p:custDataLst>
          </p:nvPr>
        </p:nvSpPr>
        <p:spPr bwMode="auto">
          <a:xfrm>
            <a:off x="6216652" y="4576763"/>
            <a:ext cx="82549" cy="57150"/>
          </a:xfrm>
          <a:custGeom>
            <a:avLst/>
            <a:gdLst>
              <a:gd name="T0" fmla="*/ 289401437 w 135"/>
              <a:gd name="T1" fmla="*/ 2147483647 h 98"/>
              <a:gd name="T2" fmla="*/ 1061068014 w 135"/>
              <a:gd name="T3" fmla="*/ 2147483647 h 98"/>
              <a:gd name="T4" fmla="*/ 1736197431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1586470093 h 98"/>
              <a:gd name="T18" fmla="*/ 2147483647 w 135"/>
              <a:gd name="T19" fmla="*/ 991671448 h 98"/>
              <a:gd name="T20" fmla="*/ 2147483647 w 135"/>
              <a:gd name="T21" fmla="*/ 396532381 h 98"/>
              <a:gd name="T22" fmla="*/ 2147483647 w 135"/>
              <a:gd name="T23" fmla="*/ 0 h 98"/>
              <a:gd name="T24" fmla="*/ 2147483647 w 135"/>
              <a:gd name="T25" fmla="*/ 0 h 98"/>
              <a:gd name="T26" fmla="*/ 2147483647 w 135"/>
              <a:gd name="T27" fmla="*/ 0 h 98"/>
              <a:gd name="T28" fmla="*/ 2147483647 w 135"/>
              <a:gd name="T29" fmla="*/ 594799083 h 98"/>
              <a:gd name="T30" fmla="*/ 2147483647 w 135"/>
              <a:gd name="T31" fmla="*/ 1189937566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025599212 w 135"/>
              <a:gd name="T69" fmla="*/ 2147483647 h 98"/>
              <a:gd name="T70" fmla="*/ 1061068014 w 135"/>
              <a:gd name="T71" fmla="*/ 2147483647 h 98"/>
              <a:gd name="T72" fmla="*/ 482265599 w 135"/>
              <a:gd name="T73" fmla="*/ 2147483647 h 98"/>
              <a:gd name="T74" fmla="*/ 96537303 w 135"/>
              <a:gd name="T75" fmla="*/ 2147483647 h 98"/>
              <a:gd name="T76" fmla="*/ 0 w 135"/>
              <a:gd name="T77" fmla="*/ 2147483647 h 98"/>
              <a:gd name="T78" fmla="*/ 0 w 135"/>
              <a:gd name="T79" fmla="*/ 2147483647 h 98"/>
              <a:gd name="T80" fmla="*/ 28940143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59" name="Freeform 472"/>
          <p:cNvSpPr>
            <a:spLocks/>
          </p:cNvSpPr>
          <p:nvPr>
            <p:custDataLst>
              <p:tags r:id="rId310"/>
            </p:custDataLst>
          </p:nvPr>
        </p:nvSpPr>
        <p:spPr bwMode="auto">
          <a:xfrm>
            <a:off x="5911853" y="1892300"/>
            <a:ext cx="175683" cy="84138"/>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079414483 h 155"/>
              <a:gd name="T62" fmla="*/ 2147483647 w 312"/>
              <a:gd name="T63" fmla="*/ 1439413338 h 155"/>
              <a:gd name="T64" fmla="*/ 2147483647 w 312"/>
              <a:gd name="T65" fmla="*/ 959707234 h 155"/>
              <a:gd name="T66" fmla="*/ 2147483647 w 312"/>
              <a:gd name="T67" fmla="*/ 479705968 h 155"/>
              <a:gd name="T68" fmla="*/ 2147483647 w 312"/>
              <a:gd name="T69" fmla="*/ 160000083 h 155"/>
              <a:gd name="T70" fmla="*/ 2147483647 w 312"/>
              <a:gd name="T71" fmla="*/ 0 h 155"/>
              <a:gd name="T72" fmla="*/ 2147483647 w 312"/>
              <a:gd name="T73" fmla="*/ 160000083 h 155"/>
              <a:gd name="T74" fmla="*/ 2147483647 w 312"/>
              <a:gd name="T75" fmla="*/ 639706662 h 155"/>
              <a:gd name="T76" fmla="*/ 2147483647 w 312"/>
              <a:gd name="T77" fmla="*/ 959707234 h 155"/>
              <a:gd name="T78" fmla="*/ 2147483647 w 312"/>
              <a:gd name="T79" fmla="*/ 1279707535 h 155"/>
              <a:gd name="T80" fmla="*/ 1355810601 w 312"/>
              <a:gd name="T81" fmla="*/ 1599413353 h 155"/>
              <a:gd name="T82" fmla="*/ 527200038 w 312"/>
              <a:gd name="T83" fmla="*/ 1919413383 h 155"/>
              <a:gd name="T84" fmla="*/ 677905300 w 312"/>
              <a:gd name="T85" fmla="*/ 2147483647 h 155"/>
              <a:gd name="T86" fmla="*/ 828431924 w 312"/>
              <a:gd name="T87" fmla="*/ 2147483647 h 155"/>
              <a:gd name="T88" fmla="*/ 979136975 w 312"/>
              <a:gd name="T89" fmla="*/ 2147483647 h 155"/>
              <a:gd name="T90" fmla="*/ 1129842238 w 312"/>
              <a:gd name="T91" fmla="*/ 2147483647 h 155"/>
              <a:gd name="T92" fmla="*/ 1355810601 w 312"/>
              <a:gd name="T93" fmla="*/ 2147483647 h 155"/>
              <a:gd name="T94" fmla="*/ 1431073701 w 312"/>
              <a:gd name="T95" fmla="*/ 2147483647 h 155"/>
              <a:gd name="T96" fmla="*/ 1506336802 w 312"/>
              <a:gd name="T97" fmla="*/ 2147483647 h 155"/>
              <a:gd name="T98" fmla="*/ 1506336802 w 312"/>
              <a:gd name="T99" fmla="*/ 2147483647 h 155"/>
              <a:gd name="T100" fmla="*/ 1506336802 w 312"/>
              <a:gd name="T101" fmla="*/ 2147483647 h 155"/>
              <a:gd name="T102" fmla="*/ 1431073701 w 312"/>
              <a:gd name="T103" fmla="*/ 2147483647 h 155"/>
              <a:gd name="T104" fmla="*/ 1355810601 w 312"/>
              <a:gd name="T105" fmla="*/ 2147483647 h 155"/>
              <a:gd name="T106" fmla="*/ 1129842238 w 312"/>
              <a:gd name="T107" fmla="*/ 2147483647 h 155"/>
              <a:gd name="T108" fmla="*/ 903873875 w 312"/>
              <a:gd name="T109" fmla="*/ 2147483647 h 155"/>
              <a:gd name="T110" fmla="*/ 677905300 w 312"/>
              <a:gd name="T111" fmla="*/ 2147483647 h 155"/>
              <a:gd name="T112" fmla="*/ 301231992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2"/>
              <a:gd name="T187" fmla="*/ 0 h 155"/>
              <a:gd name="T188" fmla="*/ 312 w 312"/>
              <a:gd name="T189" fmla="*/ 155 h 15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60" name="Freeform 473"/>
          <p:cNvSpPr>
            <a:spLocks/>
          </p:cNvSpPr>
          <p:nvPr>
            <p:custDataLst>
              <p:tags r:id="rId311"/>
            </p:custDataLst>
          </p:nvPr>
        </p:nvSpPr>
        <p:spPr bwMode="auto">
          <a:xfrm>
            <a:off x="5520267" y="2078045"/>
            <a:ext cx="25400" cy="60325"/>
          </a:xfrm>
          <a:custGeom>
            <a:avLst/>
            <a:gdLst>
              <a:gd name="T0" fmla="*/ 0 w 46"/>
              <a:gd name="T1" fmla="*/ 2147483647 h 50"/>
              <a:gd name="T2" fmla="*/ 142005331 w 46"/>
              <a:gd name="T3" fmla="*/ 2147483647 h 50"/>
              <a:gd name="T4" fmla="*/ 71002665 w 46"/>
              <a:gd name="T5" fmla="*/ 2147483647 h 50"/>
              <a:gd name="T6" fmla="*/ 142005331 w 46"/>
              <a:gd name="T7" fmla="*/ 2147483647 h 50"/>
              <a:gd name="T8" fmla="*/ 213007970 w 46"/>
              <a:gd name="T9" fmla="*/ 2147483647 h 50"/>
              <a:gd name="T10" fmla="*/ 426187390 w 46"/>
              <a:gd name="T11" fmla="*/ 2147483647 h 50"/>
              <a:gd name="T12" fmla="*/ 92337762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1775581165 w 46"/>
              <a:gd name="T23" fmla="*/ 2147483647 h 50"/>
              <a:gd name="T24" fmla="*/ 1207388185 w 46"/>
              <a:gd name="T25" fmla="*/ 2147483647 h 50"/>
              <a:gd name="T26" fmla="*/ 355184751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61" name="Freeform 474"/>
          <p:cNvSpPr>
            <a:spLocks/>
          </p:cNvSpPr>
          <p:nvPr>
            <p:custDataLst>
              <p:tags r:id="rId312"/>
            </p:custDataLst>
          </p:nvPr>
        </p:nvSpPr>
        <p:spPr bwMode="auto">
          <a:xfrm>
            <a:off x="6449484" y="3962400"/>
            <a:ext cx="93133" cy="241300"/>
          </a:xfrm>
          <a:custGeom>
            <a:avLst/>
            <a:gdLst>
              <a:gd name="T0" fmla="*/ 745061694 w 166"/>
              <a:gd name="T1" fmla="*/ 2147483647 h 456"/>
              <a:gd name="T2" fmla="*/ 1415581683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1185313437 h 456"/>
              <a:gd name="T78" fmla="*/ 2147483647 w 166"/>
              <a:gd name="T79" fmla="*/ 592796948 h 456"/>
              <a:gd name="T80" fmla="*/ 893968164 w 166"/>
              <a:gd name="T81" fmla="*/ 1481852007 h 456"/>
              <a:gd name="T82" fmla="*/ 163902922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1117592436 w 166"/>
              <a:gd name="T97" fmla="*/ 2147483647 h 456"/>
              <a:gd name="T98" fmla="*/ 223447648 w 166"/>
              <a:gd name="T99" fmla="*/ 2147483647 h 456"/>
              <a:gd name="T100" fmla="*/ 521437001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62" name="Freeform 475"/>
          <p:cNvSpPr>
            <a:spLocks/>
          </p:cNvSpPr>
          <p:nvPr>
            <p:custDataLst>
              <p:tags r:id="rId313"/>
            </p:custDataLst>
          </p:nvPr>
        </p:nvSpPr>
        <p:spPr bwMode="auto">
          <a:xfrm>
            <a:off x="5772156" y="2533650"/>
            <a:ext cx="19049" cy="57150"/>
          </a:xfrm>
          <a:custGeom>
            <a:avLst/>
            <a:gdLst>
              <a:gd name="T0" fmla="*/ 2147483647 w 27"/>
              <a:gd name="T1" fmla="*/ 0 h 19"/>
              <a:gd name="T2" fmla="*/ 2147483647 w 27"/>
              <a:gd name="T3" fmla="*/ 2147483647 h 19"/>
              <a:gd name="T4" fmla="*/ 2147483647 w 27"/>
              <a:gd name="T5" fmla="*/ 2147483647 h 19"/>
              <a:gd name="T6" fmla="*/ 1333348714 w 27"/>
              <a:gd name="T7" fmla="*/ 2147483647 h 19"/>
              <a:gd name="T8" fmla="*/ 0 w 27"/>
              <a:gd name="T9" fmla="*/ 2147483647 h 19"/>
              <a:gd name="T10" fmla="*/ 1333348714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63" name="Freeform 476"/>
          <p:cNvSpPr>
            <a:spLocks/>
          </p:cNvSpPr>
          <p:nvPr>
            <p:custDataLst>
              <p:tags r:id="rId314"/>
            </p:custDataLst>
          </p:nvPr>
        </p:nvSpPr>
        <p:spPr bwMode="auto">
          <a:xfrm>
            <a:off x="6197603" y="4154495"/>
            <a:ext cx="251884" cy="217487"/>
          </a:xfrm>
          <a:custGeom>
            <a:avLst/>
            <a:gdLst>
              <a:gd name="T0" fmla="*/ 2147483647 w 438"/>
              <a:gd name="T1" fmla="*/ 1229604168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1925562069 w 438"/>
              <a:gd name="T59" fmla="*/ 2147483647 h 406"/>
              <a:gd name="T60" fmla="*/ 1043051785 w 438"/>
              <a:gd name="T61" fmla="*/ 2147483647 h 406"/>
              <a:gd name="T62" fmla="*/ 320896353 w 438"/>
              <a:gd name="T63" fmla="*/ 2147483647 h 406"/>
              <a:gd name="T64" fmla="*/ 0 w 438"/>
              <a:gd name="T65" fmla="*/ 2147483647 h 406"/>
              <a:gd name="T66" fmla="*/ 1444311511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1844550083 h 406"/>
              <a:gd name="T98" fmla="*/ 2147483647 w 438"/>
              <a:gd name="T99" fmla="*/ 1844550083 h 406"/>
              <a:gd name="T100" fmla="*/ 2147483647 w 438"/>
              <a:gd name="T101" fmla="*/ 1383412428 h 406"/>
              <a:gd name="T102" fmla="*/ 2147483647 w 438"/>
              <a:gd name="T103" fmla="*/ 614945647 h 406"/>
              <a:gd name="T104" fmla="*/ 2147483647 w 438"/>
              <a:gd name="T105" fmla="*/ 307329528 h 406"/>
              <a:gd name="T106" fmla="*/ 2147483647 w 438"/>
              <a:gd name="T107" fmla="*/ 461137253 h 406"/>
              <a:gd name="T108" fmla="*/ 2147483647 w 438"/>
              <a:gd name="T109" fmla="*/ 15380832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64" name="Freeform 477"/>
          <p:cNvSpPr>
            <a:spLocks/>
          </p:cNvSpPr>
          <p:nvPr>
            <p:custDataLst>
              <p:tags r:id="rId315"/>
            </p:custDataLst>
          </p:nvPr>
        </p:nvSpPr>
        <p:spPr bwMode="auto">
          <a:xfrm>
            <a:off x="6081189" y="3930650"/>
            <a:ext cx="391583" cy="300038"/>
          </a:xfrm>
          <a:custGeom>
            <a:avLst/>
            <a:gdLst>
              <a:gd name="T0" fmla="*/ 2147483647 w 678"/>
              <a:gd name="T1" fmla="*/ 1142648238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1428174523 h 574"/>
              <a:gd name="T112" fmla="*/ 2147483647 w 678"/>
              <a:gd name="T113" fmla="*/ 856849881 h 574"/>
              <a:gd name="T114" fmla="*/ 2147483647 w 678"/>
              <a:gd name="T115" fmla="*/ 1142648238 h 574"/>
              <a:gd name="T116" fmla="*/ 2147483647 w 678"/>
              <a:gd name="T117" fmla="*/ 142899636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65" name="Freeform 478"/>
          <p:cNvSpPr>
            <a:spLocks/>
          </p:cNvSpPr>
          <p:nvPr>
            <p:custDataLst>
              <p:tags r:id="rId316"/>
            </p:custDataLst>
          </p:nvPr>
        </p:nvSpPr>
        <p:spPr bwMode="auto">
          <a:xfrm>
            <a:off x="5729822" y="4203700"/>
            <a:ext cx="467783" cy="381000"/>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719585340 h 727"/>
              <a:gd name="T20" fmla="*/ 2147483647 w 810"/>
              <a:gd name="T21" fmla="*/ 2147483647 h 727"/>
              <a:gd name="T22" fmla="*/ 0 w 810"/>
              <a:gd name="T23" fmla="*/ 2147483647 h 727"/>
              <a:gd name="T24" fmla="*/ 568813806 w 810"/>
              <a:gd name="T25" fmla="*/ 2147483647 h 727"/>
              <a:gd name="T26" fmla="*/ 2112602041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66" name="Freeform 479"/>
          <p:cNvSpPr>
            <a:spLocks/>
          </p:cNvSpPr>
          <p:nvPr>
            <p:custDataLst>
              <p:tags r:id="rId317"/>
            </p:custDataLst>
          </p:nvPr>
        </p:nvSpPr>
        <p:spPr bwMode="auto">
          <a:xfrm>
            <a:off x="4768851" y="3133725"/>
            <a:ext cx="215900" cy="14128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1746274477 w 365"/>
              <a:gd name="T13" fmla="*/ 2147483647 h 271"/>
              <a:gd name="T14" fmla="*/ 1484323390 w 365"/>
              <a:gd name="T15" fmla="*/ 2147483647 h 271"/>
              <a:gd name="T16" fmla="*/ 1571509104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1134989617 w 365"/>
              <a:gd name="T57" fmla="*/ 2147483647 h 271"/>
              <a:gd name="T58" fmla="*/ 960421217 w 365"/>
              <a:gd name="T59" fmla="*/ 2147483647 h 271"/>
              <a:gd name="T60" fmla="*/ 523901951 w 365"/>
              <a:gd name="T61" fmla="*/ 2147483647 h 271"/>
              <a:gd name="T62" fmla="*/ 174568456 w 365"/>
              <a:gd name="T63" fmla="*/ 2147483647 h 271"/>
              <a:gd name="T64" fmla="*/ 0 w 365"/>
              <a:gd name="T65" fmla="*/ 2147483647 h 271"/>
              <a:gd name="T66" fmla="*/ 436519598 w 365"/>
              <a:gd name="T67" fmla="*/ 2147483647 h 271"/>
              <a:gd name="T68" fmla="*/ 1484323390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25585244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67" name="Freeform 480"/>
          <p:cNvSpPr>
            <a:spLocks/>
          </p:cNvSpPr>
          <p:nvPr>
            <p:custDataLst>
              <p:tags r:id="rId318"/>
            </p:custDataLst>
          </p:nvPr>
        </p:nvSpPr>
        <p:spPr bwMode="auto">
          <a:xfrm>
            <a:off x="6333072" y="3695706"/>
            <a:ext cx="359833" cy="334963"/>
          </a:xfrm>
          <a:custGeom>
            <a:avLst/>
            <a:gdLst>
              <a:gd name="T0" fmla="*/ 2147483647 w 624"/>
              <a:gd name="T1" fmla="*/ 1720531036 h 640"/>
              <a:gd name="T2" fmla="*/ 2147483647 w 624"/>
              <a:gd name="T3" fmla="*/ 1720531036 h 640"/>
              <a:gd name="T4" fmla="*/ 2147483647 w 624"/>
              <a:gd name="T5" fmla="*/ 716865296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970785407 w 624"/>
              <a:gd name="T87" fmla="*/ 2147483647 h 640"/>
              <a:gd name="T88" fmla="*/ 404400718 w 624"/>
              <a:gd name="T89" fmla="*/ 2147483647 h 640"/>
              <a:gd name="T90" fmla="*/ 0 w 624"/>
              <a:gd name="T91" fmla="*/ 2147483647 h 640"/>
              <a:gd name="T92" fmla="*/ 0 w 624"/>
              <a:gd name="T93" fmla="*/ 2147483647 h 640"/>
              <a:gd name="T94" fmla="*/ 808988272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1146929099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368" name="Freeform 481"/>
          <p:cNvSpPr>
            <a:spLocks/>
          </p:cNvSpPr>
          <p:nvPr>
            <p:custDataLst>
              <p:tags r:id="rId319"/>
            </p:custDataLst>
          </p:nvPr>
        </p:nvSpPr>
        <p:spPr bwMode="auto">
          <a:xfrm>
            <a:off x="9751484" y="2209800"/>
            <a:ext cx="25400" cy="57150"/>
          </a:xfrm>
          <a:custGeom>
            <a:avLst/>
            <a:gdLst>
              <a:gd name="T0" fmla="*/ 639239964 w 52"/>
              <a:gd name="T1" fmla="*/ 2147483647 h 50"/>
              <a:gd name="T2" fmla="*/ 0 w 52"/>
              <a:gd name="T3" fmla="*/ 2147483647 h 50"/>
              <a:gd name="T4" fmla="*/ 98375682 w 52"/>
              <a:gd name="T5" fmla="*/ 2147483647 h 50"/>
              <a:gd name="T6" fmla="*/ 294992552 w 52"/>
              <a:gd name="T7" fmla="*/ 2147483647 h 50"/>
              <a:gd name="T8" fmla="*/ 589985104 w 52"/>
              <a:gd name="T9" fmla="*/ 2147483647 h 50"/>
              <a:gd name="T10" fmla="*/ 884977382 w 52"/>
              <a:gd name="T11" fmla="*/ 2147483647 h 50"/>
              <a:gd name="T12" fmla="*/ 1278345112 w 52"/>
              <a:gd name="T13" fmla="*/ 2147483647 h 50"/>
              <a:gd name="T14" fmla="*/ 1671713942 w 52"/>
              <a:gd name="T15" fmla="*/ 2147483647 h 50"/>
              <a:gd name="T16" fmla="*/ 2114201351 w 52"/>
              <a:gd name="T17" fmla="*/ 1493271323 h 50"/>
              <a:gd name="T18" fmla="*/ 2147483647 w 52"/>
              <a:gd name="T19" fmla="*/ 0 h 50"/>
              <a:gd name="T20" fmla="*/ 1966706036 w 52"/>
              <a:gd name="T21" fmla="*/ 2147483647 h 50"/>
              <a:gd name="T22" fmla="*/ 1327466256 w 52"/>
              <a:gd name="T23" fmla="*/ 2147483647 h 50"/>
              <a:gd name="T24" fmla="*/ 1081728655 w 52"/>
              <a:gd name="T25" fmla="*/ 2147483647 h 50"/>
              <a:gd name="T26" fmla="*/ 835856971 w 52"/>
              <a:gd name="T27" fmla="*/ 2147483647 h 50"/>
              <a:gd name="T28" fmla="*/ 688360374 w 52"/>
              <a:gd name="T29" fmla="*/ 2147483647 h 50"/>
              <a:gd name="T30" fmla="*/ 639239964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69" name="Freeform 482"/>
          <p:cNvSpPr>
            <a:spLocks/>
          </p:cNvSpPr>
          <p:nvPr>
            <p:custDataLst>
              <p:tags r:id="rId320"/>
            </p:custDataLst>
          </p:nvPr>
        </p:nvSpPr>
        <p:spPr bwMode="auto">
          <a:xfrm>
            <a:off x="9563100" y="2211388"/>
            <a:ext cx="188384" cy="125412"/>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1721552561 w 320"/>
              <a:gd name="T41" fmla="*/ 2147483647 h 234"/>
              <a:gd name="T42" fmla="*/ 602573001 w 320"/>
              <a:gd name="T43" fmla="*/ 1539324173 h 234"/>
              <a:gd name="T44" fmla="*/ 774708521 w 320"/>
              <a:gd name="T45" fmla="*/ 0 h 234"/>
              <a:gd name="T46" fmla="*/ 2065824926 w 320"/>
              <a:gd name="T47" fmla="*/ 0 h 234"/>
              <a:gd name="T48" fmla="*/ 2147483647 w 320"/>
              <a:gd name="T49" fmla="*/ 461883834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70" name="Freeform 483"/>
          <p:cNvSpPr>
            <a:spLocks/>
          </p:cNvSpPr>
          <p:nvPr>
            <p:custDataLst>
              <p:tags r:id="rId321"/>
            </p:custDataLst>
          </p:nvPr>
        </p:nvSpPr>
        <p:spPr bwMode="auto">
          <a:xfrm>
            <a:off x="9522889" y="2565400"/>
            <a:ext cx="69849"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1856428650 h 93"/>
              <a:gd name="T16" fmla="*/ 2147483647 w 125"/>
              <a:gd name="T17" fmla="*/ 1160457101 h 93"/>
              <a:gd name="T18" fmla="*/ 2147483647 w 125"/>
              <a:gd name="T19" fmla="*/ 696350092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1987558104 w 125"/>
              <a:gd name="T59" fmla="*/ 2147483647 h 93"/>
              <a:gd name="T60" fmla="*/ 1177851838 w 125"/>
              <a:gd name="T61" fmla="*/ 2147483647 h 93"/>
              <a:gd name="T62" fmla="*/ 515332260 w 125"/>
              <a:gd name="T63" fmla="*/ 2147483647 h 93"/>
              <a:gd name="T64" fmla="*/ 294375159 w 125"/>
              <a:gd name="T65" fmla="*/ 2147483647 h 93"/>
              <a:gd name="T66" fmla="*/ 147187370 w 125"/>
              <a:gd name="T67" fmla="*/ 2147483647 h 93"/>
              <a:gd name="T68" fmla="*/ 0 w 125"/>
              <a:gd name="T69" fmla="*/ 2147483647 h 93"/>
              <a:gd name="T70" fmla="*/ 0 w 125"/>
              <a:gd name="T71" fmla="*/ 2147483647 h 93"/>
              <a:gd name="T72" fmla="*/ 515332260 w 125"/>
              <a:gd name="T73" fmla="*/ 2147483647 h 93"/>
              <a:gd name="T74" fmla="*/ 1104081739 w 125"/>
              <a:gd name="T75" fmla="*/ 2147483647 h 93"/>
              <a:gd name="T76" fmla="*/ 1472226472 w 125"/>
              <a:gd name="T77" fmla="*/ 2147483647 h 93"/>
              <a:gd name="T78" fmla="*/ 1693007868 w 125"/>
              <a:gd name="T79" fmla="*/ 2147483647 h 93"/>
              <a:gd name="T80" fmla="*/ 2061153020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71" name="Freeform 484"/>
          <p:cNvSpPr>
            <a:spLocks/>
          </p:cNvSpPr>
          <p:nvPr>
            <p:custDataLst>
              <p:tags r:id="rId322"/>
            </p:custDataLst>
          </p:nvPr>
        </p:nvSpPr>
        <p:spPr bwMode="auto">
          <a:xfrm>
            <a:off x="9450922" y="2579695"/>
            <a:ext cx="80433" cy="84137"/>
          </a:xfrm>
          <a:custGeom>
            <a:avLst/>
            <a:gdLst>
              <a:gd name="T0" fmla="*/ 1866149390 w 133"/>
              <a:gd name="T1" fmla="*/ 1956912751 h 154"/>
              <a:gd name="T2" fmla="*/ 2147483647 w 133"/>
              <a:gd name="T3" fmla="*/ 1630661282 h 154"/>
              <a:gd name="T4" fmla="*/ 2147483647 w 133"/>
              <a:gd name="T5" fmla="*/ 978456376 h 154"/>
              <a:gd name="T6" fmla="*/ 2147483647 w 133"/>
              <a:gd name="T7" fmla="*/ 652204907 h 154"/>
              <a:gd name="T8" fmla="*/ 2147483647 w 133"/>
              <a:gd name="T9" fmla="*/ 326251605 h 154"/>
              <a:gd name="T10" fmla="*/ 2147483647 w 133"/>
              <a:gd name="T11" fmla="*/ 162976651 h 154"/>
              <a:gd name="T12" fmla="*/ 2147483647 w 133"/>
              <a:gd name="T13" fmla="*/ 0 h 154"/>
              <a:gd name="T14" fmla="*/ 2147483647 w 133"/>
              <a:gd name="T15" fmla="*/ 162976651 h 154"/>
              <a:gd name="T16" fmla="*/ 2147483647 w 133"/>
              <a:gd name="T17" fmla="*/ 652204907 h 154"/>
              <a:gd name="T18" fmla="*/ 2147483647 w 133"/>
              <a:gd name="T19" fmla="*/ 130470811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1586360354 w 133"/>
              <a:gd name="T89" fmla="*/ 2147483647 h 154"/>
              <a:gd name="T90" fmla="*/ 1212966011 w 133"/>
              <a:gd name="T91" fmla="*/ 2147483647 h 154"/>
              <a:gd name="T92" fmla="*/ 933177656 w 133"/>
              <a:gd name="T93" fmla="*/ 2147483647 h 154"/>
              <a:gd name="T94" fmla="*/ 653183152 w 133"/>
              <a:gd name="T95" fmla="*/ 2147483647 h 154"/>
              <a:gd name="T96" fmla="*/ 373188989 w 133"/>
              <a:gd name="T97" fmla="*/ 2147483647 h 154"/>
              <a:gd name="T98" fmla="*/ 186594267 w 133"/>
              <a:gd name="T99" fmla="*/ 2147483647 h 154"/>
              <a:gd name="T100" fmla="*/ 93399868 w 133"/>
              <a:gd name="T101" fmla="*/ 2147483647 h 154"/>
              <a:gd name="T102" fmla="*/ 0 w 133"/>
              <a:gd name="T103" fmla="*/ 2147483647 h 154"/>
              <a:gd name="T104" fmla="*/ 0 w 133"/>
              <a:gd name="T105" fmla="*/ 2147483647 h 154"/>
              <a:gd name="T106" fmla="*/ 653183152 w 133"/>
              <a:gd name="T107" fmla="*/ 2147483647 h 154"/>
              <a:gd name="T108" fmla="*/ 1866149390 w 133"/>
              <a:gd name="T109" fmla="*/ 1956912751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72" name="Freeform 485"/>
          <p:cNvSpPr>
            <a:spLocks/>
          </p:cNvSpPr>
          <p:nvPr>
            <p:custDataLst>
              <p:tags r:id="rId323"/>
            </p:custDataLst>
          </p:nvPr>
        </p:nvSpPr>
        <p:spPr bwMode="auto">
          <a:xfrm>
            <a:off x="9472084" y="2341570"/>
            <a:ext cx="27940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142445372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564512652 w 485"/>
              <a:gd name="T113" fmla="*/ 2147483647 h 468"/>
              <a:gd name="T114" fmla="*/ 0 w 485"/>
              <a:gd name="T115" fmla="*/ 2147483647 h 468"/>
              <a:gd name="T116" fmla="*/ 564512652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73" name="Freeform 486"/>
          <p:cNvSpPr>
            <a:spLocks/>
          </p:cNvSpPr>
          <p:nvPr>
            <p:custDataLst>
              <p:tags r:id="rId324"/>
            </p:custDataLst>
          </p:nvPr>
        </p:nvSpPr>
        <p:spPr bwMode="auto">
          <a:xfrm>
            <a:off x="6250520" y="1231907"/>
            <a:ext cx="143933"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1182920634 w 246"/>
              <a:gd name="T91" fmla="*/ 2147483647 h 42"/>
              <a:gd name="T92" fmla="*/ 0 w 246"/>
              <a:gd name="T93" fmla="*/ 2147483647 h 42"/>
              <a:gd name="T94" fmla="*/ 84535388 w 246"/>
              <a:gd name="T95" fmla="*/ 2147483647 h 42"/>
              <a:gd name="T96" fmla="*/ 253414427 w 246"/>
              <a:gd name="T97" fmla="*/ 2147483647 h 42"/>
              <a:gd name="T98" fmla="*/ 422485587 w 246"/>
              <a:gd name="T99" fmla="*/ 2147483647 h 42"/>
              <a:gd name="T100" fmla="*/ 760435375 w 246"/>
              <a:gd name="T101" fmla="*/ 2147483647 h 42"/>
              <a:gd name="T102" fmla="*/ 1436527593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74" name="Freeform 487"/>
          <p:cNvSpPr>
            <a:spLocks/>
          </p:cNvSpPr>
          <p:nvPr>
            <p:custDataLst>
              <p:tags r:id="rId325"/>
            </p:custDataLst>
          </p:nvPr>
        </p:nvSpPr>
        <p:spPr bwMode="auto">
          <a:xfrm>
            <a:off x="6441017" y="1214438"/>
            <a:ext cx="84667" cy="57150"/>
          </a:xfrm>
          <a:custGeom>
            <a:avLst/>
            <a:gdLst>
              <a:gd name="T0" fmla="*/ 2147483647 w 149"/>
              <a:gd name="T1" fmla="*/ 0 h 61"/>
              <a:gd name="T2" fmla="*/ 2147483647 w 149"/>
              <a:gd name="T3" fmla="*/ 8224550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1935028315 w 149"/>
              <a:gd name="T57" fmla="*/ 2147483647 h 61"/>
              <a:gd name="T58" fmla="*/ 928828609 w 149"/>
              <a:gd name="T59" fmla="*/ 2147483647 h 61"/>
              <a:gd name="T60" fmla="*/ 232297927 w 149"/>
              <a:gd name="T61" fmla="*/ 2147483647 h 61"/>
              <a:gd name="T62" fmla="*/ 77371975 w 149"/>
              <a:gd name="T63" fmla="*/ 2147483647 h 61"/>
              <a:gd name="T64" fmla="*/ 0 w 149"/>
              <a:gd name="T65" fmla="*/ 2147483647 h 61"/>
              <a:gd name="T66" fmla="*/ 0 w 149"/>
              <a:gd name="T67" fmla="*/ 2147483647 h 61"/>
              <a:gd name="T68" fmla="*/ 232297927 w 149"/>
              <a:gd name="T69" fmla="*/ 2147483647 h 61"/>
              <a:gd name="T70" fmla="*/ 1470614649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75" name="Freeform 488"/>
          <p:cNvSpPr>
            <a:spLocks/>
          </p:cNvSpPr>
          <p:nvPr>
            <p:custDataLst>
              <p:tags r:id="rId326"/>
            </p:custDataLst>
          </p:nvPr>
        </p:nvSpPr>
        <p:spPr bwMode="auto">
          <a:xfrm>
            <a:off x="6489705" y="1222375"/>
            <a:ext cx="173567"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1381958640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990184223 w 299"/>
              <a:gd name="T63" fmla="*/ 2147483647 h 74"/>
              <a:gd name="T64" fmla="*/ 165093669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76" name="Freeform 489"/>
          <p:cNvSpPr>
            <a:spLocks/>
          </p:cNvSpPr>
          <p:nvPr>
            <p:custDataLst>
              <p:tags r:id="rId327"/>
            </p:custDataLst>
          </p:nvPr>
        </p:nvSpPr>
        <p:spPr bwMode="auto">
          <a:xfrm>
            <a:off x="7200905" y="1408113"/>
            <a:ext cx="55033"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1898519817 w 100"/>
              <a:gd name="T23" fmla="*/ 2147483647 h 42"/>
              <a:gd name="T24" fmla="*/ 843805824 w 100"/>
              <a:gd name="T25" fmla="*/ 2147483647 h 42"/>
              <a:gd name="T26" fmla="*/ 70359846 w 100"/>
              <a:gd name="T27" fmla="*/ 2147483647 h 42"/>
              <a:gd name="T28" fmla="*/ 0 w 100"/>
              <a:gd name="T29" fmla="*/ 2147483647 h 42"/>
              <a:gd name="T30" fmla="*/ 421988145 w 100"/>
              <a:gd name="T31" fmla="*/ 2147483647 h 42"/>
              <a:gd name="T32" fmla="*/ 843805824 w 100"/>
              <a:gd name="T33" fmla="*/ 2147483647 h 42"/>
              <a:gd name="T34" fmla="*/ 1265793659 w 100"/>
              <a:gd name="T35" fmla="*/ 2147483647 h 42"/>
              <a:gd name="T36" fmla="*/ 1617251828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77" name="Freeform 490"/>
          <p:cNvSpPr>
            <a:spLocks/>
          </p:cNvSpPr>
          <p:nvPr>
            <p:custDataLst>
              <p:tags r:id="rId328"/>
            </p:custDataLst>
          </p:nvPr>
        </p:nvSpPr>
        <p:spPr bwMode="auto">
          <a:xfrm>
            <a:off x="7080255" y="1266825"/>
            <a:ext cx="21167" cy="58738"/>
          </a:xfrm>
          <a:custGeom>
            <a:avLst/>
            <a:gdLst>
              <a:gd name="T0" fmla="*/ 2147483647 w 40"/>
              <a:gd name="T1" fmla="*/ 2147483647 h 5"/>
              <a:gd name="T2" fmla="*/ 0 w 40"/>
              <a:gd name="T3" fmla="*/ 2147483647 h 5"/>
              <a:gd name="T4" fmla="*/ 312499355 w 40"/>
              <a:gd name="T5" fmla="*/ 2147483647 h 5"/>
              <a:gd name="T6" fmla="*/ 562625065 w 40"/>
              <a:gd name="T7" fmla="*/ 2147483647 h 5"/>
              <a:gd name="T8" fmla="*/ 937655327 w 40"/>
              <a:gd name="T9" fmla="*/ 0 h 5"/>
              <a:gd name="T10" fmla="*/ 1250312539 w 40"/>
              <a:gd name="T11" fmla="*/ 0 h 5"/>
              <a:gd name="T12" fmla="*/ 1562811794 w 40"/>
              <a:gd name="T13" fmla="*/ 0 h 5"/>
              <a:gd name="T14" fmla="*/ 1875310653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78" name="Freeform 491"/>
          <p:cNvSpPr>
            <a:spLocks/>
          </p:cNvSpPr>
          <p:nvPr>
            <p:custDataLst>
              <p:tags r:id="rId329"/>
            </p:custDataLst>
          </p:nvPr>
        </p:nvSpPr>
        <p:spPr bwMode="auto">
          <a:xfrm>
            <a:off x="7109889" y="1225557"/>
            <a:ext cx="19049" cy="60325"/>
          </a:xfrm>
          <a:custGeom>
            <a:avLst/>
            <a:gdLst>
              <a:gd name="T0" fmla="*/ 0 w 33"/>
              <a:gd name="T1" fmla="*/ 2147483647 h 31"/>
              <a:gd name="T2" fmla="*/ 1623012407 w 33"/>
              <a:gd name="T3" fmla="*/ 0 h 31"/>
              <a:gd name="T4" fmla="*/ 1623012407 w 33"/>
              <a:gd name="T5" fmla="*/ 2147483647 h 31"/>
              <a:gd name="T6" fmla="*/ 1785332567 w 33"/>
              <a:gd name="T7" fmla="*/ 2147483647 h 31"/>
              <a:gd name="T8" fmla="*/ 2028624046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79" name="Freeform 492"/>
          <p:cNvSpPr>
            <a:spLocks/>
          </p:cNvSpPr>
          <p:nvPr>
            <p:custDataLst>
              <p:tags r:id="rId330"/>
            </p:custDataLst>
          </p:nvPr>
        </p:nvSpPr>
        <p:spPr bwMode="auto">
          <a:xfrm>
            <a:off x="7302503" y="1341438"/>
            <a:ext cx="23284" cy="57150"/>
          </a:xfrm>
          <a:custGeom>
            <a:avLst/>
            <a:gdLst>
              <a:gd name="T0" fmla="*/ 2147483647 w 41"/>
              <a:gd name="T1" fmla="*/ 0 h 43"/>
              <a:gd name="T2" fmla="*/ 2147483647 w 41"/>
              <a:gd name="T3" fmla="*/ 2147483647 h 43"/>
              <a:gd name="T4" fmla="*/ 2147483647 w 41"/>
              <a:gd name="T5" fmla="*/ 2147483647 h 43"/>
              <a:gd name="T6" fmla="*/ 1854410613 w 41"/>
              <a:gd name="T7" fmla="*/ 2147483647 h 43"/>
              <a:gd name="T8" fmla="*/ 1390898043 w 41"/>
              <a:gd name="T9" fmla="*/ 2147483647 h 43"/>
              <a:gd name="T10" fmla="*/ 1004487145 w 41"/>
              <a:gd name="T11" fmla="*/ 2147483647 h 43"/>
              <a:gd name="T12" fmla="*/ 386411004 w 41"/>
              <a:gd name="T13" fmla="*/ 2147483647 h 43"/>
              <a:gd name="T14" fmla="*/ 0 w 41"/>
              <a:gd name="T15" fmla="*/ 2147483647 h 43"/>
              <a:gd name="T16" fmla="*/ 927205307 w 41"/>
              <a:gd name="T17" fmla="*/ 2147483647 h 43"/>
              <a:gd name="T18" fmla="*/ 1931692452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80" name="Freeform 493"/>
          <p:cNvSpPr>
            <a:spLocks/>
          </p:cNvSpPr>
          <p:nvPr>
            <p:custDataLst>
              <p:tags r:id="rId331"/>
            </p:custDataLst>
          </p:nvPr>
        </p:nvSpPr>
        <p:spPr bwMode="auto">
          <a:xfrm>
            <a:off x="7374467" y="1225557"/>
            <a:ext cx="124884" cy="60325"/>
          </a:xfrm>
          <a:custGeom>
            <a:avLst/>
            <a:gdLst>
              <a:gd name="T0" fmla="*/ 2147483647 w 213"/>
              <a:gd name="T1" fmla="*/ 0 h 62"/>
              <a:gd name="T2" fmla="*/ 2147483647 w 213"/>
              <a:gd name="T3" fmla="*/ 0 h 62"/>
              <a:gd name="T4" fmla="*/ 2147483647 w 213"/>
              <a:gd name="T5" fmla="*/ 921136496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1955689036 w 213"/>
              <a:gd name="T49" fmla="*/ 2147483647 h 62"/>
              <a:gd name="T50" fmla="*/ 1020385097 w 213"/>
              <a:gd name="T51" fmla="*/ 2147483647 h 62"/>
              <a:gd name="T52" fmla="*/ 0 w 213"/>
              <a:gd name="T53" fmla="*/ 2147483647 h 62"/>
              <a:gd name="T54" fmla="*/ 510095807 w 213"/>
              <a:gd name="T55" fmla="*/ 2147483647 h 62"/>
              <a:gd name="T56" fmla="*/ 935304818 w 213"/>
              <a:gd name="T57" fmla="*/ 2147483647 h 62"/>
              <a:gd name="T58" fmla="*/ 1445400406 w 213"/>
              <a:gd name="T59" fmla="*/ 2147483647 h 62"/>
              <a:gd name="T60" fmla="*/ 1955689036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921136496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81" name="Freeform 494"/>
          <p:cNvSpPr>
            <a:spLocks/>
          </p:cNvSpPr>
          <p:nvPr>
            <p:custDataLst>
              <p:tags r:id="rId332"/>
            </p:custDataLst>
          </p:nvPr>
        </p:nvSpPr>
        <p:spPr bwMode="auto">
          <a:xfrm>
            <a:off x="7454900" y="1250957"/>
            <a:ext cx="137584" cy="60325"/>
          </a:xfrm>
          <a:custGeom>
            <a:avLst/>
            <a:gdLst>
              <a:gd name="T0" fmla="*/ 2147483647 w 239"/>
              <a:gd name="T1" fmla="*/ 0 h 56"/>
              <a:gd name="T2" fmla="*/ 2147483647 w 239"/>
              <a:gd name="T3" fmla="*/ 2147483647 h 56"/>
              <a:gd name="T4" fmla="*/ 1851022138 w 239"/>
              <a:gd name="T5" fmla="*/ 2147483647 h 56"/>
              <a:gd name="T6" fmla="*/ 1529097680 w 239"/>
              <a:gd name="T7" fmla="*/ 2147483647 h 56"/>
              <a:gd name="T8" fmla="*/ 1207172789 w 239"/>
              <a:gd name="T9" fmla="*/ 2147483647 h 56"/>
              <a:gd name="T10" fmla="*/ 1046303170 w 239"/>
              <a:gd name="T11" fmla="*/ 2147483647 h 56"/>
              <a:gd name="T12" fmla="*/ 804719616 w 239"/>
              <a:gd name="T13" fmla="*/ 2147483647 h 56"/>
              <a:gd name="T14" fmla="*/ 563322361 w 239"/>
              <a:gd name="T15" fmla="*/ 2147483647 h 56"/>
              <a:gd name="T16" fmla="*/ 0 w 239"/>
              <a:gd name="T17" fmla="*/ 2147483647 h 56"/>
              <a:gd name="T18" fmla="*/ 160869241 w 239"/>
              <a:gd name="T19" fmla="*/ 2147483647 h 56"/>
              <a:gd name="T20" fmla="*/ 402453066 w 239"/>
              <a:gd name="T21" fmla="*/ 2147483647 h 56"/>
              <a:gd name="T22" fmla="*/ 563322361 w 239"/>
              <a:gd name="T23" fmla="*/ 2147483647 h 56"/>
              <a:gd name="T24" fmla="*/ 804719616 w 239"/>
              <a:gd name="T25" fmla="*/ 2147483647 h 56"/>
              <a:gd name="T26" fmla="*/ 1368228060 w 239"/>
              <a:gd name="T27" fmla="*/ 2147483647 h 56"/>
              <a:gd name="T28" fmla="*/ 1931550206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1249782308 h 56"/>
              <a:gd name="T86" fmla="*/ 2147483647 w 239"/>
              <a:gd name="T87" fmla="*/ 0 h 56"/>
              <a:gd name="T88" fmla="*/ 2147483647 w 239"/>
              <a:gd name="T89" fmla="*/ 1249782308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1249782308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82" name="Freeform 495"/>
          <p:cNvSpPr>
            <a:spLocks/>
          </p:cNvSpPr>
          <p:nvPr>
            <p:custDataLst>
              <p:tags r:id="rId333"/>
            </p:custDataLst>
          </p:nvPr>
        </p:nvSpPr>
        <p:spPr bwMode="auto">
          <a:xfrm>
            <a:off x="7611533" y="1265238"/>
            <a:ext cx="110067" cy="57150"/>
          </a:xfrm>
          <a:custGeom>
            <a:avLst/>
            <a:gdLst>
              <a:gd name="T0" fmla="*/ 1204312728 w 187"/>
              <a:gd name="T1" fmla="*/ 2147483647 h 80"/>
              <a:gd name="T2" fmla="*/ 2147483647 w 187"/>
              <a:gd name="T3" fmla="*/ 0 h 80"/>
              <a:gd name="T4" fmla="*/ 2147483647 w 187"/>
              <a:gd name="T5" fmla="*/ 1093640914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1892602484 w 187"/>
              <a:gd name="T53" fmla="*/ 2147483647 h 80"/>
              <a:gd name="T54" fmla="*/ 1548457827 w 187"/>
              <a:gd name="T55" fmla="*/ 2147483647 h 80"/>
              <a:gd name="T56" fmla="*/ 1204312728 w 187"/>
              <a:gd name="T57" fmla="*/ 2147483647 h 80"/>
              <a:gd name="T58" fmla="*/ 774228913 w 187"/>
              <a:gd name="T59" fmla="*/ 2147483647 h 80"/>
              <a:gd name="T60" fmla="*/ 516217869 w 187"/>
              <a:gd name="T61" fmla="*/ 2147483647 h 80"/>
              <a:gd name="T62" fmla="*/ 258011596 w 187"/>
              <a:gd name="T63" fmla="*/ 2147483647 h 80"/>
              <a:gd name="T64" fmla="*/ 172072605 w 187"/>
              <a:gd name="T65" fmla="*/ 2147483647 h 80"/>
              <a:gd name="T66" fmla="*/ 0 w 187"/>
              <a:gd name="T67" fmla="*/ 2147483647 h 80"/>
              <a:gd name="T68" fmla="*/ 172072605 w 187"/>
              <a:gd name="T69" fmla="*/ 2147483647 h 80"/>
              <a:gd name="T70" fmla="*/ 258011596 w 187"/>
              <a:gd name="T71" fmla="*/ 2147483647 h 80"/>
              <a:gd name="T72" fmla="*/ 430084146 w 187"/>
              <a:gd name="T73" fmla="*/ 2147483647 h 80"/>
              <a:gd name="T74" fmla="*/ 602156364 w 187"/>
              <a:gd name="T75" fmla="*/ 2147483647 h 80"/>
              <a:gd name="T76" fmla="*/ 1118374233 w 187"/>
              <a:gd name="T77" fmla="*/ 2147483647 h 80"/>
              <a:gd name="T78" fmla="*/ 1204312728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83" name="Freeform 496"/>
          <p:cNvSpPr>
            <a:spLocks/>
          </p:cNvSpPr>
          <p:nvPr>
            <p:custDataLst>
              <p:tags r:id="rId334"/>
            </p:custDataLst>
          </p:nvPr>
        </p:nvSpPr>
        <p:spPr bwMode="auto">
          <a:xfrm>
            <a:off x="8314272" y="1390650"/>
            <a:ext cx="105833" cy="58738"/>
          </a:xfrm>
          <a:custGeom>
            <a:avLst/>
            <a:gdLst>
              <a:gd name="T0" fmla="*/ 2147483647 w 183"/>
              <a:gd name="T1" fmla="*/ 0 h 73"/>
              <a:gd name="T2" fmla="*/ 2147483647 w 183"/>
              <a:gd name="T3" fmla="*/ 0 h 73"/>
              <a:gd name="T4" fmla="*/ 2147483647 w 183"/>
              <a:gd name="T5" fmla="*/ 521180648 h 73"/>
              <a:gd name="T6" fmla="*/ 2147483647 w 183"/>
              <a:gd name="T7" fmla="*/ 2084075670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1305644144 w 183"/>
              <a:gd name="T41" fmla="*/ 2147483647 h 73"/>
              <a:gd name="T42" fmla="*/ 571172117 w 183"/>
              <a:gd name="T43" fmla="*/ 2147483647 h 73"/>
              <a:gd name="T44" fmla="*/ 326410819 w 183"/>
              <a:gd name="T45" fmla="*/ 2147483647 h 73"/>
              <a:gd name="T46" fmla="*/ 163111287 w 183"/>
              <a:gd name="T47" fmla="*/ 2147483647 h 73"/>
              <a:gd name="T48" fmla="*/ 81649983 w 183"/>
              <a:gd name="T49" fmla="*/ 2147483647 h 73"/>
              <a:gd name="T50" fmla="*/ 0 w 183"/>
              <a:gd name="T51" fmla="*/ 2147483647 h 73"/>
              <a:gd name="T52" fmla="*/ 81649983 w 183"/>
              <a:gd name="T53" fmla="*/ 2147483647 h 73"/>
              <a:gd name="T54" fmla="*/ 244761297 w 183"/>
              <a:gd name="T55" fmla="*/ 2147483647 h 73"/>
              <a:gd name="T56" fmla="*/ 571172117 w 183"/>
              <a:gd name="T57" fmla="*/ 2084075670 h 73"/>
              <a:gd name="T58" fmla="*/ 1060882956 w 183"/>
              <a:gd name="T59" fmla="*/ 1562894821 h 73"/>
              <a:gd name="T60" fmla="*/ 1550404466 w 183"/>
              <a:gd name="T61" fmla="*/ 521180648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84" name="Freeform 497"/>
          <p:cNvSpPr>
            <a:spLocks/>
          </p:cNvSpPr>
          <p:nvPr>
            <p:custDataLst>
              <p:tags r:id="rId335"/>
            </p:custDataLst>
          </p:nvPr>
        </p:nvSpPr>
        <p:spPr bwMode="auto">
          <a:xfrm>
            <a:off x="8403168" y="1408113"/>
            <a:ext cx="44451" cy="57150"/>
          </a:xfrm>
          <a:custGeom>
            <a:avLst/>
            <a:gdLst>
              <a:gd name="T0" fmla="*/ 0 w 79"/>
              <a:gd name="T1" fmla="*/ 2147483647 h 42"/>
              <a:gd name="T2" fmla="*/ 1728483058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1878786318 w 79"/>
              <a:gd name="T37" fmla="*/ 2147483647 h 42"/>
              <a:gd name="T38" fmla="*/ 1202423126 w 79"/>
              <a:gd name="T39" fmla="*/ 2147483647 h 42"/>
              <a:gd name="T40" fmla="*/ 826665820 w 79"/>
              <a:gd name="T41" fmla="*/ 2147483647 h 42"/>
              <a:gd name="T42" fmla="*/ 375757200 w 79"/>
              <a:gd name="T43" fmla="*/ 2147483647 h 42"/>
              <a:gd name="T44" fmla="*/ 150302891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85" name="Freeform 498"/>
          <p:cNvSpPr>
            <a:spLocks/>
          </p:cNvSpPr>
          <p:nvPr>
            <p:custDataLst>
              <p:tags r:id="rId336"/>
            </p:custDataLst>
          </p:nvPr>
        </p:nvSpPr>
        <p:spPr bwMode="auto">
          <a:xfrm>
            <a:off x="8443389" y="1419225"/>
            <a:ext cx="69849" cy="58738"/>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092524437 w 113"/>
              <a:gd name="T25" fmla="*/ 2147483647 h 52"/>
              <a:gd name="T26" fmla="*/ 1295362800 w 113"/>
              <a:gd name="T27" fmla="*/ 2147483647 h 52"/>
              <a:gd name="T28" fmla="*/ 597925817 w 113"/>
              <a:gd name="T29" fmla="*/ 2147483647 h 52"/>
              <a:gd name="T30" fmla="*/ 398474074 w 113"/>
              <a:gd name="T31" fmla="*/ 2147483647 h 52"/>
              <a:gd name="T32" fmla="*/ 199237037 w 113"/>
              <a:gd name="T33" fmla="*/ 2147483647 h 52"/>
              <a:gd name="T34" fmla="*/ 99725842 w 113"/>
              <a:gd name="T35" fmla="*/ 2147483647 h 52"/>
              <a:gd name="T36" fmla="*/ 0 w 113"/>
              <a:gd name="T37" fmla="*/ 2147483647 h 52"/>
              <a:gd name="T38" fmla="*/ 99725842 w 113"/>
              <a:gd name="T39" fmla="*/ 2147483647 h 52"/>
              <a:gd name="T40" fmla="*/ 99725842 w 113"/>
              <a:gd name="T41" fmla="*/ 2147483647 h 52"/>
              <a:gd name="T42" fmla="*/ 298962909 w 113"/>
              <a:gd name="T43" fmla="*/ 2147483647 h 52"/>
              <a:gd name="T44" fmla="*/ 498200004 w 113"/>
              <a:gd name="T45" fmla="*/ 2147483647 h 52"/>
              <a:gd name="T46" fmla="*/ 697436983 w 113"/>
              <a:gd name="T47" fmla="*/ 2147483647 h 52"/>
              <a:gd name="T48" fmla="*/ 996400007 w 113"/>
              <a:gd name="T49" fmla="*/ 2147483647 h 52"/>
              <a:gd name="T50" fmla="*/ 1394873039 w 113"/>
              <a:gd name="T51" fmla="*/ 1441816977 h 52"/>
              <a:gd name="T52" fmla="*/ 1693836758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86" name="Freeform 499"/>
          <p:cNvSpPr>
            <a:spLocks/>
          </p:cNvSpPr>
          <p:nvPr>
            <p:custDataLst>
              <p:tags r:id="rId337"/>
            </p:custDataLst>
          </p:nvPr>
        </p:nvSpPr>
        <p:spPr bwMode="auto">
          <a:xfrm>
            <a:off x="8138584" y="1392245"/>
            <a:ext cx="82549" cy="58737"/>
          </a:xfrm>
          <a:custGeom>
            <a:avLst/>
            <a:gdLst>
              <a:gd name="T0" fmla="*/ 0 w 139"/>
              <a:gd name="T1" fmla="*/ 2147483647 h 40"/>
              <a:gd name="T2" fmla="*/ 706863915 w 139"/>
              <a:gd name="T3" fmla="*/ 2147483647 h 40"/>
              <a:gd name="T4" fmla="*/ 1678974756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1502209392 w 139"/>
              <a:gd name="T37" fmla="*/ 2147483647 h 40"/>
              <a:gd name="T38" fmla="*/ 972111064 w 139"/>
              <a:gd name="T39" fmla="*/ 2147483647 h 40"/>
              <a:gd name="T40" fmla="*/ 353531284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87" name="Freeform 500"/>
          <p:cNvSpPr>
            <a:spLocks/>
          </p:cNvSpPr>
          <p:nvPr>
            <p:custDataLst>
              <p:tags r:id="rId338"/>
            </p:custDataLst>
          </p:nvPr>
        </p:nvSpPr>
        <p:spPr bwMode="auto">
          <a:xfrm>
            <a:off x="8538633" y="1333500"/>
            <a:ext cx="186267" cy="57150"/>
          </a:xfrm>
          <a:custGeom>
            <a:avLst/>
            <a:gdLst>
              <a:gd name="T0" fmla="*/ 794131659 w 325"/>
              <a:gd name="T1" fmla="*/ 2147483647 h 71"/>
              <a:gd name="T2" fmla="*/ 2147483647 w 325"/>
              <a:gd name="T3" fmla="*/ 521568585 h 71"/>
              <a:gd name="T4" fmla="*/ 2147483647 w 325"/>
              <a:gd name="T5" fmla="*/ 0 h 71"/>
              <a:gd name="T6" fmla="*/ 2147483647 w 325"/>
              <a:gd name="T7" fmla="*/ 2086274342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1985512799 w 325"/>
              <a:gd name="T57" fmla="*/ 2147483647 h 71"/>
              <a:gd name="T58" fmla="*/ 1270832369 w 325"/>
              <a:gd name="T59" fmla="*/ 2147483647 h 71"/>
              <a:gd name="T60" fmla="*/ 476515876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88" name="Freeform 501"/>
          <p:cNvSpPr>
            <a:spLocks/>
          </p:cNvSpPr>
          <p:nvPr>
            <p:custDataLst>
              <p:tags r:id="rId339"/>
            </p:custDataLst>
          </p:nvPr>
        </p:nvSpPr>
        <p:spPr bwMode="auto">
          <a:xfrm>
            <a:off x="8752417" y="1341438"/>
            <a:ext cx="12700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1785457724 w 220"/>
              <a:gd name="T89" fmla="*/ 2147483647 h 72"/>
              <a:gd name="T90" fmla="*/ 1460794725 w 220"/>
              <a:gd name="T91" fmla="*/ 2147483647 h 72"/>
              <a:gd name="T92" fmla="*/ 1054966627 w 220"/>
              <a:gd name="T93" fmla="*/ 2147483647 h 72"/>
              <a:gd name="T94" fmla="*/ 730491314 w 220"/>
              <a:gd name="T95" fmla="*/ 2147483647 h 72"/>
              <a:gd name="T96" fmla="*/ 568159815 w 220"/>
              <a:gd name="T97" fmla="*/ 2147483647 h 72"/>
              <a:gd name="T98" fmla="*/ 243497141 w 220"/>
              <a:gd name="T99" fmla="*/ 2147483647 h 72"/>
              <a:gd name="T100" fmla="*/ 162331553 w 220"/>
              <a:gd name="T101" fmla="*/ 2147483647 h 72"/>
              <a:gd name="T102" fmla="*/ 81165560 w 220"/>
              <a:gd name="T103" fmla="*/ 2147483647 h 72"/>
              <a:gd name="T104" fmla="*/ 0 w 220"/>
              <a:gd name="T105" fmla="*/ 2147483647 h 72"/>
              <a:gd name="T106" fmla="*/ 186662325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89" name="Freeform 502"/>
          <p:cNvSpPr>
            <a:spLocks/>
          </p:cNvSpPr>
          <p:nvPr>
            <p:custDataLst>
              <p:tags r:id="rId340"/>
            </p:custDataLst>
          </p:nvPr>
        </p:nvSpPr>
        <p:spPr bwMode="auto">
          <a:xfrm>
            <a:off x="8699501" y="1389070"/>
            <a:ext cx="84667" cy="58737"/>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1563262788 w 146"/>
              <a:gd name="T35" fmla="*/ 0 h 30"/>
              <a:gd name="T36" fmla="*/ 1151828193 w 146"/>
              <a:gd name="T37" fmla="*/ 2147483647 h 30"/>
              <a:gd name="T38" fmla="*/ 822680213 w 146"/>
              <a:gd name="T39" fmla="*/ 2147483647 h 30"/>
              <a:gd name="T40" fmla="*/ 329147872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90" name="Freeform 503"/>
          <p:cNvSpPr>
            <a:spLocks/>
          </p:cNvSpPr>
          <p:nvPr>
            <p:custDataLst>
              <p:tags r:id="rId341"/>
            </p:custDataLst>
          </p:nvPr>
        </p:nvSpPr>
        <p:spPr bwMode="auto">
          <a:xfrm>
            <a:off x="8671987" y="1385895"/>
            <a:ext cx="27516" cy="58737"/>
          </a:xfrm>
          <a:custGeom>
            <a:avLst/>
            <a:gdLst>
              <a:gd name="T0" fmla="*/ 0 w 53"/>
              <a:gd name="T1" fmla="*/ 2147483647 h 9"/>
              <a:gd name="T2" fmla="*/ 1003537694 w 53"/>
              <a:gd name="T3" fmla="*/ 2147483647 h 9"/>
              <a:gd name="T4" fmla="*/ 1712033346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1830140810 w 53"/>
              <a:gd name="T15" fmla="*/ 2147483647 h 9"/>
              <a:gd name="T16" fmla="*/ 1475817250 w 53"/>
              <a:gd name="T17" fmla="*/ 0 h 9"/>
              <a:gd name="T18" fmla="*/ 1121645937 w 53"/>
              <a:gd name="T19" fmla="*/ 0 h 9"/>
              <a:gd name="T20" fmla="*/ 826452037 w 53"/>
              <a:gd name="T21" fmla="*/ 0 h 9"/>
              <a:gd name="T22" fmla="*/ 531257943 w 53"/>
              <a:gd name="T23" fmla="*/ 2147483647 h 9"/>
              <a:gd name="T24" fmla="*/ 354172189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3415" name="Line 504"/>
          <p:cNvSpPr>
            <a:spLocks noChangeShapeType="1"/>
          </p:cNvSpPr>
          <p:nvPr>
            <p:custDataLst>
              <p:tags r:id="rId342"/>
            </p:custDataLst>
          </p:nvPr>
        </p:nvSpPr>
        <p:spPr bwMode="auto">
          <a:xfrm flipV="1">
            <a:off x="8674100" y="1384300"/>
            <a:ext cx="0" cy="15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zh-TW" altLang="en-US">
              <a:solidFill>
                <a:srgbClr val="000000"/>
              </a:solidFill>
            </a:endParaRPr>
          </a:p>
        </p:txBody>
      </p:sp>
      <p:sp>
        <p:nvSpPr>
          <p:cNvPr id="2392" name="Freeform 505"/>
          <p:cNvSpPr>
            <a:spLocks/>
          </p:cNvSpPr>
          <p:nvPr>
            <p:custDataLst>
              <p:tags r:id="rId343"/>
            </p:custDataLst>
          </p:nvPr>
        </p:nvSpPr>
        <p:spPr bwMode="auto">
          <a:xfrm>
            <a:off x="7567084" y="1312863"/>
            <a:ext cx="14816" cy="55562"/>
          </a:xfrm>
          <a:custGeom>
            <a:avLst/>
            <a:gdLst>
              <a:gd name="T0" fmla="*/ 0 w 26"/>
              <a:gd name="T1" fmla="*/ 2147483647 h 25"/>
              <a:gd name="T2" fmla="*/ 390339337 w 26"/>
              <a:gd name="T3" fmla="*/ 2147483647 h 25"/>
              <a:gd name="T4" fmla="*/ 1014845413 w 26"/>
              <a:gd name="T5" fmla="*/ 2147483647 h 25"/>
              <a:gd name="T6" fmla="*/ 1249012794 w 26"/>
              <a:gd name="T7" fmla="*/ 2147483647 h 25"/>
              <a:gd name="T8" fmla="*/ 1561357346 w 26"/>
              <a:gd name="T9" fmla="*/ 2147483647 h 25"/>
              <a:gd name="T10" fmla="*/ 1795523445 w 26"/>
              <a:gd name="T11" fmla="*/ 2147483647 h 25"/>
              <a:gd name="T12" fmla="*/ 2029690827 w 26"/>
              <a:gd name="T13" fmla="*/ 0 h 25"/>
              <a:gd name="T14" fmla="*/ 2029690827 w 26"/>
              <a:gd name="T15" fmla="*/ 2147483647 h 25"/>
              <a:gd name="T16" fmla="*/ 1561357346 w 26"/>
              <a:gd name="T17" fmla="*/ 2147483647 h 25"/>
              <a:gd name="T18" fmla="*/ 1014845413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25"/>
              <a:gd name="T35" fmla="*/ 26 w 26"/>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93" name="Freeform 506"/>
          <p:cNvSpPr>
            <a:spLocks/>
          </p:cNvSpPr>
          <p:nvPr>
            <p:custDataLst>
              <p:tags r:id="rId344"/>
            </p:custDataLst>
          </p:nvPr>
        </p:nvSpPr>
        <p:spPr bwMode="auto">
          <a:xfrm>
            <a:off x="8566151" y="1384300"/>
            <a:ext cx="12700" cy="57150"/>
          </a:xfrm>
          <a:custGeom>
            <a:avLst/>
            <a:gdLst>
              <a:gd name="T0" fmla="*/ 793536331 w 33"/>
              <a:gd name="T1" fmla="*/ 2147483647 h 25"/>
              <a:gd name="T2" fmla="*/ 793536331 w 33"/>
              <a:gd name="T3" fmla="*/ 2147483647 h 25"/>
              <a:gd name="T4" fmla="*/ 793536331 w 33"/>
              <a:gd name="T5" fmla="*/ 0 h 25"/>
              <a:gd name="T6" fmla="*/ 0 w 33"/>
              <a:gd name="T7" fmla="*/ 0 h 25"/>
              <a:gd name="T8" fmla="*/ 216441743 w 33"/>
              <a:gd name="T9" fmla="*/ 2147483647 h 25"/>
              <a:gd name="T10" fmla="*/ 384730014 w 33"/>
              <a:gd name="T11" fmla="*/ 2147483647 h 25"/>
              <a:gd name="T12" fmla="*/ 480954117 w 33"/>
              <a:gd name="T13" fmla="*/ 2147483647 h 25"/>
              <a:gd name="T14" fmla="*/ 577094805 w 33"/>
              <a:gd name="T15" fmla="*/ 2147483647 h 25"/>
              <a:gd name="T16" fmla="*/ 673318764 w 33"/>
              <a:gd name="T17" fmla="*/ 2147483647 h 25"/>
              <a:gd name="T18" fmla="*/ 793536331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94" name="Freeform 507"/>
          <p:cNvSpPr>
            <a:spLocks/>
          </p:cNvSpPr>
          <p:nvPr>
            <p:custDataLst>
              <p:tags r:id="rId345"/>
            </p:custDataLst>
          </p:nvPr>
        </p:nvSpPr>
        <p:spPr bwMode="auto">
          <a:xfrm>
            <a:off x="8504767" y="1347788"/>
            <a:ext cx="12700" cy="57150"/>
          </a:xfrm>
          <a:custGeom>
            <a:avLst/>
            <a:gdLst>
              <a:gd name="T0" fmla="*/ 0 w 20"/>
              <a:gd name="T1" fmla="*/ 0 h 18"/>
              <a:gd name="T2" fmla="*/ 1404205921 w 20"/>
              <a:gd name="T3" fmla="*/ 2147483647 h 18"/>
              <a:gd name="T4" fmla="*/ 172832249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95" name="Freeform 508"/>
          <p:cNvSpPr>
            <a:spLocks/>
          </p:cNvSpPr>
          <p:nvPr>
            <p:custDataLst>
              <p:tags r:id="rId346"/>
            </p:custDataLst>
          </p:nvPr>
        </p:nvSpPr>
        <p:spPr bwMode="auto">
          <a:xfrm>
            <a:off x="9171520" y="1917700"/>
            <a:ext cx="16933" cy="58738"/>
          </a:xfrm>
          <a:custGeom>
            <a:avLst/>
            <a:gdLst>
              <a:gd name="T0" fmla="*/ 0 w 33"/>
              <a:gd name="T1" fmla="*/ 2147483647 h 31"/>
              <a:gd name="T2" fmla="*/ 0 w 33"/>
              <a:gd name="T3" fmla="*/ 0 h 31"/>
              <a:gd name="T4" fmla="*/ 513047243 w 33"/>
              <a:gd name="T5" fmla="*/ 0 h 31"/>
              <a:gd name="T6" fmla="*/ 912050848 w 33"/>
              <a:gd name="T7" fmla="*/ 0 h 31"/>
              <a:gd name="T8" fmla="*/ 1367928298 w 33"/>
              <a:gd name="T9" fmla="*/ 0 h 31"/>
              <a:gd name="T10" fmla="*/ 1880976118 w 33"/>
              <a:gd name="T11" fmla="*/ 0 h 31"/>
              <a:gd name="T12" fmla="*/ 1709911046 w 33"/>
              <a:gd name="T13" fmla="*/ 2147483647 h 31"/>
              <a:gd name="T14" fmla="*/ 1653036624 w 33"/>
              <a:gd name="T15" fmla="*/ 2147483647 h 31"/>
              <a:gd name="T16" fmla="*/ 1596014804 w 33"/>
              <a:gd name="T17" fmla="*/ 2147483647 h 31"/>
              <a:gd name="T18" fmla="*/ 1596014804 w 33"/>
              <a:gd name="T19" fmla="*/ 2147483647 h 31"/>
              <a:gd name="T20" fmla="*/ 1596014804 w 33"/>
              <a:gd name="T21" fmla="*/ 2147483647 h 31"/>
              <a:gd name="T22" fmla="*/ 1653036624 w 33"/>
              <a:gd name="T23" fmla="*/ 2147483647 h 31"/>
              <a:gd name="T24" fmla="*/ 1709911046 w 33"/>
              <a:gd name="T25" fmla="*/ 2147483647 h 31"/>
              <a:gd name="T26" fmla="*/ 1880976118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3"/>
              <a:gd name="T46" fmla="*/ 0 h 31"/>
              <a:gd name="T47" fmla="*/ 33 w 33"/>
              <a:gd name="T48" fmla="*/ 31 h 3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96" name="Freeform 509"/>
          <p:cNvSpPr>
            <a:spLocks/>
          </p:cNvSpPr>
          <p:nvPr>
            <p:custDataLst>
              <p:tags r:id="rId347"/>
            </p:custDataLst>
          </p:nvPr>
        </p:nvSpPr>
        <p:spPr bwMode="auto">
          <a:xfrm>
            <a:off x="9563103" y="1439870"/>
            <a:ext cx="74084" cy="58737"/>
          </a:xfrm>
          <a:custGeom>
            <a:avLst/>
            <a:gdLst>
              <a:gd name="T0" fmla="*/ 239692315 w 129"/>
              <a:gd name="T1" fmla="*/ 2147483647 h 56"/>
              <a:gd name="T2" fmla="*/ 79959453 w 129"/>
              <a:gd name="T3" fmla="*/ 2147483647 h 56"/>
              <a:gd name="T4" fmla="*/ 79959453 w 129"/>
              <a:gd name="T5" fmla="*/ 2147483647 h 56"/>
              <a:gd name="T6" fmla="*/ 0 w 129"/>
              <a:gd name="T7" fmla="*/ 2147483647 h 56"/>
              <a:gd name="T8" fmla="*/ 79959453 w 129"/>
              <a:gd name="T9" fmla="*/ 2147483647 h 56"/>
              <a:gd name="T10" fmla="*/ 159733266 w 129"/>
              <a:gd name="T11" fmla="*/ 2147483647 h 56"/>
              <a:gd name="T12" fmla="*/ 239692315 w 129"/>
              <a:gd name="T13" fmla="*/ 2147483647 h 56"/>
              <a:gd name="T14" fmla="*/ 719077269 w 129"/>
              <a:gd name="T15" fmla="*/ 2147483647 h 56"/>
              <a:gd name="T16" fmla="*/ 1278606967 w 129"/>
              <a:gd name="T17" fmla="*/ 2147483647 h 56"/>
              <a:gd name="T18" fmla="*/ 167803238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1837951671 w 129"/>
              <a:gd name="T67" fmla="*/ 2147483647 h 56"/>
              <a:gd name="T68" fmla="*/ 1278606967 w 129"/>
              <a:gd name="T69" fmla="*/ 2147483647 h 56"/>
              <a:gd name="T70" fmla="*/ 479385062 w 129"/>
              <a:gd name="T71" fmla="*/ 2147483647 h 56"/>
              <a:gd name="T72" fmla="*/ 239692315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97" name="Freeform 510"/>
          <p:cNvSpPr>
            <a:spLocks/>
          </p:cNvSpPr>
          <p:nvPr>
            <p:custDataLst>
              <p:tags r:id="rId348"/>
            </p:custDataLst>
          </p:nvPr>
        </p:nvSpPr>
        <p:spPr bwMode="auto">
          <a:xfrm>
            <a:off x="9745133" y="1792288"/>
            <a:ext cx="19051" cy="57150"/>
          </a:xfrm>
          <a:custGeom>
            <a:avLst/>
            <a:gdLst>
              <a:gd name="T0" fmla="*/ 888725466 w 41"/>
              <a:gd name="T1" fmla="*/ 2147483647 h 42"/>
              <a:gd name="T2" fmla="*/ 0 w 41"/>
              <a:gd name="T3" fmla="*/ 2147483647 h 42"/>
              <a:gd name="T4" fmla="*/ 0 w 41"/>
              <a:gd name="T5" fmla="*/ 2147483647 h 42"/>
              <a:gd name="T6" fmla="*/ 296201368 w 41"/>
              <a:gd name="T7" fmla="*/ 2147483647 h 42"/>
              <a:gd name="T8" fmla="*/ 592524011 w 41"/>
              <a:gd name="T9" fmla="*/ 2147483647 h 42"/>
              <a:gd name="T10" fmla="*/ 1015755497 w 41"/>
              <a:gd name="T11" fmla="*/ 2147483647 h 42"/>
              <a:gd name="T12" fmla="*/ 1438986808 w 41"/>
              <a:gd name="T13" fmla="*/ 0 h 42"/>
              <a:gd name="T14" fmla="*/ 1438986808 w 41"/>
              <a:gd name="T15" fmla="*/ 2147483647 h 42"/>
              <a:gd name="T16" fmla="*/ 1735187741 w 41"/>
              <a:gd name="T17" fmla="*/ 2147483647 h 42"/>
              <a:gd name="T18" fmla="*/ 888725466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1"/>
              <a:gd name="T31" fmla="*/ 0 h 42"/>
              <a:gd name="T32" fmla="*/ 41 w 41"/>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98" name="Freeform 511"/>
          <p:cNvSpPr>
            <a:spLocks/>
          </p:cNvSpPr>
          <p:nvPr>
            <p:custDataLst>
              <p:tags r:id="rId349"/>
            </p:custDataLst>
          </p:nvPr>
        </p:nvSpPr>
        <p:spPr bwMode="auto">
          <a:xfrm>
            <a:off x="9944105" y="1905003"/>
            <a:ext cx="57151"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1566398324 w 93"/>
              <a:gd name="T27" fmla="*/ 2147483647 h 39"/>
              <a:gd name="T28" fmla="*/ 881125875 w 93"/>
              <a:gd name="T29" fmla="*/ 2147483647 h 39"/>
              <a:gd name="T30" fmla="*/ 0 w 93"/>
              <a:gd name="T31" fmla="*/ 2147483647 h 39"/>
              <a:gd name="T32" fmla="*/ 1076978611 w 93"/>
              <a:gd name="T33" fmla="*/ 2147483647 h 39"/>
              <a:gd name="T34" fmla="*/ 1958103795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399" name="Freeform 512"/>
          <p:cNvSpPr>
            <a:spLocks/>
          </p:cNvSpPr>
          <p:nvPr>
            <p:custDataLst>
              <p:tags r:id="rId350"/>
            </p:custDataLst>
          </p:nvPr>
        </p:nvSpPr>
        <p:spPr bwMode="auto">
          <a:xfrm>
            <a:off x="10011833" y="1920875"/>
            <a:ext cx="25400" cy="58738"/>
          </a:xfrm>
          <a:custGeom>
            <a:avLst/>
            <a:gdLst>
              <a:gd name="T0" fmla="*/ 2147483647 w 39"/>
              <a:gd name="T1" fmla="*/ 2147483647 h 19"/>
              <a:gd name="T2" fmla="*/ 1515075703 w 39"/>
              <a:gd name="T3" fmla="*/ 2147483647 h 19"/>
              <a:gd name="T4" fmla="*/ 932428018 w 39"/>
              <a:gd name="T5" fmla="*/ 2147483647 h 19"/>
              <a:gd name="T6" fmla="*/ 582648174 w 39"/>
              <a:gd name="T7" fmla="*/ 2147483647 h 19"/>
              <a:gd name="T8" fmla="*/ 349541108 w 39"/>
              <a:gd name="T9" fmla="*/ 2147483647 h 19"/>
              <a:gd name="T10" fmla="*/ 233107004 w 39"/>
              <a:gd name="T11" fmla="*/ 2147483647 h 19"/>
              <a:gd name="T12" fmla="*/ 0 w 39"/>
              <a:gd name="T13" fmla="*/ 2147483647 h 19"/>
              <a:gd name="T14" fmla="*/ 0 w 39"/>
              <a:gd name="T15" fmla="*/ 0 h 19"/>
              <a:gd name="T16" fmla="*/ 1515075703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00" name="Freeform 513"/>
          <p:cNvSpPr>
            <a:spLocks/>
          </p:cNvSpPr>
          <p:nvPr>
            <p:custDataLst>
              <p:tags r:id="rId351"/>
            </p:custDataLst>
          </p:nvPr>
        </p:nvSpPr>
        <p:spPr bwMode="auto">
          <a:xfrm>
            <a:off x="9831922" y="2047875"/>
            <a:ext cx="19049" cy="57150"/>
          </a:xfrm>
          <a:custGeom>
            <a:avLst/>
            <a:gdLst>
              <a:gd name="T0" fmla="*/ 0 w 26"/>
              <a:gd name="T1" fmla="*/ 2147483647 h 36"/>
              <a:gd name="T2" fmla="*/ 497916228 w 26"/>
              <a:gd name="T3" fmla="*/ 2147483647 h 36"/>
              <a:gd name="T4" fmla="*/ 1659216412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1659216412 w 26"/>
              <a:gd name="T25" fmla="*/ 2147483647 h 36"/>
              <a:gd name="T26" fmla="*/ 663686729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01" name="Freeform 514"/>
          <p:cNvSpPr>
            <a:spLocks/>
          </p:cNvSpPr>
          <p:nvPr>
            <p:custDataLst>
              <p:tags r:id="rId352"/>
            </p:custDataLst>
          </p:nvPr>
        </p:nvSpPr>
        <p:spPr bwMode="auto">
          <a:xfrm>
            <a:off x="9846738" y="2076457"/>
            <a:ext cx="4233" cy="60325"/>
          </a:xfrm>
          <a:custGeom>
            <a:avLst/>
            <a:gdLst>
              <a:gd name="T0" fmla="*/ 0 w 6"/>
              <a:gd name="T1" fmla="*/ 2147483647 h 37"/>
              <a:gd name="T2" fmla="*/ 0 w 6"/>
              <a:gd name="T3" fmla="*/ 0 h 37"/>
              <a:gd name="T4" fmla="*/ 889055015 w 6"/>
              <a:gd name="T5" fmla="*/ 0 h 37"/>
              <a:gd name="T6" fmla="*/ 889055015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02" name="Freeform 515"/>
          <p:cNvSpPr>
            <a:spLocks/>
          </p:cNvSpPr>
          <p:nvPr>
            <p:custDataLst>
              <p:tags r:id="rId353"/>
            </p:custDataLst>
          </p:nvPr>
        </p:nvSpPr>
        <p:spPr bwMode="auto">
          <a:xfrm>
            <a:off x="9829803" y="2159007"/>
            <a:ext cx="12700" cy="55563"/>
          </a:xfrm>
          <a:custGeom>
            <a:avLst/>
            <a:gdLst>
              <a:gd name="T0" fmla="*/ 0 w 20"/>
              <a:gd name="T1" fmla="*/ 2147483647 h 43"/>
              <a:gd name="T2" fmla="*/ 0 w 20"/>
              <a:gd name="T3" fmla="*/ 2147483647 h 43"/>
              <a:gd name="T4" fmla="*/ 0 w 20"/>
              <a:gd name="T5" fmla="*/ 2147483647 h 43"/>
              <a:gd name="T6" fmla="*/ 216153660 w 20"/>
              <a:gd name="T7" fmla="*/ 2147483647 h 43"/>
              <a:gd name="T8" fmla="*/ 756198272 w 20"/>
              <a:gd name="T9" fmla="*/ 0 h 43"/>
              <a:gd name="T10" fmla="*/ 1188279015 w 20"/>
              <a:gd name="T11" fmla="*/ 2147483647 h 43"/>
              <a:gd name="T12" fmla="*/ 1728322497 w 20"/>
              <a:gd name="T13" fmla="*/ 2147483647 h 43"/>
              <a:gd name="T14" fmla="*/ 1836286426 w 20"/>
              <a:gd name="T15" fmla="*/ 2147483647 h 43"/>
              <a:gd name="T16" fmla="*/ 2052439550 w 20"/>
              <a:gd name="T17" fmla="*/ 2147483647 h 43"/>
              <a:gd name="T18" fmla="*/ 2052439550 w 20"/>
              <a:gd name="T19" fmla="*/ 2147483647 h 43"/>
              <a:gd name="T20" fmla="*/ 2147483647 w 20"/>
              <a:gd name="T21" fmla="*/ 2147483647 h 43"/>
              <a:gd name="T22" fmla="*/ 2052439550 w 20"/>
              <a:gd name="T23" fmla="*/ 2147483647 h 43"/>
              <a:gd name="T24" fmla="*/ 1944476097 w 20"/>
              <a:gd name="T25" fmla="*/ 2147483647 h 43"/>
              <a:gd name="T26" fmla="*/ 1728322497 w 20"/>
              <a:gd name="T27" fmla="*/ 2147483647 h 43"/>
              <a:gd name="T28" fmla="*/ 1296241992 w 20"/>
              <a:gd name="T29" fmla="*/ 2147483647 h 43"/>
              <a:gd name="T30" fmla="*/ 972125177 w 20"/>
              <a:gd name="T31" fmla="*/ 2147483647 h 43"/>
              <a:gd name="T32" fmla="*/ 648234820 w 20"/>
              <a:gd name="T33" fmla="*/ 2147483647 h 43"/>
              <a:gd name="T34" fmla="*/ 216153660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03" name="Freeform 516"/>
          <p:cNvSpPr>
            <a:spLocks/>
          </p:cNvSpPr>
          <p:nvPr>
            <p:custDataLst>
              <p:tags r:id="rId354"/>
            </p:custDataLst>
          </p:nvPr>
        </p:nvSpPr>
        <p:spPr bwMode="auto">
          <a:xfrm>
            <a:off x="9800167" y="2193925"/>
            <a:ext cx="0" cy="58738"/>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04" name="Freeform 517"/>
          <p:cNvSpPr>
            <a:spLocks/>
          </p:cNvSpPr>
          <p:nvPr>
            <p:custDataLst>
              <p:tags r:id="rId355"/>
            </p:custDataLst>
          </p:nvPr>
        </p:nvSpPr>
        <p:spPr bwMode="auto">
          <a:xfrm>
            <a:off x="9800167" y="2193925"/>
            <a:ext cx="10584" cy="58738"/>
          </a:xfrm>
          <a:custGeom>
            <a:avLst/>
            <a:gdLst>
              <a:gd name="T0" fmla="*/ 0 w 20"/>
              <a:gd name="T1" fmla="*/ 0 h 24"/>
              <a:gd name="T2" fmla="*/ 1250469885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05" name="Freeform 518"/>
          <p:cNvSpPr>
            <a:spLocks/>
          </p:cNvSpPr>
          <p:nvPr>
            <p:custDataLst>
              <p:tags r:id="rId356"/>
            </p:custDataLst>
          </p:nvPr>
        </p:nvSpPr>
        <p:spPr bwMode="auto">
          <a:xfrm>
            <a:off x="9472085" y="1781179"/>
            <a:ext cx="23283" cy="60325"/>
          </a:xfrm>
          <a:custGeom>
            <a:avLst/>
            <a:gdLst>
              <a:gd name="T0" fmla="*/ 0 w 46"/>
              <a:gd name="T1" fmla="*/ 0 h 19"/>
              <a:gd name="T2" fmla="*/ 492254945 w 46"/>
              <a:gd name="T3" fmla="*/ 2147483647 h 19"/>
              <a:gd name="T4" fmla="*/ 765906032 w 46"/>
              <a:gd name="T5" fmla="*/ 2147483647 h 19"/>
              <a:gd name="T6" fmla="*/ 1039413437 w 46"/>
              <a:gd name="T7" fmla="*/ 2147483647 h 19"/>
              <a:gd name="T8" fmla="*/ 1258161357 w 46"/>
              <a:gd name="T9" fmla="*/ 2147483647 h 19"/>
              <a:gd name="T10" fmla="*/ 1422294233 w 46"/>
              <a:gd name="T11" fmla="*/ 2147483647 h 19"/>
              <a:gd name="T12" fmla="*/ 1750415354 w 46"/>
              <a:gd name="T13" fmla="*/ 2147483647 h 19"/>
              <a:gd name="T14" fmla="*/ 2024067579 w 46"/>
              <a:gd name="T15" fmla="*/ 2147483647 h 19"/>
              <a:gd name="T16" fmla="*/ 2147483647 w 46"/>
              <a:gd name="T17" fmla="*/ 2147483647 h 19"/>
              <a:gd name="T18" fmla="*/ 1805174649 w 46"/>
              <a:gd name="T19" fmla="*/ 2147483647 h 19"/>
              <a:gd name="T20" fmla="*/ 1312919893 w 46"/>
              <a:gd name="T21" fmla="*/ 2147483647 h 19"/>
              <a:gd name="T22" fmla="*/ 984654142 w 46"/>
              <a:gd name="T23" fmla="*/ 2147483647 h 19"/>
              <a:gd name="T24" fmla="*/ 711147116 w 46"/>
              <a:gd name="T25" fmla="*/ 2147483647 h 19"/>
              <a:gd name="T26" fmla="*/ 547014241 w 46"/>
              <a:gd name="T27" fmla="*/ 2147483647 h 19"/>
              <a:gd name="T28" fmla="*/ 382880891 w 46"/>
              <a:gd name="T29" fmla="*/ 2147483647 h 19"/>
              <a:gd name="T30" fmla="*/ 218748015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06" name="Freeform 519"/>
          <p:cNvSpPr>
            <a:spLocks/>
          </p:cNvSpPr>
          <p:nvPr>
            <p:custDataLst>
              <p:tags r:id="rId357"/>
            </p:custDataLst>
          </p:nvPr>
        </p:nvSpPr>
        <p:spPr bwMode="auto">
          <a:xfrm>
            <a:off x="5892803" y="1920875"/>
            <a:ext cx="63500" cy="58738"/>
          </a:xfrm>
          <a:custGeom>
            <a:avLst/>
            <a:gdLst>
              <a:gd name="T0" fmla="*/ 2147483647 w 100"/>
              <a:gd name="T1" fmla="*/ 0 h 55"/>
              <a:gd name="T2" fmla="*/ 2147483647 w 100"/>
              <a:gd name="T3" fmla="*/ 2147483647 h 55"/>
              <a:gd name="T4" fmla="*/ 2147483647 w 100"/>
              <a:gd name="T5" fmla="*/ 2147483647 h 55"/>
              <a:gd name="T6" fmla="*/ 1404206028 w 100"/>
              <a:gd name="T7" fmla="*/ 2147483647 h 55"/>
              <a:gd name="T8" fmla="*/ 0 w 100"/>
              <a:gd name="T9" fmla="*/ 2147483647 h 55"/>
              <a:gd name="T10" fmla="*/ 107963491 w 100"/>
              <a:gd name="T11" fmla="*/ 2147483647 h 55"/>
              <a:gd name="T12" fmla="*/ 432080657 w 100"/>
              <a:gd name="T13" fmla="*/ 2147483647 h 55"/>
              <a:gd name="T14" fmla="*/ 1080315169 w 100"/>
              <a:gd name="T15" fmla="*/ 2147483647 h 55"/>
              <a:gd name="T16" fmla="*/ 1728322629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07" name="Freeform 520"/>
          <p:cNvSpPr>
            <a:spLocks/>
          </p:cNvSpPr>
          <p:nvPr>
            <p:custDataLst>
              <p:tags r:id="rId358"/>
            </p:custDataLst>
          </p:nvPr>
        </p:nvSpPr>
        <p:spPr bwMode="auto">
          <a:xfrm>
            <a:off x="6491819" y="1512895"/>
            <a:ext cx="57149" cy="58737"/>
          </a:xfrm>
          <a:custGeom>
            <a:avLst/>
            <a:gdLst>
              <a:gd name="T0" fmla="*/ 2147483647 w 99"/>
              <a:gd name="T1" fmla="*/ 2147483647 h 51"/>
              <a:gd name="T2" fmla="*/ 2147483647 w 99"/>
              <a:gd name="T3" fmla="*/ 1528043174 h 51"/>
              <a:gd name="T4" fmla="*/ 2147483647 w 99"/>
              <a:gd name="T5" fmla="*/ 0 h 51"/>
              <a:gd name="T6" fmla="*/ 2147483647 w 99"/>
              <a:gd name="T7" fmla="*/ 0 h 51"/>
              <a:gd name="T8" fmla="*/ 2147483647 w 99"/>
              <a:gd name="T9" fmla="*/ 1528043174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1460760322 w 99"/>
              <a:gd name="T49" fmla="*/ 2147483647 h 51"/>
              <a:gd name="T50" fmla="*/ 730474111 w 99"/>
              <a:gd name="T51" fmla="*/ 2147483647 h 51"/>
              <a:gd name="T52" fmla="*/ 81163745 w 99"/>
              <a:gd name="T53" fmla="*/ 2147483647 h 51"/>
              <a:gd name="T54" fmla="*/ 0 w 99"/>
              <a:gd name="T55" fmla="*/ 2147483647 h 51"/>
              <a:gd name="T56" fmla="*/ 81163745 w 99"/>
              <a:gd name="T57" fmla="*/ 2147483647 h 51"/>
              <a:gd name="T58" fmla="*/ 243491262 w 99"/>
              <a:gd name="T59" fmla="*/ 2147483647 h 51"/>
              <a:gd name="T60" fmla="*/ 486982957 w 99"/>
              <a:gd name="T61" fmla="*/ 2147483647 h 51"/>
              <a:gd name="T62" fmla="*/ 1136105450 w 99"/>
              <a:gd name="T63" fmla="*/ 2147483647 h 51"/>
              <a:gd name="T64" fmla="*/ 2028907213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08" name="Freeform 521"/>
          <p:cNvSpPr>
            <a:spLocks/>
          </p:cNvSpPr>
          <p:nvPr>
            <p:custDataLst>
              <p:tags r:id="rId359"/>
            </p:custDataLst>
          </p:nvPr>
        </p:nvSpPr>
        <p:spPr bwMode="auto">
          <a:xfrm>
            <a:off x="6538384" y="1325563"/>
            <a:ext cx="304800" cy="163512"/>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1017246396 h 311"/>
              <a:gd name="T10" fmla="*/ 2147483647 w 525"/>
              <a:gd name="T11" fmla="*/ 872122981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1486068691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09" name="Freeform 522"/>
          <p:cNvSpPr>
            <a:spLocks/>
          </p:cNvSpPr>
          <p:nvPr>
            <p:custDataLst>
              <p:tags r:id="rId360"/>
            </p:custDataLst>
          </p:nvPr>
        </p:nvSpPr>
        <p:spPr bwMode="auto">
          <a:xfrm>
            <a:off x="6261100" y="1636713"/>
            <a:ext cx="42333" cy="55562"/>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1947477533 w 79"/>
              <a:gd name="T33" fmla="*/ 2147483647 h 38"/>
              <a:gd name="T34" fmla="*/ 1363250027 w 79"/>
              <a:gd name="T35" fmla="*/ 2147483647 h 38"/>
              <a:gd name="T36" fmla="*/ 973658387 w 79"/>
              <a:gd name="T37" fmla="*/ 2147483647 h 38"/>
              <a:gd name="T38" fmla="*/ 519294962 w 79"/>
              <a:gd name="T39" fmla="*/ 2147483647 h 38"/>
              <a:gd name="T40" fmla="*/ 259728263 w 79"/>
              <a:gd name="T41" fmla="*/ 2147483647 h 38"/>
              <a:gd name="T42" fmla="*/ 129864332 w 79"/>
              <a:gd name="T43" fmla="*/ 2147483647 h 38"/>
              <a:gd name="T44" fmla="*/ 64931965 w 79"/>
              <a:gd name="T45" fmla="*/ 2147483647 h 38"/>
              <a:gd name="T46" fmla="*/ 0 w 79"/>
              <a:gd name="T47" fmla="*/ 2147483647 h 38"/>
              <a:gd name="T48" fmla="*/ 0 w 79"/>
              <a:gd name="T49" fmla="*/ 2147483647 h 38"/>
              <a:gd name="T50" fmla="*/ 64931965 w 79"/>
              <a:gd name="T51" fmla="*/ 2147483647 h 38"/>
              <a:gd name="T52" fmla="*/ 259728263 w 79"/>
              <a:gd name="T53" fmla="*/ 2147483647 h 38"/>
              <a:gd name="T54" fmla="*/ 649159244 w 79"/>
              <a:gd name="T55" fmla="*/ 2147483647 h 38"/>
              <a:gd name="T56" fmla="*/ 1103522267 w 79"/>
              <a:gd name="T57" fmla="*/ 2147483647 h 38"/>
              <a:gd name="T58" fmla="*/ 207734221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9"/>
              <a:gd name="T94" fmla="*/ 0 h 38"/>
              <a:gd name="T95" fmla="*/ 79 w 79"/>
              <a:gd name="T96" fmla="*/ 38 h 38"/>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10" name="Freeform 523"/>
          <p:cNvSpPr>
            <a:spLocks/>
          </p:cNvSpPr>
          <p:nvPr>
            <p:custDataLst>
              <p:tags r:id="rId361"/>
            </p:custDataLst>
          </p:nvPr>
        </p:nvSpPr>
        <p:spPr bwMode="auto">
          <a:xfrm>
            <a:off x="9334501" y="1933575"/>
            <a:ext cx="262467" cy="268288"/>
          </a:xfrm>
          <a:custGeom>
            <a:avLst/>
            <a:gdLst>
              <a:gd name="T0" fmla="*/ 2050969741 w 459"/>
              <a:gd name="T1" fmla="*/ 2147483647 h 511"/>
              <a:gd name="T2" fmla="*/ 946488429 w 459"/>
              <a:gd name="T3" fmla="*/ 2147483647 h 511"/>
              <a:gd name="T4" fmla="*/ 0 w 459"/>
              <a:gd name="T5" fmla="*/ 0 h 511"/>
              <a:gd name="T6" fmla="*/ 1735350656 w 459"/>
              <a:gd name="T7" fmla="*/ 1013019807 h 511"/>
              <a:gd name="T8" fmla="*/ 2147483647 w 459"/>
              <a:gd name="T9" fmla="*/ 868302879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411" name="Group 524"/>
          <p:cNvGrpSpPr>
            <a:grpSpLocks/>
          </p:cNvGrpSpPr>
          <p:nvPr>
            <p:custDataLst>
              <p:tags r:id="rId362"/>
            </p:custDataLst>
          </p:nvPr>
        </p:nvGrpSpPr>
        <p:grpSpPr bwMode="auto">
          <a:xfrm>
            <a:off x="7721600" y="1889129"/>
            <a:ext cx="895351" cy="384175"/>
            <a:chOff x="4115" y="1551"/>
            <a:chExt cx="504" cy="244"/>
          </a:xfrm>
          <a:solidFill>
            <a:schemeClr val="accent5">
              <a:lumMod val="75000"/>
            </a:schemeClr>
          </a:solidFill>
        </p:grpSpPr>
        <p:sp>
          <p:nvSpPr>
            <p:cNvPr id="2437" name="Freeform 525"/>
            <p:cNvSpPr>
              <a:spLocks/>
            </p:cNvSpPr>
            <p:nvPr/>
          </p:nvSpPr>
          <p:spPr bwMode="auto">
            <a:xfrm>
              <a:off x="4540" y="1551"/>
              <a:ext cx="79" cy="86"/>
            </a:xfrm>
            <a:custGeom>
              <a:avLst/>
              <a:gdLst>
                <a:gd name="T0" fmla="*/ 0 w 240"/>
                <a:gd name="T1" fmla="*/ 9 h 259"/>
                <a:gd name="T2" fmla="*/ 3 w 240"/>
                <a:gd name="T3" fmla="*/ 10 h 259"/>
                <a:gd name="T4" fmla="*/ 4 w 240"/>
                <a:gd name="T5" fmla="*/ 9 h 259"/>
                <a:gd name="T6" fmla="*/ 5 w 240"/>
                <a:gd name="T7" fmla="*/ 8 h 259"/>
                <a:gd name="T8" fmla="*/ 7 w 240"/>
                <a:gd name="T9" fmla="*/ 6 h 259"/>
                <a:gd name="T10" fmla="*/ 8 w 240"/>
                <a:gd name="T11" fmla="*/ 4 h 259"/>
                <a:gd name="T12" fmla="*/ 9 w 240"/>
                <a:gd name="T13" fmla="*/ 1 h 259"/>
                <a:gd name="T14" fmla="*/ 8 w 240"/>
                <a:gd name="T15" fmla="*/ 0 h 259"/>
                <a:gd name="T16" fmla="*/ 7 w 240"/>
                <a:gd name="T17" fmla="*/ 1 h 259"/>
                <a:gd name="T18" fmla="*/ 7 w 240"/>
                <a:gd name="T19" fmla="*/ 3 h 259"/>
                <a:gd name="T20" fmla="*/ 6 w 240"/>
                <a:gd name="T21" fmla="*/ 4 h 259"/>
                <a:gd name="T22" fmla="*/ 5 w 240"/>
                <a:gd name="T23" fmla="*/ 5 h 259"/>
                <a:gd name="T24" fmla="*/ 4 w 240"/>
                <a:gd name="T25" fmla="*/ 7 h 259"/>
                <a:gd name="T26" fmla="*/ 3 w 240"/>
                <a:gd name="T27" fmla="*/ 8 h 259"/>
                <a:gd name="T28" fmla="*/ 1 w 240"/>
                <a:gd name="T29" fmla="*/ 8 h 259"/>
                <a:gd name="T30" fmla="*/ 0 w 240"/>
                <a:gd name="T31" fmla="*/ 8 h 259"/>
                <a:gd name="T32" fmla="*/ 0 w 240"/>
                <a:gd name="T33" fmla="*/ 9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0"/>
                <a:gd name="T52" fmla="*/ 0 h 259"/>
                <a:gd name="T53" fmla="*/ 240 w 240"/>
                <a:gd name="T54" fmla="*/ 259 h 2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38" name="Freeform 526"/>
            <p:cNvSpPr>
              <a:spLocks/>
            </p:cNvSpPr>
            <p:nvPr/>
          </p:nvSpPr>
          <p:spPr bwMode="auto">
            <a:xfrm>
              <a:off x="4115" y="1761"/>
              <a:ext cx="84" cy="34"/>
            </a:xfrm>
            <a:custGeom>
              <a:avLst/>
              <a:gdLst>
                <a:gd name="T0" fmla="*/ 1 w 259"/>
                <a:gd name="T1" fmla="*/ 4 h 104"/>
                <a:gd name="T2" fmla="*/ 1 w 259"/>
                <a:gd name="T3" fmla="*/ 3 h 104"/>
                <a:gd name="T4" fmla="*/ 2 w 259"/>
                <a:gd name="T5" fmla="*/ 2 h 104"/>
                <a:gd name="T6" fmla="*/ 2 w 259"/>
                <a:gd name="T7" fmla="*/ 2 h 104"/>
                <a:gd name="T8" fmla="*/ 4 w 259"/>
                <a:gd name="T9" fmla="*/ 2 h 104"/>
                <a:gd name="T10" fmla="*/ 6 w 259"/>
                <a:gd name="T11" fmla="*/ 2 h 104"/>
                <a:gd name="T12" fmla="*/ 8 w 259"/>
                <a:gd name="T13" fmla="*/ 1 h 104"/>
                <a:gd name="T14" fmla="*/ 9 w 259"/>
                <a:gd name="T15" fmla="*/ 0 h 104"/>
                <a:gd name="T16" fmla="*/ 8 w 259"/>
                <a:gd name="T17" fmla="*/ 0 h 104"/>
                <a:gd name="T18" fmla="*/ 7 w 259"/>
                <a:gd name="T19" fmla="*/ 0 h 104"/>
                <a:gd name="T20" fmla="*/ 5 w 259"/>
                <a:gd name="T21" fmla="*/ 0 h 104"/>
                <a:gd name="T22" fmla="*/ 4 w 259"/>
                <a:gd name="T23" fmla="*/ 0 h 104"/>
                <a:gd name="T24" fmla="*/ 2 w 259"/>
                <a:gd name="T25" fmla="*/ 1 h 104"/>
                <a:gd name="T26" fmla="*/ 1 w 259"/>
                <a:gd name="T27" fmla="*/ 2 h 104"/>
                <a:gd name="T28" fmla="*/ 0 w 259"/>
                <a:gd name="T29" fmla="*/ 2 h 104"/>
                <a:gd name="T30" fmla="*/ 0 w 259"/>
                <a:gd name="T31" fmla="*/ 4 h 104"/>
                <a:gd name="T32" fmla="*/ 1 w 259"/>
                <a:gd name="T33" fmla="*/ 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59"/>
                <a:gd name="T52" fmla="*/ 0 h 104"/>
                <a:gd name="T53" fmla="*/ 259 w 259"/>
                <a:gd name="T54" fmla="*/ 104 h 10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412" name="Freeform 527"/>
          <p:cNvSpPr>
            <a:spLocks/>
          </p:cNvSpPr>
          <p:nvPr>
            <p:custDataLst>
              <p:tags r:id="rId363"/>
            </p:custDataLst>
          </p:nvPr>
        </p:nvSpPr>
        <p:spPr bwMode="auto">
          <a:xfrm>
            <a:off x="6464305" y="2638432"/>
            <a:ext cx="706967"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142340167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726221496 w 1227"/>
              <a:gd name="T57" fmla="*/ 2147483647 h 979"/>
              <a:gd name="T58" fmla="*/ 0 w 1227"/>
              <a:gd name="T59" fmla="*/ 2147483647 h 979"/>
              <a:gd name="T60" fmla="*/ 726221496 w 1227"/>
              <a:gd name="T61" fmla="*/ 2147483647 h 979"/>
              <a:gd name="T62" fmla="*/ 2017323395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13" name="Freeform 528"/>
          <p:cNvSpPr>
            <a:spLocks/>
          </p:cNvSpPr>
          <p:nvPr>
            <p:custDataLst>
              <p:tags r:id="rId364"/>
            </p:custDataLst>
          </p:nvPr>
        </p:nvSpPr>
        <p:spPr bwMode="auto">
          <a:xfrm>
            <a:off x="5763684" y="2182813"/>
            <a:ext cx="7620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1259500531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839667412 w 146"/>
              <a:gd name="T39" fmla="*/ 2147483647 h 81"/>
              <a:gd name="T40" fmla="*/ 1319564373 w 146"/>
              <a:gd name="T41" fmla="*/ 2147483647 h 81"/>
              <a:gd name="T42" fmla="*/ 185937290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1756268933 h 81"/>
              <a:gd name="T56" fmla="*/ 2147483647 w 146"/>
              <a:gd name="T57" fmla="*/ 0 h 81"/>
              <a:gd name="T58" fmla="*/ 2147483647 w 146"/>
              <a:gd name="T59" fmla="*/ 1404815968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14" name="Freeform 529"/>
          <p:cNvSpPr>
            <a:spLocks/>
          </p:cNvSpPr>
          <p:nvPr>
            <p:custDataLst>
              <p:tags r:id="rId365"/>
            </p:custDataLst>
          </p:nvPr>
        </p:nvSpPr>
        <p:spPr bwMode="auto">
          <a:xfrm>
            <a:off x="5416555" y="2395538"/>
            <a:ext cx="21167"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37553783 w 34"/>
              <a:gd name="T17" fmla="*/ 0 h 49"/>
              <a:gd name="T18" fmla="*/ 814254298 w 34"/>
              <a:gd name="T19" fmla="*/ 0 h 49"/>
              <a:gd name="T20" fmla="*/ 0 w 34"/>
              <a:gd name="T21" fmla="*/ 0 h 49"/>
              <a:gd name="T22" fmla="*/ 305427042 w 34"/>
              <a:gd name="T23" fmla="*/ 2147483647 h 49"/>
              <a:gd name="T24" fmla="*/ 712445634 w 34"/>
              <a:gd name="T25" fmla="*/ 2147483647 h 49"/>
              <a:gd name="T26" fmla="*/ 1017872326 w 34"/>
              <a:gd name="T27" fmla="*/ 2147483647 h 49"/>
              <a:gd name="T28" fmla="*/ 1425108849 w 34"/>
              <a:gd name="T29" fmla="*/ 2147483647 h 49"/>
              <a:gd name="T30" fmla="*/ 1933935989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15" name="Freeform 530"/>
          <p:cNvSpPr>
            <a:spLocks/>
          </p:cNvSpPr>
          <p:nvPr>
            <p:custDataLst>
              <p:tags r:id="rId366"/>
            </p:custDataLst>
          </p:nvPr>
        </p:nvSpPr>
        <p:spPr bwMode="auto">
          <a:xfrm>
            <a:off x="4872567" y="2741613"/>
            <a:ext cx="38100" cy="57150"/>
          </a:xfrm>
          <a:custGeom>
            <a:avLst/>
            <a:gdLst>
              <a:gd name="T0" fmla="*/ 2147483647 w 60"/>
              <a:gd name="T1" fmla="*/ 0 h 74"/>
              <a:gd name="T2" fmla="*/ 2147483647 w 60"/>
              <a:gd name="T3" fmla="*/ 1842412525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1620359727 w 60"/>
              <a:gd name="T25" fmla="*/ 2147483647 h 74"/>
              <a:gd name="T26" fmla="*/ 864161835 w 60"/>
              <a:gd name="T27" fmla="*/ 2147483647 h 74"/>
              <a:gd name="T28" fmla="*/ 0 w 60"/>
              <a:gd name="T29" fmla="*/ 2147483647 h 74"/>
              <a:gd name="T30" fmla="*/ 540044265 w 60"/>
              <a:gd name="T31" fmla="*/ 2147483647 h 74"/>
              <a:gd name="T32" fmla="*/ 1296242157 w 60"/>
              <a:gd name="T33" fmla="*/ 2147483647 h 74"/>
              <a:gd name="T34" fmla="*/ 2052439811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1381958640 h 74"/>
              <a:gd name="T44" fmla="*/ 2147483647 w 60"/>
              <a:gd name="T45" fmla="*/ 460454464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16" name="Freeform 531"/>
          <p:cNvSpPr>
            <a:spLocks/>
          </p:cNvSpPr>
          <p:nvPr>
            <p:custDataLst>
              <p:tags r:id="rId367"/>
            </p:custDataLst>
          </p:nvPr>
        </p:nvSpPr>
        <p:spPr bwMode="auto">
          <a:xfrm>
            <a:off x="4794252" y="2757495"/>
            <a:ext cx="31749" cy="60325"/>
          </a:xfrm>
          <a:custGeom>
            <a:avLst/>
            <a:gdLst>
              <a:gd name="T0" fmla="*/ 1690510099 w 47"/>
              <a:gd name="T1" fmla="*/ 2147483647 h 45"/>
              <a:gd name="T2" fmla="*/ 2147483647 w 47"/>
              <a:gd name="T3" fmla="*/ 2147483647 h 45"/>
              <a:gd name="T4" fmla="*/ 2147483647 w 47"/>
              <a:gd name="T5" fmla="*/ 2147483647 h 45"/>
              <a:gd name="T6" fmla="*/ 2147483647 w 47"/>
              <a:gd name="T7" fmla="*/ 2147483647 h 45"/>
              <a:gd name="T8" fmla="*/ 2147483647 w 47"/>
              <a:gd name="T9" fmla="*/ 2147483647 h 45"/>
              <a:gd name="T10" fmla="*/ 2147483647 w 47"/>
              <a:gd name="T11" fmla="*/ 2147483647 h 45"/>
              <a:gd name="T12" fmla="*/ 2147483647 w 47"/>
              <a:gd name="T13" fmla="*/ 0 h 45"/>
              <a:gd name="T14" fmla="*/ 2147483647 w 47"/>
              <a:gd name="T15" fmla="*/ 2147483647 h 45"/>
              <a:gd name="T16" fmla="*/ 2147483647 w 47"/>
              <a:gd name="T17" fmla="*/ 2147483647 h 45"/>
              <a:gd name="T18" fmla="*/ 2147483647 w 47"/>
              <a:gd name="T19" fmla="*/ 2147483647 h 45"/>
              <a:gd name="T20" fmla="*/ 2147483647 w 47"/>
              <a:gd name="T21" fmla="*/ 2147483647 h 45"/>
              <a:gd name="T22" fmla="*/ 2147483647 w 47"/>
              <a:gd name="T23" fmla="*/ 2147483647 h 45"/>
              <a:gd name="T24" fmla="*/ 2147483647 w 47"/>
              <a:gd name="T25" fmla="*/ 2147483647 h 45"/>
              <a:gd name="T26" fmla="*/ 2147483647 w 47"/>
              <a:gd name="T27" fmla="*/ 2147483647 h 45"/>
              <a:gd name="T28" fmla="*/ 2147483647 w 47"/>
              <a:gd name="T29" fmla="*/ 2147483647 h 45"/>
              <a:gd name="T30" fmla="*/ 2147483647 w 47"/>
              <a:gd name="T31" fmla="*/ 2147483647 h 45"/>
              <a:gd name="T32" fmla="*/ 2080667059 w 47"/>
              <a:gd name="T33" fmla="*/ 2147483647 h 45"/>
              <a:gd name="T34" fmla="*/ 910195419 w 47"/>
              <a:gd name="T35" fmla="*/ 2147483647 h 45"/>
              <a:gd name="T36" fmla="*/ 0 w 47"/>
              <a:gd name="T37" fmla="*/ 2147483647 h 45"/>
              <a:gd name="T38" fmla="*/ 260019419 w 47"/>
              <a:gd name="T39" fmla="*/ 2147483647 h 45"/>
              <a:gd name="T40" fmla="*/ 780314174 w 47"/>
              <a:gd name="T41" fmla="*/ 2147483647 h 45"/>
              <a:gd name="T42" fmla="*/ 1430490236 w 47"/>
              <a:gd name="T43" fmla="*/ 2147483647 h 45"/>
              <a:gd name="T44" fmla="*/ 1690510099 w 47"/>
              <a:gd name="T45" fmla="*/ 2147483647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5"/>
              <a:gd name="T71" fmla="*/ 47 w 47"/>
              <a:gd name="T72" fmla="*/ 45 h 4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17" name="Freeform 532"/>
          <p:cNvSpPr>
            <a:spLocks/>
          </p:cNvSpPr>
          <p:nvPr>
            <p:custDataLst>
              <p:tags r:id="rId368"/>
            </p:custDataLst>
          </p:nvPr>
        </p:nvSpPr>
        <p:spPr bwMode="auto">
          <a:xfrm>
            <a:off x="4760385" y="2751138"/>
            <a:ext cx="8467" cy="57150"/>
          </a:xfrm>
          <a:custGeom>
            <a:avLst/>
            <a:gdLst>
              <a:gd name="T0" fmla="*/ 87385286 w 26"/>
              <a:gd name="T1" fmla="*/ 2147483647 h 36"/>
              <a:gd name="T2" fmla="*/ 72831090 w 26"/>
              <a:gd name="T3" fmla="*/ 2147483647 h 36"/>
              <a:gd name="T4" fmla="*/ 43722439 w 26"/>
              <a:gd name="T5" fmla="*/ 2147483647 h 36"/>
              <a:gd name="T6" fmla="*/ 14554200 w 26"/>
              <a:gd name="T7" fmla="*/ 2147483647 h 36"/>
              <a:gd name="T8" fmla="*/ 0 w 26"/>
              <a:gd name="T9" fmla="*/ 0 h 36"/>
              <a:gd name="T10" fmla="*/ 378768963 w 26"/>
              <a:gd name="T11" fmla="*/ 0 h 36"/>
              <a:gd name="T12" fmla="*/ 364214767 w 26"/>
              <a:gd name="T13" fmla="*/ 2147483647 h 36"/>
              <a:gd name="T14" fmla="*/ 349660571 w 26"/>
              <a:gd name="T15" fmla="*/ 2147483647 h 36"/>
              <a:gd name="T16" fmla="*/ 335046539 w 26"/>
              <a:gd name="T17" fmla="*/ 2147483647 h 36"/>
              <a:gd name="T18" fmla="*/ 335046539 w 26"/>
              <a:gd name="T19" fmla="*/ 2147483647 h 36"/>
              <a:gd name="T20" fmla="*/ 349660571 w 26"/>
              <a:gd name="T21" fmla="*/ 2147483647 h 36"/>
              <a:gd name="T22" fmla="*/ 378768963 w 26"/>
              <a:gd name="T23" fmla="*/ 2147483647 h 36"/>
              <a:gd name="T24" fmla="*/ 87385286 w 26"/>
              <a:gd name="T25" fmla="*/ 2147483647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
              <a:gd name="T40" fmla="*/ 0 h 36"/>
              <a:gd name="T41" fmla="*/ 26 w 26"/>
              <a:gd name="T42" fmla="*/ 36 h 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18" name="Freeform 533"/>
          <p:cNvSpPr>
            <a:spLocks/>
          </p:cNvSpPr>
          <p:nvPr>
            <p:custDataLst>
              <p:tags r:id="rId369"/>
            </p:custDataLst>
          </p:nvPr>
        </p:nvSpPr>
        <p:spPr bwMode="auto">
          <a:xfrm>
            <a:off x="6455838" y="2479675"/>
            <a:ext cx="232833" cy="158750"/>
          </a:xfrm>
          <a:custGeom>
            <a:avLst/>
            <a:gdLst>
              <a:gd name="T0" fmla="*/ 2084051733 w 405"/>
              <a:gd name="T1" fmla="*/ 2147483647 h 302"/>
              <a:gd name="T2" fmla="*/ 2147483647 w 405"/>
              <a:gd name="T3" fmla="*/ 2147483647 h 302"/>
              <a:gd name="T4" fmla="*/ 2147483647 w 405"/>
              <a:gd name="T5" fmla="*/ 2147483647 h 302"/>
              <a:gd name="T6" fmla="*/ 2147483647 w 405"/>
              <a:gd name="T7" fmla="*/ 2147483647 h 302"/>
              <a:gd name="T8" fmla="*/ 1442847467 w 405"/>
              <a:gd name="T9" fmla="*/ 2147483647 h 302"/>
              <a:gd name="T10" fmla="*/ 480949227 w 405"/>
              <a:gd name="T11" fmla="*/ 2147483647 h 302"/>
              <a:gd name="T12" fmla="*/ 160254446 w 405"/>
              <a:gd name="T13" fmla="*/ 2147483647 h 302"/>
              <a:gd name="T14" fmla="*/ 400822139 w 405"/>
              <a:gd name="T15" fmla="*/ 2147483647 h 302"/>
              <a:gd name="T16" fmla="*/ 480949227 w 405"/>
              <a:gd name="T17" fmla="*/ 2147483647 h 302"/>
              <a:gd name="T18" fmla="*/ 1362720055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581102826 h 302"/>
              <a:gd name="T48" fmla="*/ 2147483647 w 405"/>
              <a:gd name="T49" fmla="*/ 435757666 h 302"/>
              <a:gd name="T50" fmla="*/ 2147483647 w 405"/>
              <a:gd name="T51" fmla="*/ 435757666 h 302"/>
              <a:gd name="T52" fmla="*/ 2147483647 w 405"/>
              <a:gd name="T53" fmla="*/ 145344568 h 302"/>
              <a:gd name="T54" fmla="*/ 2147483647 w 405"/>
              <a:gd name="T55" fmla="*/ 1161929154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084051733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19" name="Freeform 534"/>
          <p:cNvSpPr>
            <a:spLocks/>
          </p:cNvSpPr>
          <p:nvPr>
            <p:custDataLst>
              <p:tags r:id="rId370"/>
            </p:custDataLst>
          </p:nvPr>
        </p:nvSpPr>
        <p:spPr bwMode="auto">
          <a:xfrm>
            <a:off x="9247720" y="2860682"/>
            <a:ext cx="57149" cy="79375"/>
          </a:xfrm>
          <a:custGeom>
            <a:avLst/>
            <a:gdLst>
              <a:gd name="T0" fmla="*/ 2147483647 w 100"/>
              <a:gd name="T1" fmla="*/ 134268713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047320807 w 100"/>
              <a:gd name="T35" fmla="*/ 2147483647 h 155"/>
              <a:gd name="T36" fmla="*/ 1732433077 w 100"/>
              <a:gd name="T37" fmla="*/ 2147483647 h 155"/>
              <a:gd name="T38" fmla="*/ 1181104483 w 100"/>
              <a:gd name="T39" fmla="*/ 2147483647 h 155"/>
              <a:gd name="T40" fmla="*/ 708772888 w 100"/>
              <a:gd name="T41" fmla="*/ 2147483647 h 155"/>
              <a:gd name="T42" fmla="*/ 393701601 w 100"/>
              <a:gd name="T43" fmla="*/ 2147483647 h 155"/>
              <a:gd name="T44" fmla="*/ 157443704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1181104483 w 100"/>
              <a:gd name="T59" fmla="*/ 2147483647 h 155"/>
              <a:gd name="T60" fmla="*/ 2047320807 w 100"/>
              <a:gd name="T61" fmla="*/ 2147483647 h 155"/>
              <a:gd name="T62" fmla="*/ 2047320807 w 100"/>
              <a:gd name="T63" fmla="*/ 2147483647 h 155"/>
              <a:gd name="T64" fmla="*/ 2126133714 w 100"/>
              <a:gd name="T65" fmla="*/ 2147483647 h 155"/>
              <a:gd name="T66" fmla="*/ 2147483647 w 100"/>
              <a:gd name="T67" fmla="*/ 2147483647 h 155"/>
              <a:gd name="T68" fmla="*/ 2147483647 w 100"/>
              <a:gd name="T69" fmla="*/ 2147483647 h 155"/>
              <a:gd name="T70" fmla="*/ 2147483647 w 100"/>
              <a:gd name="T71" fmla="*/ 1611483418 h 155"/>
              <a:gd name="T72" fmla="*/ 2147483647 w 100"/>
              <a:gd name="T73" fmla="*/ 940141454 h 155"/>
              <a:gd name="T74" fmla="*/ 2147483647 w 100"/>
              <a:gd name="T75" fmla="*/ 537073827 h 155"/>
              <a:gd name="T76" fmla="*/ 2147483647 w 100"/>
              <a:gd name="T77" fmla="*/ 268536913 h 155"/>
              <a:gd name="T78" fmla="*/ 2147483647 w 100"/>
              <a:gd name="T79" fmla="*/ 0 h 155"/>
              <a:gd name="T80" fmla="*/ 2147483647 w 100"/>
              <a:gd name="T81" fmla="*/ 0 h 155"/>
              <a:gd name="T82" fmla="*/ 2147483647 w 100"/>
              <a:gd name="T83" fmla="*/ 0 h 155"/>
              <a:gd name="T84" fmla="*/ 2147483647 w 100"/>
              <a:gd name="T85" fmla="*/ 134268713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grpSp>
        <p:nvGrpSpPr>
          <p:cNvPr id="2420" name="Group 535"/>
          <p:cNvGrpSpPr>
            <a:grpSpLocks/>
          </p:cNvGrpSpPr>
          <p:nvPr>
            <p:custDataLst>
              <p:tags r:id="rId371"/>
            </p:custDataLst>
          </p:nvPr>
        </p:nvGrpSpPr>
        <p:grpSpPr bwMode="auto">
          <a:xfrm>
            <a:off x="6110817" y="2328863"/>
            <a:ext cx="643467" cy="201612"/>
            <a:chOff x="3289" y="1830"/>
            <a:chExt cx="363" cy="128"/>
          </a:xfrm>
          <a:solidFill>
            <a:schemeClr val="accent5">
              <a:lumMod val="75000"/>
            </a:schemeClr>
          </a:solidFill>
        </p:grpSpPr>
        <p:sp>
          <p:nvSpPr>
            <p:cNvPr id="2432" name="Freeform 536"/>
            <p:cNvSpPr>
              <a:spLocks/>
            </p:cNvSpPr>
            <p:nvPr/>
          </p:nvSpPr>
          <p:spPr bwMode="auto">
            <a:xfrm>
              <a:off x="3289" y="1871"/>
              <a:ext cx="4" cy="3"/>
            </a:xfrm>
            <a:custGeom>
              <a:avLst/>
              <a:gdLst>
                <a:gd name="T0" fmla="*/ 0 w 13"/>
                <a:gd name="T1" fmla="*/ 0 h 7"/>
                <a:gd name="T2" fmla="*/ 0 w 13"/>
                <a:gd name="T3" fmla="*/ 0 h 7"/>
                <a:gd name="T4" fmla="*/ 0 w 13"/>
                <a:gd name="T5" fmla="*/ 0 h 7"/>
                <a:gd name="T6" fmla="*/ 0 w 13"/>
                <a:gd name="T7" fmla="*/ 0 h 7"/>
                <a:gd name="T8" fmla="*/ 0 w 13"/>
                <a:gd name="T9" fmla="*/ 0 h 7"/>
                <a:gd name="T10" fmla="*/ 0 w 13"/>
                <a:gd name="T11" fmla="*/ 0 h 7"/>
                <a:gd name="T12" fmla="*/ 0 w 13"/>
                <a:gd name="T13" fmla="*/ 0 h 7"/>
                <a:gd name="T14" fmla="*/ 0 60000 65536"/>
                <a:gd name="T15" fmla="*/ 0 60000 65536"/>
                <a:gd name="T16" fmla="*/ 0 60000 65536"/>
                <a:gd name="T17" fmla="*/ 0 60000 65536"/>
                <a:gd name="T18" fmla="*/ 0 60000 65536"/>
                <a:gd name="T19" fmla="*/ 0 60000 65536"/>
                <a:gd name="T20" fmla="*/ 0 60000 65536"/>
                <a:gd name="T21" fmla="*/ 0 w 13"/>
                <a:gd name="T22" fmla="*/ 0 h 7"/>
                <a:gd name="T23" fmla="*/ 13 w 13"/>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33" name="Freeform 537"/>
            <p:cNvSpPr>
              <a:spLocks/>
            </p:cNvSpPr>
            <p:nvPr/>
          </p:nvSpPr>
          <p:spPr bwMode="auto">
            <a:xfrm>
              <a:off x="3324" y="1937"/>
              <a:ext cx="10" cy="3"/>
            </a:xfrm>
            <a:custGeom>
              <a:avLst/>
              <a:gdLst>
                <a:gd name="T0" fmla="*/ 0 w 34"/>
                <a:gd name="T1" fmla="*/ 0 h 8"/>
                <a:gd name="T2" fmla="*/ 0 w 34"/>
                <a:gd name="T3" fmla="*/ 0 h 8"/>
                <a:gd name="T4" fmla="*/ 0 w 34"/>
                <a:gd name="T5" fmla="*/ 0 h 8"/>
                <a:gd name="T6" fmla="*/ 1 w 34"/>
                <a:gd name="T7" fmla="*/ 0 h 8"/>
                <a:gd name="T8" fmla="*/ 1 w 34"/>
                <a:gd name="T9" fmla="*/ 0 h 8"/>
                <a:gd name="T10" fmla="*/ 1 w 34"/>
                <a:gd name="T11" fmla="*/ 0 h 8"/>
                <a:gd name="T12" fmla="*/ 1 w 34"/>
                <a:gd name="T13" fmla="*/ 0 h 8"/>
                <a:gd name="T14" fmla="*/ 1 w 34"/>
                <a:gd name="T15" fmla="*/ 0 h 8"/>
                <a:gd name="T16" fmla="*/ 0 w 34"/>
                <a:gd name="T17" fmla="*/ 0 h 8"/>
                <a:gd name="T18" fmla="*/ 0 w 34"/>
                <a:gd name="T19" fmla="*/ 0 h 8"/>
                <a:gd name="T20" fmla="*/ 0 w 34"/>
                <a:gd name="T21" fmla="*/ 0 h 8"/>
                <a:gd name="T22" fmla="*/ 0 w 34"/>
                <a:gd name="T23" fmla="*/ 0 h 8"/>
                <a:gd name="T24" fmla="*/ 0 w 34"/>
                <a:gd name="T25" fmla="*/ 0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4"/>
                <a:gd name="T40" fmla="*/ 0 h 8"/>
                <a:gd name="T41" fmla="*/ 34 w 34"/>
                <a:gd name="T42" fmla="*/ 8 h 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34" name="Freeform 538"/>
            <p:cNvSpPr>
              <a:spLocks/>
            </p:cNvSpPr>
            <p:nvPr/>
          </p:nvSpPr>
          <p:spPr bwMode="auto">
            <a:xfrm>
              <a:off x="3343" y="1948"/>
              <a:ext cx="4" cy="8"/>
            </a:xfrm>
            <a:custGeom>
              <a:avLst/>
              <a:gdLst>
                <a:gd name="T0" fmla="*/ 0 w 13"/>
                <a:gd name="T1" fmla="*/ 1 h 24"/>
                <a:gd name="T2" fmla="*/ 0 w 13"/>
                <a:gd name="T3" fmla="*/ 0 h 24"/>
                <a:gd name="T4" fmla="*/ 0 w 13"/>
                <a:gd name="T5" fmla="*/ 0 h 24"/>
                <a:gd name="T6" fmla="*/ 0 w 13"/>
                <a:gd name="T7" fmla="*/ 1 h 24"/>
                <a:gd name="T8" fmla="*/ 0 60000 65536"/>
                <a:gd name="T9" fmla="*/ 0 60000 65536"/>
                <a:gd name="T10" fmla="*/ 0 60000 65536"/>
                <a:gd name="T11" fmla="*/ 0 60000 65536"/>
                <a:gd name="T12" fmla="*/ 0 w 13"/>
                <a:gd name="T13" fmla="*/ 0 h 24"/>
                <a:gd name="T14" fmla="*/ 13 w 13"/>
                <a:gd name="T15" fmla="*/ 24 h 24"/>
              </a:gdLst>
              <a:ahLst/>
              <a:cxnLst>
                <a:cxn ang="T8">
                  <a:pos x="T0" y="T1"/>
                </a:cxn>
                <a:cxn ang="T9">
                  <a:pos x="T2" y="T3"/>
                </a:cxn>
                <a:cxn ang="T10">
                  <a:pos x="T4" y="T5"/>
                </a:cxn>
                <a:cxn ang="T11">
                  <a:pos x="T6" y="T7"/>
                </a:cxn>
              </a:cxnLst>
              <a:rect l="T12" t="T13" r="T14" b="T15"/>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35" name="Freeform 539"/>
            <p:cNvSpPr>
              <a:spLocks/>
            </p:cNvSpPr>
            <p:nvPr/>
          </p:nvSpPr>
          <p:spPr bwMode="auto">
            <a:xfrm>
              <a:off x="3313" y="1834"/>
              <a:ext cx="34" cy="23"/>
            </a:xfrm>
            <a:custGeom>
              <a:avLst/>
              <a:gdLst>
                <a:gd name="T0" fmla="*/ 0 w 107"/>
                <a:gd name="T1" fmla="*/ 0 h 69"/>
                <a:gd name="T2" fmla="*/ 0 w 107"/>
                <a:gd name="T3" fmla="*/ 1 h 69"/>
                <a:gd name="T4" fmla="*/ 0 w 107"/>
                <a:gd name="T5" fmla="*/ 2 h 69"/>
                <a:gd name="T6" fmla="*/ 0 w 107"/>
                <a:gd name="T7" fmla="*/ 2 h 69"/>
                <a:gd name="T8" fmla="*/ 0 w 107"/>
                <a:gd name="T9" fmla="*/ 3 h 69"/>
                <a:gd name="T10" fmla="*/ 1 w 107"/>
                <a:gd name="T11" fmla="*/ 2 h 69"/>
                <a:gd name="T12" fmla="*/ 2 w 107"/>
                <a:gd name="T13" fmla="*/ 2 h 69"/>
                <a:gd name="T14" fmla="*/ 3 w 107"/>
                <a:gd name="T15" fmla="*/ 2 h 69"/>
                <a:gd name="T16" fmla="*/ 3 w 107"/>
                <a:gd name="T17" fmla="*/ 2 h 69"/>
                <a:gd name="T18" fmla="*/ 3 w 107"/>
                <a:gd name="T19" fmla="*/ 1 h 69"/>
                <a:gd name="T20" fmla="*/ 3 w 107"/>
                <a:gd name="T21" fmla="*/ 1 h 69"/>
                <a:gd name="T22" fmla="*/ 3 w 107"/>
                <a:gd name="T23" fmla="*/ 1 h 69"/>
                <a:gd name="T24" fmla="*/ 3 w 107"/>
                <a:gd name="T25" fmla="*/ 1 h 69"/>
                <a:gd name="T26" fmla="*/ 2 w 107"/>
                <a:gd name="T27" fmla="*/ 1 h 69"/>
                <a:gd name="T28" fmla="*/ 2 w 107"/>
                <a:gd name="T29" fmla="*/ 1 h 69"/>
                <a:gd name="T30" fmla="*/ 2 w 107"/>
                <a:gd name="T31" fmla="*/ 1 h 69"/>
                <a:gd name="T32" fmla="*/ 2 w 107"/>
                <a:gd name="T33" fmla="*/ 0 h 69"/>
                <a:gd name="T34" fmla="*/ 2 w 107"/>
                <a:gd name="T35" fmla="*/ 0 h 69"/>
                <a:gd name="T36" fmla="*/ 2 w 107"/>
                <a:gd name="T37" fmla="*/ 0 h 69"/>
                <a:gd name="T38" fmla="*/ 2 w 107"/>
                <a:gd name="T39" fmla="*/ 0 h 69"/>
                <a:gd name="T40" fmla="*/ 1 w 107"/>
                <a:gd name="T41" fmla="*/ 0 h 69"/>
                <a:gd name="T42" fmla="*/ 1 w 107"/>
                <a:gd name="T43" fmla="*/ 0 h 69"/>
                <a:gd name="T44" fmla="*/ 0 w 107"/>
                <a:gd name="T45" fmla="*/ 0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7"/>
                <a:gd name="T70" fmla="*/ 0 h 69"/>
                <a:gd name="T71" fmla="*/ 107 w 107"/>
                <a:gd name="T72" fmla="*/ 69 h 6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36" name="Freeform 540"/>
            <p:cNvSpPr>
              <a:spLocks/>
            </p:cNvSpPr>
            <p:nvPr/>
          </p:nvSpPr>
          <p:spPr bwMode="auto">
            <a:xfrm>
              <a:off x="3302" y="1830"/>
              <a:ext cx="350" cy="128"/>
            </a:xfrm>
            <a:custGeom>
              <a:avLst/>
              <a:gdLst>
                <a:gd name="T0" fmla="*/ 35 w 1070"/>
                <a:gd name="T1" fmla="*/ 5 h 382"/>
                <a:gd name="T2" fmla="*/ 34 w 1070"/>
                <a:gd name="T3" fmla="*/ 4 h 382"/>
                <a:gd name="T4" fmla="*/ 34 w 1070"/>
                <a:gd name="T5" fmla="*/ 2 h 382"/>
                <a:gd name="T6" fmla="*/ 33 w 1070"/>
                <a:gd name="T7" fmla="*/ 1 h 382"/>
                <a:gd name="T8" fmla="*/ 28 w 1070"/>
                <a:gd name="T9" fmla="*/ 1 h 382"/>
                <a:gd name="T10" fmla="*/ 26 w 1070"/>
                <a:gd name="T11" fmla="*/ 2 h 382"/>
                <a:gd name="T12" fmla="*/ 24 w 1070"/>
                <a:gd name="T13" fmla="*/ 2 h 382"/>
                <a:gd name="T14" fmla="*/ 22 w 1070"/>
                <a:gd name="T15" fmla="*/ 2 h 382"/>
                <a:gd name="T16" fmla="*/ 21 w 1070"/>
                <a:gd name="T17" fmla="*/ 2 h 382"/>
                <a:gd name="T18" fmla="*/ 20 w 1070"/>
                <a:gd name="T19" fmla="*/ 1 h 382"/>
                <a:gd name="T20" fmla="*/ 18 w 1070"/>
                <a:gd name="T21" fmla="*/ 1 h 382"/>
                <a:gd name="T22" fmla="*/ 17 w 1070"/>
                <a:gd name="T23" fmla="*/ 1 h 382"/>
                <a:gd name="T24" fmla="*/ 16 w 1070"/>
                <a:gd name="T25" fmla="*/ 0 h 382"/>
                <a:gd name="T26" fmla="*/ 14 w 1070"/>
                <a:gd name="T27" fmla="*/ 1 h 382"/>
                <a:gd name="T28" fmla="*/ 10 w 1070"/>
                <a:gd name="T29" fmla="*/ 1 h 382"/>
                <a:gd name="T30" fmla="*/ 9 w 1070"/>
                <a:gd name="T31" fmla="*/ 2 h 382"/>
                <a:gd name="T32" fmla="*/ 5 w 1070"/>
                <a:gd name="T33" fmla="*/ 2 h 382"/>
                <a:gd name="T34" fmla="*/ 6 w 1070"/>
                <a:gd name="T35" fmla="*/ 3 h 382"/>
                <a:gd name="T36" fmla="*/ 6 w 1070"/>
                <a:gd name="T37" fmla="*/ 3 h 382"/>
                <a:gd name="T38" fmla="*/ 4 w 1070"/>
                <a:gd name="T39" fmla="*/ 3 h 382"/>
                <a:gd name="T40" fmla="*/ 2 w 1070"/>
                <a:gd name="T41" fmla="*/ 3 h 382"/>
                <a:gd name="T42" fmla="*/ 0 w 1070"/>
                <a:gd name="T43" fmla="*/ 4 h 382"/>
                <a:gd name="T44" fmla="*/ 0 w 1070"/>
                <a:gd name="T45" fmla="*/ 5 h 382"/>
                <a:gd name="T46" fmla="*/ 1 w 1070"/>
                <a:gd name="T47" fmla="*/ 6 h 382"/>
                <a:gd name="T48" fmla="*/ 1 w 1070"/>
                <a:gd name="T49" fmla="*/ 7 h 382"/>
                <a:gd name="T50" fmla="*/ 1 w 1070"/>
                <a:gd name="T51" fmla="*/ 8 h 382"/>
                <a:gd name="T52" fmla="*/ 2 w 1070"/>
                <a:gd name="T53" fmla="*/ 9 h 382"/>
                <a:gd name="T54" fmla="*/ 2 w 1070"/>
                <a:gd name="T55" fmla="*/ 10 h 382"/>
                <a:gd name="T56" fmla="*/ 3 w 1070"/>
                <a:gd name="T57" fmla="*/ 10 h 382"/>
                <a:gd name="T58" fmla="*/ 3 w 1070"/>
                <a:gd name="T59" fmla="*/ 11 h 382"/>
                <a:gd name="T60" fmla="*/ 7 w 1070"/>
                <a:gd name="T61" fmla="*/ 13 h 382"/>
                <a:gd name="T62" fmla="*/ 9 w 1070"/>
                <a:gd name="T63" fmla="*/ 14 h 382"/>
                <a:gd name="T64" fmla="*/ 9 w 1070"/>
                <a:gd name="T65" fmla="*/ 13 h 382"/>
                <a:gd name="T66" fmla="*/ 10 w 1070"/>
                <a:gd name="T67" fmla="*/ 13 h 382"/>
                <a:gd name="T68" fmla="*/ 10 w 1070"/>
                <a:gd name="T69" fmla="*/ 12 h 382"/>
                <a:gd name="T70" fmla="*/ 12 w 1070"/>
                <a:gd name="T71" fmla="*/ 12 h 382"/>
                <a:gd name="T72" fmla="*/ 13 w 1070"/>
                <a:gd name="T73" fmla="*/ 13 h 382"/>
                <a:gd name="T74" fmla="*/ 14 w 1070"/>
                <a:gd name="T75" fmla="*/ 14 h 382"/>
                <a:gd name="T76" fmla="*/ 16 w 1070"/>
                <a:gd name="T77" fmla="*/ 13 h 382"/>
                <a:gd name="T78" fmla="*/ 17 w 1070"/>
                <a:gd name="T79" fmla="*/ 13 h 382"/>
                <a:gd name="T80" fmla="*/ 18 w 1070"/>
                <a:gd name="T81" fmla="*/ 12 h 382"/>
                <a:gd name="T82" fmla="*/ 20 w 1070"/>
                <a:gd name="T83" fmla="*/ 12 h 382"/>
                <a:gd name="T84" fmla="*/ 20 w 1070"/>
                <a:gd name="T85" fmla="*/ 14 h 382"/>
                <a:gd name="T86" fmla="*/ 21 w 1070"/>
                <a:gd name="T87" fmla="*/ 14 h 382"/>
                <a:gd name="T88" fmla="*/ 22 w 1070"/>
                <a:gd name="T89" fmla="*/ 14 h 382"/>
                <a:gd name="T90" fmla="*/ 23 w 1070"/>
                <a:gd name="T91" fmla="*/ 13 h 382"/>
                <a:gd name="T92" fmla="*/ 26 w 1070"/>
                <a:gd name="T93" fmla="*/ 12 h 382"/>
                <a:gd name="T94" fmla="*/ 29 w 1070"/>
                <a:gd name="T95" fmla="*/ 12 h 382"/>
                <a:gd name="T96" fmla="*/ 32 w 1070"/>
                <a:gd name="T97" fmla="*/ 11 h 382"/>
                <a:gd name="T98" fmla="*/ 34 w 1070"/>
                <a:gd name="T99" fmla="*/ 11 h 382"/>
                <a:gd name="T100" fmla="*/ 35 w 1070"/>
                <a:gd name="T101" fmla="*/ 11 h 382"/>
                <a:gd name="T102" fmla="*/ 37 w 1070"/>
                <a:gd name="T103" fmla="*/ 12 h 382"/>
                <a:gd name="T104" fmla="*/ 37 w 1070"/>
                <a:gd name="T105" fmla="*/ 10 h 382"/>
                <a:gd name="T106" fmla="*/ 36 w 1070"/>
                <a:gd name="T107" fmla="*/ 8 h 382"/>
                <a:gd name="T108" fmla="*/ 36 w 1070"/>
                <a:gd name="T109" fmla="*/ 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70"/>
                <a:gd name="T166" fmla="*/ 0 h 382"/>
                <a:gd name="T167" fmla="*/ 1070 w 1070"/>
                <a:gd name="T168" fmla="*/ 382 h 382"/>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pSp>
      <p:sp>
        <p:nvSpPr>
          <p:cNvPr id="2421" name="Freeform 541"/>
          <p:cNvSpPr>
            <a:spLocks/>
          </p:cNvSpPr>
          <p:nvPr>
            <p:custDataLst>
              <p:tags r:id="rId372"/>
            </p:custDataLst>
          </p:nvPr>
        </p:nvSpPr>
        <p:spPr bwMode="auto">
          <a:xfrm>
            <a:off x="3429000" y="3481392"/>
            <a:ext cx="133351" cy="122237"/>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1920905478 h 237"/>
              <a:gd name="T46" fmla="*/ 2147483647 w 226"/>
              <a:gd name="T47" fmla="*/ 960319671 h 237"/>
              <a:gd name="T48" fmla="*/ 2147483647 w 226"/>
              <a:gd name="T49" fmla="*/ 274529403 h 237"/>
              <a:gd name="T50" fmla="*/ 1733358025 w 226"/>
              <a:gd name="T51" fmla="*/ 823321428 h 237"/>
              <a:gd name="T52" fmla="*/ 1560041738 w 226"/>
              <a:gd name="T53" fmla="*/ 2147483647 h 237"/>
              <a:gd name="T54" fmla="*/ 866581212 w 226"/>
              <a:gd name="T55" fmla="*/ 2147483647 h 237"/>
              <a:gd name="T56" fmla="*/ 260072341 w 226"/>
              <a:gd name="T57" fmla="*/ 2147483647 h 237"/>
              <a:gd name="T58" fmla="*/ 0 w 226"/>
              <a:gd name="T59" fmla="*/ 2147483647 h 237"/>
              <a:gd name="T60" fmla="*/ 260072341 w 226"/>
              <a:gd name="T61" fmla="*/ 2147483647 h 237"/>
              <a:gd name="T62" fmla="*/ 866581212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22" name="Freeform 542"/>
          <p:cNvSpPr>
            <a:spLocks/>
          </p:cNvSpPr>
          <p:nvPr>
            <p:custDataLst>
              <p:tags r:id="rId373"/>
            </p:custDataLst>
          </p:nvPr>
        </p:nvSpPr>
        <p:spPr bwMode="auto">
          <a:xfrm>
            <a:off x="8688917" y="2917825"/>
            <a:ext cx="277283" cy="458788"/>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720843048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23" name="Freeform 543"/>
          <p:cNvSpPr>
            <a:spLocks/>
          </p:cNvSpPr>
          <p:nvPr>
            <p:custDataLst>
              <p:tags r:id="rId374"/>
            </p:custDataLst>
          </p:nvPr>
        </p:nvSpPr>
        <p:spPr bwMode="auto">
          <a:xfrm>
            <a:off x="8805333" y="3603625"/>
            <a:ext cx="33867" cy="57150"/>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074482901 w 59"/>
              <a:gd name="T17" fmla="*/ 2147483647 h 31"/>
              <a:gd name="T18" fmla="*/ 1675636275 w 59"/>
              <a:gd name="T19" fmla="*/ 2147483647 h 31"/>
              <a:gd name="T20" fmla="*/ 1356485788 w 59"/>
              <a:gd name="T21" fmla="*/ 2147483647 h 31"/>
              <a:gd name="T22" fmla="*/ 1117029287 w 59"/>
              <a:gd name="T23" fmla="*/ 2147483647 h 31"/>
              <a:gd name="T24" fmla="*/ 877758551 w 59"/>
              <a:gd name="T25" fmla="*/ 2147483647 h 31"/>
              <a:gd name="T26" fmla="*/ 319151456 w 59"/>
              <a:gd name="T27" fmla="*/ 2147483647 h 31"/>
              <a:gd name="T28" fmla="*/ 0 w 59"/>
              <a:gd name="T29" fmla="*/ 2147483647 h 31"/>
              <a:gd name="T30" fmla="*/ 79880423 w 59"/>
              <a:gd name="T31" fmla="*/ 2147483647 h 31"/>
              <a:gd name="T32" fmla="*/ 239456178 w 59"/>
              <a:gd name="T33" fmla="*/ 2147483647 h 31"/>
              <a:gd name="T34" fmla="*/ 399031852 w 59"/>
              <a:gd name="T35" fmla="*/ 2147483647 h 31"/>
              <a:gd name="T36" fmla="*/ 638302481 w 59"/>
              <a:gd name="T37" fmla="*/ 2147483647 h 31"/>
              <a:gd name="T38" fmla="*/ 1276604961 w 59"/>
              <a:gd name="T39" fmla="*/ 2147483647 h 31"/>
              <a:gd name="T40" fmla="*/ 191490722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24" name="Freeform 544"/>
          <p:cNvSpPr>
            <a:spLocks/>
          </p:cNvSpPr>
          <p:nvPr>
            <p:custDataLst>
              <p:tags r:id="rId375"/>
            </p:custDataLst>
          </p:nvPr>
        </p:nvSpPr>
        <p:spPr bwMode="auto">
          <a:xfrm>
            <a:off x="7061205" y="2862263"/>
            <a:ext cx="232833" cy="271462"/>
          </a:xfrm>
          <a:custGeom>
            <a:avLst/>
            <a:gdLst>
              <a:gd name="T0" fmla="*/ 2147483647 w 399"/>
              <a:gd name="T1" fmla="*/ 1151276612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1425081802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25" name="Freeform 545"/>
          <p:cNvSpPr>
            <a:spLocks/>
          </p:cNvSpPr>
          <p:nvPr>
            <p:custDataLst>
              <p:tags r:id="rId376"/>
            </p:custDataLst>
          </p:nvPr>
        </p:nvSpPr>
        <p:spPr bwMode="auto">
          <a:xfrm>
            <a:off x="5363633" y="2916238"/>
            <a:ext cx="501651" cy="385762"/>
          </a:xfrm>
          <a:custGeom>
            <a:avLst/>
            <a:gdLst>
              <a:gd name="T0" fmla="*/ 2147483647 w 866"/>
              <a:gd name="T1" fmla="*/ 2147483647 h 740"/>
              <a:gd name="T2" fmla="*/ 2147483647 w 866"/>
              <a:gd name="T3" fmla="*/ 2147483647 h 740"/>
              <a:gd name="T4" fmla="*/ 2147483647 w 866"/>
              <a:gd name="T5" fmla="*/ 2147483647 h 740"/>
              <a:gd name="T6" fmla="*/ 2147483647 w 866"/>
              <a:gd name="T7" fmla="*/ 141583535 h 740"/>
              <a:gd name="T8" fmla="*/ 2147483647 w 866"/>
              <a:gd name="T9" fmla="*/ 850045314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1640057908 w 866"/>
              <a:gd name="T87" fmla="*/ 2147483647 h 740"/>
              <a:gd name="T88" fmla="*/ 409967339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accent5">
              <a:lumMod val="75000"/>
            </a:schemeClr>
          </a:solidFill>
          <a:ln w="9525" cmpd="sng">
            <a:solidFill>
              <a:srgbClr val="FFFFFF"/>
            </a:solidFill>
            <a:prstDash val="solid"/>
            <a:round/>
            <a:headEnd/>
            <a:tailEnd/>
          </a:ln>
        </p:spPr>
        <p:txBody>
          <a:bodyPr/>
          <a:lstStyle/>
          <a:p>
            <a:pPr eaLnBrk="0" fontAlgn="base" hangingPunct="0">
              <a:spcBef>
                <a:spcPct val="0"/>
              </a:spcBef>
              <a:spcAft>
                <a:spcPct val="0"/>
              </a:spcAft>
              <a:defRPr/>
            </a:pPr>
            <a:endParaRPr lang="zh-TW" altLang="en-US">
              <a:solidFill>
                <a:srgbClr val="000000"/>
              </a:solidFill>
            </a:endParaRPr>
          </a:p>
        </p:txBody>
      </p:sp>
      <p:sp>
        <p:nvSpPr>
          <p:cNvPr id="2426" name="Freeform 546"/>
          <p:cNvSpPr>
            <a:spLocks/>
          </p:cNvSpPr>
          <p:nvPr>
            <p:custDataLst>
              <p:tags r:id="rId377"/>
            </p:custDataLst>
          </p:nvPr>
        </p:nvSpPr>
        <p:spPr bwMode="auto">
          <a:xfrm>
            <a:off x="4923369" y="2533650"/>
            <a:ext cx="400051" cy="260350"/>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398776298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1694011121 h 500"/>
              <a:gd name="T88" fmla="*/ 2147483647 w 697"/>
              <a:gd name="T89" fmla="*/ 1129521430 h 500"/>
              <a:gd name="T90" fmla="*/ 2147483647 w 697"/>
              <a:gd name="T91" fmla="*/ 2147483647 h 500"/>
              <a:gd name="T92" fmla="*/ 2147483647 w 697"/>
              <a:gd name="T93" fmla="*/ 2147483647 h 500"/>
              <a:gd name="T94" fmla="*/ 2147483647 w 697"/>
              <a:gd name="T95" fmla="*/ 1835268665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27" name="Freeform 547"/>
          <p:cNvSpPr>
            <a:spLocks/>
          </p:cNvSpPr>
          <p:nvPr>
            <p:custDataLst>
              <p:tags r:id="rId378"/>
            </p:custDataLst>
          </p:nvPr>
        </p:nvSpPr>
        <p:spPr bwMode="auto">
          <a:xfrm>
            <a:off x="5856822" y="1463682"/>
            <a:ext cx="315383"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10599353 h 173"/>
              <a:gd name="T18" fmla="*/ 2147483647 w 546"/>
              <a:gd name="T19" fmla="*/ 1658227055 h 173"/>
              <a:gd name="T20" fmla="*/ 2147483647 w 546"/>
              <a:gd name="T21" fmla="*/ 452372432 h 173"/>
              <a:gd name="T22" fmla="*/ 2147483647 w 546"/>
              <a:gd name="T23" fmla="*/ 753765335 h 173"/>
              <a:gd name="T24" fmla="*/ 2147483647 w 546"/>
              <a:gd name="T25" fmla="*/ 1809206584 h 173"/>
              <a:gd name="T26" fmla="*/ 2147483647 w 546"/>
              <a:gd name="T27" fmla="*/ 1055441249 h 173"/>
              <a:gd name="T28" fmla="*/ 2147483647 w 546"/>
              <a:gd name="T29" fmla="*/ 0 h 173"/>
              <a:gd name="T30" fmla="*/ 2147483647 w 546"/>
              <a:gd name="T31" fmla="*/ 1055441249 h 173"/>
              <a:gd name="T32" fmla="*/ 2147483647 w 546"/>
              <a:gd name="T33" fmla="*/ 1055441249 h 173"/>
              <a:gd name="T34" fmla="*/ 2147483647 w 546"/>
              <a:gd name="T35" fmla="*/ 150696452 h 173"/>
              <a:gd name="T36" fmla="*/ 2147483647 w 546"/>
              <a:gd name="T37" fmla="*/ 904461720 h 173"/>
              <a:gd name="T38" fmla="*/ 2147483647 w 546"/>
              <a:gd name="T39" fmla="*/ 1809206584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1300794794 w 546"/>
              <a:gd name="T95" fmla="*/ 2147483647 h 173"/>
              <a:gd name="T96" fmla="*/ 894284697 w 546"/>
              <a:gd name="T97" fmla="*/ 2147483647 h 173"/>
              <a:gd name="T98" fmla="*/ 2147483647 w 546"/>
              <a:gd name="T99" fmla="*/ 2147483647 h 173"/>
              <a:gd name="T100" fmla="*/ 2147483647 w 546"/>
              <a:gd name="T101" fmla="*/ 1809206584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46"/>
              <a:gd name="T154" fmla="*/ 0 h 173"/>
              <a:gd name="T155" fmla="*/ 546 w 546"/>
              <a:gd name="T156" fmla="*/ 173 h 17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28" name="Freeform 548"/>
          <p:cNvSpPr>
            <a:spLocks/>
          </p:cNvSpPr>
          <p:nvPr>
            <p:custDataLst>
              <p:tags r:id="rId379"/>
            </p:custDataLst>
          </p:nvPr>
        </p:nvSpPr>
        <p:spPr bwMode="auto">
          <a:xfrm>
            <a:off x="6538384" y="1447807"/>
            <a:ext cx="143933"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1182920634 w 246"/>
              <a:gd name="T91" fmla="*/ 2147483647 h 42"/>
              <a:gd name="T92" fmla="*/ 0 w 246"/>
              <a:gd name="T93" fmla="*/ 2147483647 h 42"/>
              <a:gd name="T94" fmla="*/ 84535388 w 246"/>
              <a:gd name="T95" fmla="*/ 2147483647 h 42"/>
              <a:gd name="T96" fmla="*/ 253414427 w 246"/>
              <a:gd name="T97" fmla="*/ 2147483647 h 42"/>
              <a:gd name="T98" fmla="*/ 422485587 w 246"/>
              <a:gd name="T99" fmla="*/ 2147483647 h 42"/>
              <a:gd name="T100" fmla="*/ 760435375 w 246"/>
              <a:gd name="T101" fmla="*/ 2147483647 h 42"/>
              <a:gd name="T102" fmla="*/ 1436527593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29" name="Freeform 549"/>
          <p:cNvSpPr>
            <a:spLocks/>
          </p:cNvSpPr>
          <p:nvPr>
            <p:custDataLst>
              <p:tags r:id="rId380"/>
            </p:custDataLst>
          </p:nvPr>
        </p:nvSpPr>
        <p:spPr bwMode="auto">
          <a:xfrm>
            <a:off x="6728885" y="1430338"/>
            <a:ext cx="84667" cy="57150"/>
          </a:xfrm>
          <a:custGeom>
            <a:avLst/>
            <a:gdLst>
              <a:gd name="T0" fmla="*/ 2147483647 w 149"/>
              <a:gd name="T1" fmla="*/ 0 h 61"/>
              <a:gd name="T2" fmla="*/ 2147483647 w 149"/>
              <a:gd name="T3" fmla="*/ 8224550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1935028315 w 149"/>
              <a:gd name="T57" fmla="*/ 2147483647 h 61"/>
              <a:gd name="T58" fmla="*/ 928828609 w 149"/>
              <a:gd name="T59" fmla="*/ 2147483647 h 61"/>
              <a:gd name="T60" fmla="*/ 232297927 w 149"/>
              <a:gd name="T61" fmla="*/ 2147483647 h 61"/>
              <a:gd name="T62" fmla="*/ 77371975 w 149"/>
              <a:gd name="T63" fmla="*/ 2147483647 h 61"/>
              <a:gd name="T64" fmla="*/ 0 w 149"/>
              <a:gd name="T65" fmla="*/ 2147483647 h 61"/>
              <a:gd name="T66" fmla="*/ 0 w 149"/>
              <a:gd name="T67" fmla="*/ 2147483647 h 61"/>
              <a:gd name="T68" fmla="*/ 232297927 w 149"/>
              <a:gd name="T69" fmla="*/ 2147483647 h 61"/>
              <a:gd name="T70" fmla="*/ 1470614649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sp>
        <p:nvSpPr>
          <p:cNvPr id="2430" name="Freeform 550"/>
          <p:cNvSpPr>
            <a:spLocks/>
          </p:cNvSpPr>
          <p:nvPr>
            <p:custDataLst>
              <p:tags r:id="rId381"/>
            </p:custDataLst>
          </p:nvPr>
        </p:nvSpPr>
        <p:spPr bwMode="auto">
          <a:xfrm>
            <a:off x="6777571" y="1438275"/>
            <a:ext cx="173567"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1381958640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990184223 w 299"/>
              <a:gd name="T63" fmla="*/ 2147483647 h 74"/>
              <a:gd name="T64" fmla="*/ 165093669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accent5">
              <a:lumMod val="75000"/>
            </a:schemeClr>
          </a:solidFill>
          <a:ln w="9525" cap="flat" cmpd="sng">
            <a:solidFill>
              <a:srgbClr val="FFFFFF"/>
            </a:solidFill>
            <a:prstDash val="solid"/>
            <a:round/>
            <a:headEnd type="none" w="med" len="med"/>
            <a:tailEnd type="none" w="med" len="med"/>
          </a:ln>
        </p:spPr>
        <p:txBody>
          <a:bodyPr/>
          <a:lstStyle/>
          <a:p>
            <a:pPr eaLnBrk="0" fontAlgn="base" hangingPunct="0">
              <a:spcBef>
                <a:spcPct val="0"/>
              </a:spcBef>
              <a:spcAft>
                <a:spcPct val="0"/>
              </a:spcAft>
              <a:defRPr/>
            </a:pPr>
            <a:endParaRPr lang="zh-TW" altLang="en-US">
              <a:solidFill>
                <a:srgbClr val="000000"/>
              </a:solidFill>
            </a:endParaRPr>
          </a:p>
        </p:txBody>
      </p:sp>
      <p:graphicFrame>
        <p:nvGraphicFramePr>
          <p:cNvPr id="2" name="表格 1"/>
          <p:cNvGraphicFramePr>
            <a:graphicFrameLocks noGrp="1"/>
          </p:cNvGraphicFramePr>
          <p:nvPr>
            <p:extLst>
              <p:ext uri="{D42A27DB-BD31-4B8C-83A1-F6EECF244321}">
                <p14:modId xmlns:p14="http://schemas.microsoft.com/office/powerpoint/2010/main" val="3280513065"/>
              </p:ext>
            </p:extLst>
          </p:nvPr>
        </p:nvGraphicFramePr>
        <p:xfrm>
          <a:off x="6245712" y="1073143"/>
          <a:ext cx="4691287" cy="1217461"/>
        </p:xfrm>
        <a:graphic>
          <a:graphicData uri="http://schemas.openxmlformats.org/drawingml/2006/table">
            <a:tbl>
              <a:tblPr firstRow="1" bandRow="1">
                <a:tableStyleId>{5C22544A-7EE6-4342-B048-85BDC9FD1C3A}</a:tableStyleId>
              </a:tblPr>
              <a:tblGrid>
                <a:gridCol w="3508599">
                  <a:extLst>
                    <a:ext uri="{9D8B030D-6E8A-4147-A177-3AD203B41FA5}">
                      <a16:colId xmlns:a16="http://schemas.microsoft.com/office/drawing/2014/main" val="20000"/>
                    </a:ext>
                  </a:extLst>
                </a:gridCol>
                <a:gridCol w="1182688">
                  <a:extLst>
                    <a:ext uri="{9D8B030D-6E8A-4147-A177-3AD203B41FA5}">
                      <a16:colId xmlns:a16="http://schemas.microsoft.com/office/drawing/2014/main" val="20001"/>
                    </a:ext>
                  </a:extLst>
                </a:gridCol>
              </a:tblGrid>
              <a:tr h="475781">
                <a:tc>
                  <a:txBody>
                    <a:bodyPr/>
                    <a:lstStyle/>
                    <a:p>
                      <a:r>
                        <a:rPr lang="en-US" altLang="zh-TW" sz="2400" dirty="0">
                          <a:solidFill>
                            <a:srgbClr val="CC0066"/>
                          </a:solidFill>
                          <a:effectLst>
                            <a:outerShdw blurRad="38100" dist="38100" dir="2700000" algn="tl">
                              <a:srgbClr val="000000">
                                <a:alpha val="43137"/>
                              </a:srgbClr>
                            </a:outerShdw>
                          </a:effectLst>
                        </a:rPr>
                        <a:t>ASIA</a:t>
                      </a:r>
                      <a:endParaRPr lang="zh-TW" altLang="en-US" sz="2400" dirty="0">
                        <a:solidFill>
                          <a:srgbClr val="CC0066"/>
                        </a:solidFill>
                        <a:effectLst>
                          <a:outerShdw blurRad="38100" dist="38100" dir="2700000" algn="tl">
                            <a:srgbClr val="000000">
                              <a:alpha val="43137"/>
                            </a:srgbClr>
                          </a:outerShdw>
                        </a:effectLst>
                      </a:endParaRPr>
                    </a:p>
                  </a:txBody>
                  <a:tcPr marL="121920" marR="121920"/>
                </a:tc>
                <a:tc>
                  <a:txBody>
                    <a:bodyPr/>
                    <a:lstStyle/>
                    <a:p>
                      <a:r>
                        <a:rPr lang="en-US" altLang="zh-TW" dirty="0">
                          <a:solidFill>
                            <a:srgbClr val="CC0066"/>
                          </a:solidFill>
                        </a:rPr>
                        <a:t>No.</a:t>
                      </a:r>
                      <a:endParaRPr lang="zh-TW" altLang="en-US" dirty="0">
                        <a:solidFill>
                          <a:srgbClr val="CC0066"/>
                        </a:solidFill>
                      </a:endParaRPr>
                    </a:p>
                  </a:txBody>
                  <a:tcPr marL="121920" marR="121920"/>
                </a:tc>
                <a:extLst>
                  <a:ext uri="{0D108BD9-81ED-4DB2-BD59-A6C34878D82A}">
                    <a16:rowId xmlns:a16="http://schemas.microsoft.com/office/drawing/2014/main" val="10000"/>
                  </a:ext>
                </a:extLst>
              </a:tr>
              <a:tr h="370840">
                <a:tc>
                  <a:txBody>
                    <a:bodyPr/>
                    <a:lstStyle/>
                    <a:p>
                      <a:r>
                        <a:rPr lang="en-US" altLang="zh-TW" dirty="0"/>
                        <a:t>Partner</a:t>
                      </a:r>
                      <a:r>
                        <a:rPr lang="en-US" altLang="zh-TW" baseline="0" dirty="0"/>
                        <a:t> University </a:t>
                      </a:r>
                      <a:endParaRPr lang="zh-TW" altLang="en-US" dirty="0"/>
                    </a:p>
                  </a:txBody>
                  <a:tcPr marL="121920" marR="121920"/>
                </a:tc>
                <a:tc>
                  <a:txBody>
                    <a:bodyPr/>
                    <a:lstStyle/>
                    <a:p>
                      <a:r>
                        <a:rPr lang="en-US" altLang="zh-TW" dirty="0"/>
                        <a:t>83</a:t>
                      </a:r>
                      <a:endParaRPr lang="zh-TW" altLang="en-US" dirty="0"/>
                    </a:p>
                  </a:txBody>
                  <a:tcPr marL="121920" marR="121920"/>
                </a:tc>
                <a:extLst>
                  <a:ext uri="{0D108BD9-81ED-4DB2-BD59-A6C34878D82A}">
                    <a16:rowId xmlns:a16="http://schemas.microsoft.com/office/drawing/2014/main" val="10001"/>
                  </a:ext>
                </a:extLst>
              </a:tr>
              <a:tr h="370840">
                <a:tc>
                  <a:txBody>
                    <a:bodyPr/>
                    <a:lstStyle/>
                    <a:p>
                      <a:r>
                        <a:rPr lang="en-US" altLang="zh-TW" dirty="0"/>
                        <a:t>International Student</a:t>
                      </a:r>
                    </a:p>
                  </a:txBody>
                  <a:tcPr marL="121920" marR="121920"/>
                </a:tc>
                <a:tc>
                  <a:txBody>
                    <a:bodyPr/>
                    <a:lstStyle/>
                    <a:p>
                      <a:r>
                        <a:rPr lang="en-US" altLang="zh-TW" dirty="0"/>
                        <a:t>327</a:t>
                      </a:r>
                      <a:endParaRPr lang="zh-TW" altLang="en-US" dirty="0"/>
                    </a:p>
                  </a:txBody>
                  <a:tcPr marL="121920" marR="121920"/>
                </a:tc>
                <a:extLst>
                  <a:ext uri="{0D108BD9-81ED-4DB2-BD59-A6C34878D82A}">
                    <a16:rowId xmlns:a16="http://schemas.microsoft.com/office/drawing/2014/main" val="10002"/>
                  </a:ext>
                </a:extLst>
              </a:tr>
            </a:tbl>
          </a:graphicData>
        </a:graphic>
      </p:graphicFrame>
      <p:graphicFrame>
        <p:nvGraphicFramePr>
          <p:cNvPr id="552" name="表格 551"/>
          <p:cNvGraphicFramePr>
            <a:graphicFrameLocks noGrp="1"/>
          </p:cNvGraphicFramePr>
          <p:nvPr>
            <p:extLst>
              <p:ext uri="{D42A27DB-BD31-4B8C-83A1-F6EECF244321}">
                <p14:modId xmlns:p14="http://schemas.microsoft.com/office/powerpoint/2010/main" val="1534593236"/>
              </p:ext>
            </p:extLst>
          </p:nvPr>
        </p:nvGraphicFramePr>
        <p:xfrm>
          <a:off x="861074" y="5032094"/>
          <a:ext cx="4726927" cy="1107440"/>
        </p:xfrm>
        <a:graphic>
          <a:graphicData uri="http://schemas.openxmlformats.org/drawingml/2006/table">
            <a:tbl>
              <a:tblPr firstRow="1" bandRow="1">
                <a:tableStyleId>{5C22544A-7EE6-4342-B048-85BDC9FD1C3A}</a:tableStyleId>
              </a:tblPr>
              <a:tblGrid>
                <a:gridCol w="3535254">
                  <a:extLst>
                    <a:ext uri="{9D8B030D-6E8A-4147-A177-3AD203B41FA5}">
                      <a16:colId xmlns:a16="http://schemas.microsoft.com/office/drawing/2014/main" val="20000"/>
                    </a:ext>
                  </a:extLst>
                </a:gridCol>
                <a:gridCol w="1191673">
                  <a:extLst>
                    <a:ext uri="{9D8B030D-6E8A-4147-A177-3AD203B41FA5}">
                      <a16:colId xmlns:a16="http://schemas.microsoft.com/office/drawing/2014/main" val="20001"/>
                    </a:ext>
                  </a:extLst>
                </a:gridCol>
              </a:tblGrid>
              <a:tr h="286327">
                <a:tc>
                  <a:txBody>
                    <a:bodyPr/>
                    <a:lstStyle/>
                    <a:p>
                      <a:r>
                        <a:rPr lang="en-US" altLang="zh-TW" dirty="0">
                          <a:solidFill>
                            <a:schemeClr val="accent2">
                              <a:lumMod val="75000"/>
                            </a:schemeClr>
                          </a:solidFill>
                          <a:effectLst>
                            <a:outerShdw blurRad="38100" dist="38100" dir="2700000" algn="tl">
                              <a:srgbClr val="000000">
                                <a:alpha val="43137"/>
                              </a:srgbClr>
                            </a:outerShdw>
                          </a:effectLst>
                        </a:rPr>
                        <a:t>EUROPE</a:t>
                      </a:r>
                    </a:p>
                  </a:txBody>
                  <a:tcPr marL="121920" marR="121920"/>
                </a:tc>
                <a:tc>
                  <a:txBody>
                    <a:bodyPr/>
                    <a:lstStyle/>
                    <a:p>
                      <a:r>
                        <a:rPr lang="en-US" altLang="zh-TW" dirty="0">
                          <a:solidFill>
                            <a:schemeClr val="accent6">
                              <a:lumMod val="75000"/>
                            </a:schemeClr>
                          </a:solidFill>
                          <a:effectLst>
                            <a:outerShdw blurRad="38100" dist="38100" dir="2700000" algn="tl">
                              <a:srgbClr val="000000">
                                <a:alpha val="43137"/>
                              </a:srgbClr>
                            </a:outerShdw>
                          </a:effectLst>
                        </a:rPr>
                        <a:t>No.</a:t>
                      </a:r>
                      <a:endParaRPr lang="zh-TW" altLang="en-US" dirty="0">
                        <a:solidFill>
                          <a:schemeClr val="accent6">
                            <a:lumMod val="75000"/>
                          </a:schemeClr>
                        </a:solidFill>
                        <a:effectLst>
                          <a:outerShdw blurRad="38100" dist="38100" dir="2700000" algn="tl">
                            <a:srgbClr val="000000">
                              <a:alpha val="43137"/>
                            </a:srgbClr>
                          </a:outerShdw>
                        </a:effectLst>
                      </a:endParaRPr>
                    </a:p>
                  </a:txBody>
                  <a:tcPr marL="121920" marR="121920"/>
                </a:tc>
                <a:extLst>
                  <a:ext uri="{0D108BD9-81ED-4DB2-BD59-A6C34878D82A}">
                    <a16:rowId xmlns:a16="http://schemas.microsoft.com/office/drawing/2014/main" val="10000"/>
                  </a:ext>
                </a:extLst>
              </a:tr>
              <a:tr h="370840">
                <a:tc>
                  <a:txBody>
                    <a:bodyPr/>
                    <a:lstStyle/>
                    <a:p>
                      <a:r>
                        <a:rPr lang="en-US" altLang="zh-TW" dirty="0"/>
                        <a:t>Partner</a:t>
                      </a:r>
                      <a:r>
                        <a:rPr lang="en-US" altLang="zh-TW" baseline="0" dirty="0"/>
                        <a:t> University </a:t>
                      </a:r>
                      <a:endParaRPr lang="zh-TW" altLang="en-US" dirty="0"/>
                    </a:p>
                  </a:txBody>
                  <a:tcPr marL="121920" marR="121920"/>
                </a:tc>
                <a:tc>
                  <a:txBody>
                    <a:bodyPr/>
                    <a:lstStyle/>
                    <a:p>
                      <a:r>
                        <a:rPr lang="en-US" altLang="zh-TW" dirty="0"/>
                        <a:t>9</a:t>
                      </a:r>
                      <a:endParaRPr lang="zh-TW" altLang="en-US" dirty="0"/>
                    </a:p>
                  </a:txBody>
                  <a:tcPr marL="121920" marR="121920"/>
                </a:tc>
                <a:extLst>
                  <a:ext uri="{0D108BD9-81ED-4DB2-BD59-A6C34878D82A}">
                    <a16:rowId xmlns:a16="http://schemas.microsoft.com/office/drawing/2014/main" val="10001"/>
                  </a:ext>
                </a:extLst>
              </a:tr>
              <a:tr h="370840">
                <a:tc>
                  <a:txBody>
                    <a:bodyPr/>
                    <a:lstStyle/>
                    <a:p>
                      <a:r>
                        <a:rPr lang="en-US" altLang="zh-TW" dirty="0"/>
                        <a:t>International</a:t>
                      </a:r>
                      <a:r>
                        <a:rPr lang="en-US" altLang="zh-TW" baseline="0" dirty="0"/>
                        <a:t> </a:t>
                      </a:r>
                      <a:r>
                        <a:rPr lang="en-US" altLang="zh-TW" dirty="0"/>
                        <a:t> Student</a:t>
                      </a:r>
                    </a:p>
                  </a:txBody>
                  <a:tcPr marL="121920" marR="121920"/>
                </a:tc>
                <a:tc>
                  <a:txBody>
                    <a:bodyPr/>
                    <a:lstStyle/>
                    <a:p>
                      <a:r>
                        <a:rPr lang="en-US" altLang="zh-TW" dirty="0"/>
                        <a:t>1</a:t>
                      </a:r>
                      <a:endParaRPr lang="zh-TW" altLang="en-US" dirty="0"/>
                    </a:p>
                  </a:txBody>
                  <a:tcPr marL="121920" marR="121920"/>
                </a:tc>
                <a:extLst>
                  <a:ext uri="{0D108BD9-81ED-4DB2-BD59-A6C34878D82A}">
                    <a16:rowId xmlns:a16="http://schemas.microsoft.com/office/drawing/2014/main" val="10002"/>
                  </a:ext>
                </a:extLst>
              </a:tr>
            </a:tbl>
          </a:graphicData>
        </a:graphic>
      </p:graphicFrame>
      <p:graphicFrame>
        <p:nvGraphicFramePr>
          <p:cNvPr id="553" name="表格 552"/>
          <p:cNvGraphicFramePr>
            <a:graphicFrameLocks noGrp="1"/>
          </p:cNvGraphicFramePr>
          <p:nvPr>
            <p:extLst>
              <p:ext uri="{D42A27DB-BD31-4B8C-83A1-F6EECF244321}">
                <p14:modId xmlns:p14="http://schemas.microsoft.com/office/powerpoint/2010/main" val="1474100239"/>
              </p:ext>
            </p:extLst>
          </p:nvPr>
        </p:nvGraphicFramePr>
        <p:xfrm>
          <a:off x="6277460" y="5034769"/>
          <a:ext cx="4731318" cy="741680"/>
        </p:xfrm>
        <a:graphic>
          <a:graphicData uri="http://schemas.openxmlformats.org/drawingml/2006/table">
            <a:tbl>
              <a:tblPr firstRow="1" bandRow="1">
                <a:tableStyleId>{5C22544A-7EE6-4342-B048-85BDC9FD1C3A}</a:tableStyleId>
              </a:tblPr>
              <a:tblGrid>
                <a:gridCol w="3508599">
                  <a:extLst>
                    <a:ext uri="{9D8B030D-6E8A-4147-A177-3AD203B41FA5}">
                      <a16:colId xmlns:a16="http://schemas.microsoft.com/office/drawing/2014/main" val="20000"/>
                    </a:ext>
                  </a:extLst>
                </a:gridCol>
                <a:gridCol w="1222719">
                  <a:extLst>
                    <a:ext uri="{9D8B030D-6E8A-4147-A177-3AD203B41FA5}">
                      <a16:colId xmlns:a16="http://schemas.microsoft.com/office/drawing/2014/main" val="20001"/>
                    </a:ext>
                  </a:extLst>
                </a:gridCol>
              </a:tblGrid>
              <a:tr h="370840">
                <a:tc>
                  <a:txBody>
                    <a:bodyPr/>
                    <a:lstStyle/>
                    <a:p>
                      <a:r>
                        <a:rPr lang="en-US" altLang="zh-TW" dirty="0">
                          <a:solidFill>
                            <a:srgbClr val="663300"/>
                          </a:solidFill>
                          <a:effectLst>
                            <a:outerShdw blurRad="38100" dist="38100" dir="2700000" algn="tl">
                              <a:srgbClr val="000000">
                                <a:alpha val="43137"/>
                              </a:srgbClr>
                            </a:outerShdw>
                          </a:effectLst>
                        </a:rPr>
                        <a:t>AFRICA</a:t>
                      </a:r>
                    </a:p>
                  </a:txBody>
                  <a:tcPr marL="121920" marR="121920"/>
                </a:tc>
                <a:tc>
                  <a:txBody>
                    <a:bodyPr/>
                    <a:lstStyle/>
                    <a:p>
                      <a:r>
                        <a:rPr lang="en-US" altLang="zh-TW" dirty="0">
                          <a:solidFill>
                            <a:srgbClr val="009999"/>
                          </a:solidFill>
                        </a:rPr>
                        <a:t>No.</a:t>
                      </a:r>
                      <a:endParaRPr lang="zh-TW" altLang="en-US" dirty="0">
                        <a:solidFill>
                          <a:srgbClr val="009999"/>
                        </a:solidFill>
                      </a:endParaRPr>
                    </a:p>
                  </a:txBody>
                  <a:tcPr marL="121920" marR="121920"/>
                </a:tc>
                <a:extLst>
                  <a:ext uri="{0D108BD9-81ED-4DB2-BD59-A6C34878D82A}">
                    <a16:rowId xmlns:a16="http://schemas.microsoft.com/office/drawing/2014/main" val="10000"/>
                  </a:ext>
                </a:extLst>
              </a:tr>
              <a:tr h="370840">
                <a:tc>
                  <a:txBody>
                    <a:bodyPr/>
                    <a:lstStyle/>
                    <a:p>
                      <a:r>
                        <a:rPr lang="en-US" altLang="zh-TW" dirty="0"/>
                        <a:t>International Student</a:t>
                      </a:r>
                    </a:p>
                  </a:txBody>
                  <a:tcPr marL="121920" marR="121920"/>
                </a:tc>
                <a:tc>
                  <a:txBody>
                    <a:bodyPr/>
                    <a:lstStyle/>
                    <a:p>
                      <a:r>
                        <a:rPr lang="en-US" altLang="zh-TW" dirty="0"/>
                        <a:t>3</a:t>
                      </a:r>
                      <a:endParaRPr lang="zh-TW" altLang="en-US" dirty="0"/>
                    </a:p>
                  </a:txBody>
                  <a:tcPr marL="121920" marR="121920"/>
                </a:tc>
                <a:extLst>
                  <a:ext uri="{0D108BD9-81ED-4DB2-BD59-A6C34878D82A}">
                    <a16:rowId xmlns:a16="http://schemas.microsoft.com/office/drawing/2014/main" val="10001"/>
                  </a:ext>
                </a:extLst>
              </a:tr>
            </a:tbl>
          </a:graphicData>
        </a:graphic>
      </p:graphicFrame>
      <p:graphicFrame>
        <p:nvGraphicFramePr>
          <p:cNvPr id="554" name="表格 553"/>
          <p:cNvGraphicFramePr>
            <a:graphicFrameLocks noGrp="1"/>
          </p:cNvGraphicFramePr>
          <p:nvPr>
            <p:extLst>
              <p:ext uri="{D42A27DB-BD31-4B8C-83A1-F6EECF244321}">
                <p14:modId xmlns:p14="http://schemas.microsoft.com/office/powerpoint/2010/main" val="3297644842"/>
              </p:ext>
            </p:extLst>
          </p:nvPr>
        </p:nvGraphicFramePr>
        <p:xfrm>
          <a:off x="870440" y="3167063"/>
          <a:ext cx="4726514" cy="1198880"/>
        </p:xfrm>
        <a:graphic>
          <a:graphicData uri="http://schemas.openxmlformats.org/drawingml/2006/table">
            <a:tbl>
              <a:tblPr firstRow="1" bandRow="1">
                <a:tableStyleId>{5C22544A-7EE6-4342-B048-85BDC9FD1C3A}</a:tableStyleId>
              </a:tblPr>
              <a:tblGrid>
                <a:gridCol w="3534945">
                  <a:extLst>
                    <a:ext uri="{9D8B030D-6E8A-4147-A177-3AD203B41FA5}">
                      <a16:colId xmlns:a16="http://schemas.microsoft.com/office/drawing/2014/main" val="20000"/>
                    </a:ext>
                  </a:extLst>
                </a:gridCol>
                <a:gridCol w="1191569">
                  <a:extLst>
                    <a:ext uri="{9D8B030D-6E8A-4147-A177-3AD203B41FA5}">
                      <a16:colId xmlns:a16="http://schemas.microsoft.com/office/drawing/2014/main" val="20001"/>
                    </a:ext>
                  </a:extLst>
                </a:gridCol>
              </a:tblGrid>
              <a:tr h="415723">
                <a:tc>
                  <a:txBody>
                    <a:bodyPr/>
                    <a:lstStyle/>
                    <a:p>
                      <a:r>
                        <a:rPr lang="en-US" altLang="zh-TW" sz="2400" dirty="0">
                          <a:solidFill>
                            <a:srgbClr val="CC9900"/>
                          </a:solidFill>
                          <a:effectLst>
                            <a:outerShdw blurRad="38100" dist="38100" dir="2700000" algn="tl">
                              <a:srgbClr val="000000">
                                <a:alpha val="43137"/>
                              </a:srgbClr>
                            </a:outerShdw>
                          </a:effectLst>
                        </a:rPr>
                        <a:t>AMERICA</a:t>
                      </a:r>
                    </a:p>
                  </a:txBody>
                  <a:tcPr marL="121920" marR="121920"/>
                </a:tc>
                <a:tc>
                  <a:txBody>
                    <a:bodyPr/>
                    <a:lstStyle/>
                    <a:p>
                      <a:r>
                        <a:rPr lang="en-US" altLang="zh-TW" dirty="0">
                          <a:solidFill>
                            <a:srgbClr val="CC9900"/>
                          </a:solidFill>
                          <a:effectLst>
                            <a:outerShdw blurRad="38100" dist="38100" dir="2700000" algn="tl">
                              <a:srgbClr val="000000">
                                <a:alpha val="43137"/>
                              </a:srgbClr>
                            </a:outerShdw>
                          </a:effectLst>
                        </a:rPr>
                        <a:t>No.</a:t>
                      </a:r>
                      <a:endParaRPr lang="zh-TW" altLang="en-US" dirty="0">
                        <a:solidFill>
                          <a:srgbClr val="CC9900"/>
                        </a:solidFill>
                        <a:effectLst>
                          <a:outerShdw blurRad="38100" dist="38100" dir="2700000" algn="tl">
                            <a:srgbClr val="000000">
                              <a:alpha val="43137"/>
                            </a:srgbClr>
                          </a:outerShdw>
                        </a:effectLst>
                      </a:endParaRPr>
                    </a:p>
                  </a:txBody>
                  <a:tcPr marL="121920" marR="121920"/>
                </a:tc>
                <a:extLst>
                  <a:ext uri="{0D108BD9-81ED-4DB2-BD59-A6C34878D82A}">
                    <a16:rowId xmlns:a16="http://schemas.microsoft.com/office/drawing/2014/main" val="10000"/>
                  </a:ext>
                </a:extLst>
              </a:tr>
              <a:tr h="370840">
                <a:tc>
                  <a:txBody>
                    <a:bodyPr/>
                    <a:lstStyle/>
                    <a:p>
                      <a:r>
                        <a:rPr lang="en-US" altLang="zh-TW" dirty="0"/>
                        <a:t>Partner</a:t>
                      </a:r>
                      <a:r>
                        <a:rPr lang="en-US" altLang="zh-TW" baseline="0" dirty="0"/>
                        <a:t> University </a:t>
                      </a:r>
                      <a:endParaRPr lang="zh-TW" altLang="en-US" dirty="0"/>
                    </a:p>
                  </a:txBody>
                  <a:tcPr marL="121920" marR="121920"/>
                </a:tc>
                <a:tc>
                  <a:txBody>
                    <a:bodyPr/>
                    <a:lstStyle/>
                    <a:p>
                      <a:r>
                        <a:rPr lang="en-US" altLang="zh-TW" dirty="0"/>
                        <a:t>17</a:t>
                      </a:r>
                      <a:endParaRPr lang="zh-TW" altLang="en-US" dirty="0"/>
                    </a:p>
                  </a:txBody>
                  <a:tcPr marL="121920" marR="121920"/>
                </a:tc>
                <a:extLst>
                  <a:ext uri="{0D108BD9-81ED-4DB2-BD59-A6C34878D82A}">
                    <a16:rowId xmlns:a16="http://schemas.microsoft.com/office/drawing/2014/main" val="10001"/>
                  </a:ext>
                </a:extLst>
              </a:tr>
              <a:tr h="370840">
                <a:tc>
                  <a:txBody>
                    <a:bodyPr/>
                    <a:lstStyle/>
                    <a:p>
                      <a:r>
                        <a:rPr lang="en-US" altLang="zh-TW" dirty="0"/>
                        <a:t>International</a:t>
                      </a:r>
                      <a:r>
                        <a:rPr lang="en-US" altLang="zh-TW" baseline="0" dirty="0"/>
                        <a:t> </a:t>
                      </a:r>
                      <a:r>
                        <a:rPr lang="en-US" altLang="zh-TW" dirty="0"/>
                        <a:t> Student</a:t>
                      </a:r>
                    </a:p>
                  </a:txBody>
                  <a:tcPr marL="121920" marR="121920"/>
                </a:tc>
                <a:tc>
                  <a:txBody>
                    <a:bodyPr/>
                    <a:lstStyle/>
                    <a:p>
                      <a:r>
                        <a:rPr lang="en-US" altLang="zh-TW" dirty="0"/>
                        <a:t>3</a:t>
                      </a:r>
                      <a:endParaRPr lang="zh-TW" altLang="en-US" dirty="0"/>
                    </a:p>
                  </a:txBody>
                  <a:tcPr marL="121920" marR="121920"/>
                </a:tc>
                <a:extLst>
                  <a:ext uri="{0D108BD9-81ED-4DB2-BD59-A6C34878D82A}">
                    <a16:rowId xmlns:a16="http://schemas.microsoft.com/office/drawing/2014/main" val="10002"/>
                  </a:ext>
                </a:extLst>
              </a:tr>
            </a:tbl>
          </a:graphicData>
        </a:graphic>
      </p:graphicFrame>
      <p:graphicFrame>
        <p:nvGraphicFramePr>
          <p:cNvPr id="555" name="表格 554"/>
          <p:cNvGraphicFramePr>
            <a:graphicFrameLocks noGrp="1"/>
          </p:cNvGraphicFramePr>
          <p:nvPr>
            <p:extLst>
              <p:ext uri="{D42A27DB-BD31-4B8C-83A1-F6EECF244321}">
                <p14:modId xmlns:p14="http://schemas.microsoft.com/office/powerpoint/2010/main" val="1685281705"/>
              </p:ext>
            </p:extLst>
          </p:nvPr>
        </p:nvGraphicFramePr>
        <p:xfrm>
          <a:off x="6250136" y="3189923"/>
          <a:ext cx="4733630" cy="736600"/>
        </p:xfrm>
        <a:graphic>
          <a:graphicData uri="http://schemas.openxmlformats.org/drawingml/2006/table">
            <a:tbl>
              <a:tblPr firstRow="1" bandRow="1">
                <a:tableStyleId>{5C22544A-7EE6-4342-B048-85BDC9FD1C3A}</a:tableStyleId>
              </a:tblPr>
              <a:tblGrid>
                <a:gridCol w="3508599">
                  <a:extLst>
                    <a:ext uri="{9D8B030D-6E8A-4147-A177-3AD203B41FA5}">
                      <a16:colId xmlns:a16="http://schemas.microsoft.com/office/drawing/2014/main" val="20000"/>
                    </a:ext>
                  </a:extLst>
                </a:gridCol>
                <a:gridCol w="1225031">
                  <a:extLst>
                    <a:ext uri="{9D8B030D-6E8A-4147-A177-3AD203B41FA5}">
                      <a16:colId xmlns:a16="http://schemas.microsoft.com/office/drawing/2014/main" val="20001"/>
                    </a:ext>
                  </a:extLst>
                </a:gridCol>
              </a:tblGrid>
              <a:tr h="0">
                <a:tc>
                  <a:txBody>
                    <a:bodyPr/>
                    <a:lstStyle/>
                    <a:p>
                      <a:r>
                        <a:rPr lang="en-US" altLang="zh-TW" cap="all" baseline="0" dirty="0">
                          <a:solidFill>
                            <a:srgbClr val="33CCCC"/>
                          </a:solidFill>
                          <a:effectLst>
                            <a:outerShdw blurRad="38100" dist="38100" dir="2700000" algn="tl">
                              <a:srgbClr val="000000">
                                <a:alpha val="43137"/>
                              </a:srgbClr>
                            </a:outerShdw>
                          </a:effectLst>
                        </a:rPr>
                        <a:t>Oceania</a:t>
                      </a:r>
                    </a:p>
                  </a:txBody>
                  <a:tcPr marL="121920" marR="121920"/>
                </a:tc>
                <a:tc>
                  <a:txBody>
                    <a:bodyPr/>
                    <a:lstStyle/>
                    <a:p>
                      <a:r>
                        <a:rPr lang="en-US" altLang="zh-TW" dirty="0">
                          <a:solidFill>
                            <a:schemeClr val="tx2">
                              <a:lumMod val="65000"/>
                              <a:lumOff val="35000"/>
                            </a:schemeClr>
                          </a:solidFill>
                        </a:rPr>
                        <a:t>No.</a:t>
                      </a:r>
                      <a:endParaRPr lang="zh-TW" altLang="en-US" dirty="0">
                        <a:solidFill>
                          <a:schemeClr val="tx2">
                            <a:lumMod val="65000"/>
                            <a:lumOff val="35000"/>
                          </a:schemeClr>
                        </a:solidFill>
                      </a:endParaRPr>
                    </a:p>
                  </a:txBody>
                  <a:tcPr marL="121920" marR="121920"/>
                </a:tc>
                <a:extLst>
                  <a:ext uri="{0D108BD9-81ED-4DB2-BD59-A6C34878D82A}">
                    <a16:rowId xmlns:a16="http://schemas.microsoft.com/office/drawing/2014/main" val="10000"/>
                  </a:ext>
                </a:extLst>
              </a:tr>
              <a:tr h="370840">
                <a:tc>
                  <a:txBody>
                    <a:bodyPr/>
                    <a:lstStyle/>
                    <a:p>
                      <a:r>
                        <a:rPr lang="en-US" altLang="zh-TW" dirty="0"/>
                        <a:t>Partner</a:t>
                      </a:r>
                      <a:r>
                        <a:rPr lang="en-US" altLang="zh-TW" baseline="0" dirty="0"/>
                        <a:t> University </a:t>
                      </a:r>
                      <a:endParaRPr lang="zh-TW" altLang="en-US" dirty="0"/>
                    </a:p>
                  </a:txBody>
                  <a:tcPr marL="121920" marR="121920"/>
                </a:tc>
                <a:tc>
                  <a:txBody>
                    <a:bodyPr/>
                    <a:lstStyle/>
                    <a:p>
                      <a:r>
                        <a:rPr lang="en-US" altLang="zh-TW" dirty="0"/>
                        <a:t>4</a:t>
                      </a:r>
                      <a:endParaRPr lang="zh-TW" altLang="en-US" dirty="0"/>
                    </a:p>
                  </a:txBody>
                  <a:tcPr marL="121920" marR="121920"/>
                </a:tc>
                <a:extLst>
                  <a:ext uri="{0D108BD9-81ED-4DB2-BD59-A6C34878D82A}">
                    <a16:rowId xmlns:a16="http://schemas.microsoft.com/office/drawing/2014/main" val="10001"/>
                  </a:ext>
                </a:extLst>
              </a:tr>
            </a:tbl>
          </a:graphicData>
        </a:graphic>
      </p:graphicFrame>
      <p:sp>
        <p:nvSpPr>
          <p:cNvPr id="556" name="標題 1"/>
          <p:cNvSpPr txBox="1">
            <a:spLocks/>
          </p:cNvSpPr>
          <p:nvPr/>
        </p:nvSpPr>
        <p:spPr>
          <a:xfrm>
            <a:off x="96463" y="136394"/>
            <a:ext cx="11999074" cy="1143000"/>
          </a:xfrm>
          <a:prstGeom prst="rect">
            <a:avLst/>
          </a:prstGeom>
        </p:spPr>
        <p:txBody>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altLang="zh-TW" b="1" dirty="0">
                <a:solidFill>
                  <a:srgbClr val="000000"/>
                </a:solidFill>
              </a:rPr>
              <a:t>2021 Statistics-geographical Distribution</a:t>
            </a:r>
            <a:endParaRPr lang="zh-TW" altLang="zh-TW" b="1" dirty="0">
              <a:solidFill>
                <a:srgbClr val="000000"/>
              </a:solidFill>
            </a:endParaRPr>
          </a:p>
        </p:txBody>
      </p:sp>
      <p:sp>
        <p:nvSpPr>
          <p:cNvPr id="3" name="文字方塊 2"/>
          <p:cNvSpPr txBox="1"/>
          <p:nvPr/>
        </p:nvSpPr>
        <p:spPr>
          <a:xfrm>
            <a:off x="842432" y="1084997"/>
            <a:ext cx="4760385" cy="1631216"/>
          </a:xfrm>
          <a:prstGeom prst="rect">
            <a:avLst/>
          </a:prstGeom>
        </p:spPr>
        <p:style>
          <a:lnRef idx="3">
            <a:schemeClr val="lt1"/>
          </a:lnRef>
          <a:fillRef idx="1">
            <a:schemeClr val="accent5"/>
          </a:fillRef>
          <a:effectRef idx="1">
            <a:schemeClr val="accent5"/>
          </a:effectRef>
          <a:fontRef idx="minor">
            <a:schemeClr val="lt1"/>
          </a:fontRef>
        </p:style>
        <p:txBody>
          <a:bodyPr wrap="square" rtlCol="0">
            <a:spAutoFit/>
          </a:bodyPr>
          <a:lstStyle/>
          <a:p>
            <a:pPr algn="just"/>
            <a:r>
              <a:rPr lang="en-US" altLang="zh-TW" sz="2000" b="1" dirty="0">
                <a:solidFill>
                  <a:srgbClr val="FF0000"/>
                </a:solidFill>
              </a:rPr>
              <a:t>*113 </a:t>
            </a:r>
            <a:r>
              <a:rPr lang="en-US" altLang="zh-TW" sz="2000" b="1" dirty="0">
                <a:solidFill>
                  <a:srgbClr val="000000"/>
                </a:solidFill>
              </a:rPr>
              <a:t>Partner Universities</a:t>
            </a:r>
          </a:p>
          <a:p>
            <a:pPr algn="just"/>
            <a:r>
              <a:rPr lang="en-US" altLang="zh-TW" sz="2000" b="1" dirty="0">
                <a:solidFill>
                  <a:srgbClr val="FF0000"/>
                </a:solidFill>
              </a:rPr>
              <a:t>*334 </a:t>
            </a:r>
            <a:r>
              <a:rPr lang="en-US" altLang="zh-TW" sz="2000" b="1" dirty="0">
                <a:solidFill>
                  <a:srgbClr val="000000"/>
                </a:solidFill>
              </a:rPr>
              <a:t>International Students</a:t>
            </a:r>
            <a:r>
              <a:rPr lang="zh-TW" altLang="en-US" sz="2000" b="1" dirty="0">
                <a:solidFill>
                  <a:srgbClr val="000000"/>
                </a:solidFill>
              </a:rPr>
              <a:t> </a:t>
            </a:r>
            <a:r>
              <a:rPr lang="en-US" altLang="zh-TW" sz="2000" b="1" dirty="0">
                <a:solidFill>
                  <a:srgbClr val="000000"/>
                </a:solidFill>
              </a:rPr>
              <a:t>(including Foreign Students, Chinese overseas students, and Mainland China Students)</a:t>
            </a:r>
          </a:p>
        </p:txBody>
      </p:sp>
    </p:spTree>
    <p:extLst>
      <p:ext uri="{BB962C8B-B14F-4D97-AF65-F5344CB8AC3E}">
        <p14:creationId xmlns:p14="http://schemas.microsoft.com/office/powerpoint/2010/main" val="209570564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5" name="標題 4"/>
          <p:cNvSpPr>
            <a:spLocks noGrp="1"/>
          </p:cNvSpPr>
          <p:nvPr>
            <p:ph type="title"/>
          </p:nvPr>
        </p:nvSpPr>
        <p:spPr>
          <a:xfrm>
            <a:off x="914401" y="394858"/>
            <a:ext cx="10557163" cy="1498598"/>
          </a:xfrm>
        </p:spPr>
        <p:txBody>
          <a:bodyPr/>
          <a:lstStyle/>
          <a:p>
            <a:pPr lvl="0" algn="ctr"/>
            <a:r>
              <a:rPr lang="en-US" altLang="zh-TW" dirty="0"/>
              <a:t>Cooperation  programs with international partners</a:t>
            </a:r>
            <a:endParaRPr lang="zh-TW" altLang="zh-TW" dirty="0"/>
          </a:p>
        </p:txBody>
      </p:sp>
      <p:sp>
        <p:nvSpPr>
          <p:cNvPr id="7" name="文字版面配置區 6"/>
          <p:cNvSpPr>
            <a:spLocks noGrp="1"/>
          </p:cNvSpPr>
          <p:nvPr>
            <p:ph type="body" idx="1"/>
          </p:nvPr>
        </p:nvSpPr>
        <p:spPr>
          <a:xfrm>
            <a:off x="1468581" y="4341094"/>
            <a:ext cx="8325427" cy="1920008"/>
          </a:xfrm>
        </p:spPr>
        <p:txBody>
          <a:bodyPr/>
          <a:lstStyle/>
          <a:p>
            <a:r>
              <a:rPr lang="en-US" altLang="zh-TW" sz="2800" dirty="0"/>
              <a:t> </a:t>
            </a:r>
            <a:endParaRPr lang="zh-TW" altLang="zh-TW" sz="2800" dirty="0"/>
          </a:p>
          <a:p>
            <a:pPr lvl="0"/>
            <a:endParaRPr lang="en-US" altLang="zh-TW" sz="2800" dirty="0"/>
          </a:p>
          <a:p>
            <a:pPr lvl="0"/>
            <a:endParaRPr lang="en-US" altLang="zh-TW" sz="2800" dirty="0"/>
          </a:p>
          <a:p>
            <a:pPr lvl="0"/>
            <a:endParaRPr lang="en-US" altLang="zh-TW" sz="2800" dirty="0"/>
          </a:p>
          <a:p>
            <a:pPr lvl="0"/>
            <a:endParaRPr lang="en-US" altLang="zh-TW" sz="2800" dirty="0"/>
          </a:p>
          <a:p>
            <a:pPr lvl="0"/>
            <a:endParaRPr lang="en-US" altLang="zh-TW" dirty="0"/>
          </a:p>
          <a:p>
            <a:pPr lvl="0"/>
            <a:endParaRPr lang="en-US" altLang="zh-TW" dirty="0"/>
          </a:p>
          <a:p>
            <a:pPr marL="342900" lvl="0" indent="-342900" algn="just">
              <a:buFont typeface="Wingdings" panose="05000000000000000000" pitchFamily="2" charset="2"/>
              <a:buChar char="l"/>
            </a:pPr>
            <a:r>
              <a:rPr lang="en-US" altLang="zh-TW" sz="2800" dirty="0"/>
              <a:t>Dual degree programs</a:t>
            </a:r>
          </a:p>
          <a:p>
            <a:pPr marL="342900" lvl="0" indent="-342900" algn="just">
              <a:buFont typeface="Wingdings" panose="05000000000000000000" pitchFamily="2" charset="2"/>
              <a:buChar char="l"/>
            </a:pPr>
            <a:r>
              <a:rPr lang="en-US" altLang="zh-TW" sz="2800" dirty="0"/>
              <a:t>Faculty exchange</a:t>
            </a:r>
          </a:p>
          <a:p>
            <a:pPr marL="342900" lvl="0" indent="-342900" algn="just">
              <a:buFont typeface="Wingdings" panose="05000000000000000000" pitchFamily="2" charset="2"/>
              <a:buChar char="l"/>
            </a:pPr>
            <a:r>
              <a:rPr lang="en-US" altLang="zh-TW" sz="2800" dirty="0"/>
              <a:t>Student exchange </a:t>
            </a:r>
          </a:p>
          <a:p>
            <a:pPr marL="342900" lvl="0" indent="-342900" algn="just">
              <a:buFont typeface="Wingdings" panose="05000000000000000000" pitchFamily="2" charset="2"/>
              <a:buChar char="l"/>
            </a:pPr>
            <a:r>
              <a:rPr lang="en-US" altLang="zh-TW" sz="2800" dirty="0"/>
              <a:t>Joint workshops</a:t>
            </a:r>
          </a:p>
          <a:p>
            <a:pPr marL="342900" lvl="0" indent="-342900" algn="just">
              <a:buFont typeface="Wingdings" panose="05000000000000000000" pitchFamily="2" charset="2"/>
              <a:buChar char="l"/>
            </a:pPr>
            <a:r>
              <a:rPr lang="en-US" altLang="zh-TW" sz="2800" dirty="0"/>
              <a:t>Academic visit</a:t>
            </a:r>
          </a:p>
          <a:p>
            <a:pPr marL="342900" lvl="0" indent="-342900" algn="just">
              <a:buFont typeface="Wingdings" panose="05000000000000000000" pitchFamily="2" charset="2"/>
              <a:buChar char="l"/>
            </a:pPr>
            <a:r>
              <a:rPr lang="en-US" altLang="zh-TW" sz="2800" dirty="0"/>
              <a:t>Student Internship </a:t>
            </a:r>
          </a:p>
          <a:p>
            <a:pPr marL="342900" lvl="0" indent="-342900" algn="just">
              <a:buFont typeface="Wingdings" panose="05000000000000000000" pitchFamily="2" charset="2"/>
              <a:buChar char="l"/>
            </a:pPr>
            <a:r>
              <a:rPr lang="en-US" altLang="zh-TW" sz="2800" dirty="0"/>
              <a:t>Chinese Language and Culture Programs </a:t>
            </a:r>
          </a:p>
          <a:p>
            <a:pPr lvl="0"/>
            <a:endParaRPr lang="zh-TW" altLang="zh-TW" dirty="0"/>
          </a:p>
          <a:p>
            <a:endParaRPr lang="zh-TW" altLang="en-US" dirty="0"/>
          </a:p>
        </p:txBody>
      </p:sp>
      <p:pic>
        <p:nvPicPr>
          <p:cNvPr id="8" name="圖片 7" descr="D:\My Pictures\2018\UI visit 03-16-20\29243800_1884935354851045_8059012798115479552_n.jpg"/>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04217" y="1782672"/>
            <a:ext cx="2290789" cy="165325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9" name="圖片 8" descr="D:\My Pictures\2018\立陶宛修雷大學交換\照片\28427263_195120194412244_3670846592987955200_n.jpg"/>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505715" y="3934691"/>
            <a:ext cx="2289291" cy="173937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0" name="圖片 9" descr="D:\My Pictures\2019\108校慶\KOL_0199.JP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846618" y="2465372"/>
            <a:ext cx="2828924" cy="194110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2053668650"/>
      </p:ext>
    </p:extLst>
  </p:cSld>
  <p:clrMapOvr>
    <a:masterClrMapping/>
  </p:clrMapOvr>
  <mc:AlternateContent xmlns:mc="http://schemas.openxmlformats.org/markup-compatibility/2006" xmlns:p14="http://schemas.microsoft.com/office/powerpoint/2010/main">
    <mc:Choice Requires="p14">
      <p:transition spd="slow" p14:dur="4400">
        <p14:honeycomb/>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圖片 7" descr="1.jpg"/>
          <p:cNvPicPr>
            <a:picLocks noChangeAspect="1"/>
          </p:cNvPicPr>
          <p:nvPr/>
        </p:nvPicPr>
        <p:blipFill>
          <a:blip r:embed="rId2" cstate="print"/>
          <a:stretch>
            <a:fillRect/>
          </a:stretch>
        </p:blipFill>
        <p:spPr>
          <a:xfrm>
            <a:off x="0" y="-18287"/>
            <a:ext cx="12194976" cy="6856326"/>
          </a:xfrm>
          <a:prstGeom prst="rect">
            <a:avLst/>
          </a:prstGeom>
        </p:spPr>
      </p:pic>
      <p:sp>
        <p:nvSpPr>
          <p:cNvPr id="10" name="圓角矩形 9"/>
          <p:cNvSpPr/>
          <p:nvPr/>
        </p:nvSpPr>
        <p:spPr>
          <a:xfrm>
            <a:off x="1828800" y="1892808"/>
            <a:ext cx="9445752" cy="2734056"/>
          </a:xfrm>
          <a:prstGeom prst="roundRect">
            <a:avLst/>
          </a:prstGeom>
          <a:solidFill>
            <a:schemeClr val="bg1">
              <a:alpha val="3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3" name="矩形 2"/>
          <p:cNvSpPr/>
          <p:nvPr/>
        </p:nvSpPr>
        <p:spPr>
          <a:xfrm>
            <a:off x="2195035" y="2798171"/>
            <a:ext cx="8713287" cy="923330"/>
          </a:xfrm>
          <a:prstGeom prst="rect">
            <a:avLst/>
          </a:prstGeom>
          <a:noFill/>
        </p:spPr>
        <p:txBody>
          <a:bodyPr wrap="square" lIns="91440" tIns="45720" rIns="91440" bIns="45720">
            <a:spAutoFit/>
          </a:bodyPr>
          <a:lstStyle/>
          <a:p>
            <a:pPr algn="ctr"/>
            <a:r>
              <a:rPr lang="en-US" altLang="zh-TW" sz="5400" b="1" cap="none" spc="0" dirty="0">
                <a:ln w="17780" cmpd="sng">
                  <a:solidFill>
                    <a:schemeClr val="accent1">
                      <a:tint val="3000"/>
                    </a:schemeClr>
                  </a:solidFill>
                  <a:prstDash val="solid"/>
                  <a:miter lim="800000"/>
                </a:ln>
                <a:gradFill>
                  <a:gsLst>
                    <a:gs pos="10000">
                      <a:schemeClr val="accent1">
                        <a:tint val="63000"/>
                        <a:sat val="105000"/>
                      </a:schemeClr>
                    </a:gs>
                    <a:gs pos="90000">
                      <a:schemeClr val="accent1">
                        <a:shade val="50000"/>
                        <a:satMod val="100000"/>
                      </a:schemeClr>
                    </a:gs>
                  </a:gsLst>
                  <a:lin ang="5400000"/>
                </a:gradFill>
                <a:effectLst>
                  <a:outerShdw blurRad="55000" dist="50800" dir="5400000" algn="tl">
                    <a:srgbClr val="000000">
                      <a:alpha val="33000"/>
                    </a:srgbClr>
                  </a:outerShdw>
                </a:effectLst>
              </a:rPr>
              <a:t>Thanks for your attention</a:t>
            </a:r>
            <a:endParaRPr lang="zh-TW" altLang="en-US" sz="5400" b="1" cap="none" spc="0" dirty="0">
              <a:ln w="17780" cmpd="sng">
                <a:solidFill>
                  <a:schemeClr val="accent1">
                    <a:tint val="3000"/>
                  </a:schemeClr>
                </a:solidFill>
                <a:prstDash val="solid"/>
                <a:miter lim="800000"/>
              </a:ln>
              <a:gradFill>
                <a:gsLst>
                  <a:gs pos="10000">
                    <a:schemeClr val="accent1">
                      <a:tint val="63000"/>
                      <a:sat val="105000"/>
                    </a:schemeClr>
                  </a:gs>
                  <a:gs pos="90000">
                    <a:schemeClr val="accent1">
                      <a:shade val="50000"/>
                      <a:satMod val="100000"/>
                    </a:schemeClr>
                  </a:gs>
                </a:gsLst>
                <a:lin ang="5400000"/>
              </a:gradFill>
              <a:effectLst>
                <a:outerShdw blurRad="55000" dist="50800" dir="5400000" algn="tl">
                  <a:srgbClr val="000000">
                    <a:alpha val="33000"/>
                  </a:srgbClr>
                </a:outerShdw>
              </a:effectLst>
            </a:endParaRPr>
          </a:p>
        </p:txBody>
      </p:sp>
    </p:spTree>
    <p:extLst>
      <p:ext uri="{BB962C8B-B14F-4D97-AF65-F5344CB8AC3E}">
        <p14:creationId xmlns:p14="http://schemas.microsoft.com/office/powerpoint/2010/main" val="3590990941"/>
      </p:ext>
    </p:extLst>
  </p:cSld>
  <p:clrMapOvr>
    <a:masterClrMapping/>
  </p:clrMapOvr>
  <mc:AlternateContent xmlns:mc="http://schemas.openxmlformats.org/markup-compatibility/2006" xmlns:p14="http://schemas.microsoft.com/office/powerpoint/2010/main">
    <mc:Choice Requires="p14">
      <p:transition spd="med" p14:dur="700" advClick="0" advTm="30000">
        <p:fade/>
      </p:transition>
    </mc:Choice>
    <mc:Fallback xmlns="">
      <p:transition spd="med" advClick="0" advTm="3000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shadeToTitle="1">
        <a:blipFill dpi="0" rotWithShape="1">
          <a:blip r:embed="rId2">
            <a:alphaModFix amt="66000"/>
            <a:lum/>
          </a:blip>
          <a:srcRect/>
          <a:stretch>
            <a:fillRect t="-17000" b="-17000"/>
          </a:stretch>
        </a:blipFill>
        <a:effectLst/>
      </p:bgPr>
    </p:bg>
    <p:spTree>
      <p:nvGrpSpPr>
        <p:cNvPr id="1" name=""/>
        <p:cNvGrpSpPr/>
        <p:nvPr/>
      </p:nvGrpSpPr>
      <p:grpSpPr>
        <a:xfrm>
          <a:off x="0" y="0"/>
          <a:ext cx="0" cy="0"/>
          <a:chOff x="0" y="0"/>
          <a:chExt cx="0" cy="0"/>
        </a:xfrm>
      </p:grpSpPr>
      <p:grpSp>
        <p:nvGrpSpPr>
          <p:cNvPr id="47" name="群組 46"/>
          <p:cNvGrpSpPr/>
          <p:nvPr/>
        </p:nvGrpSpPr>
        <p:grpSpPr>
          <a:xfrm>
            <a:off x="7783950" y="559272"/>
            <a:ext cx="3654999" cy="1995242"/>
            <a:chOff x="7783947" y="559272"/>
            <a:chExt cx="3654999" cy="1995242"/>
          </a:xfrm>
        </p:grpSpPr>
        <p:pic>
          <p:nvPicPr>
            <p:cNvPr id="17" name="圖片版面配置區 6"/>
            <p:cNvPicPr>
              <a:picLocks noChangeAspect="1"/>
            </p:cNvPicPr>
            <p:nvPr/>
          </p:nvPicPr>
          <p:blipFill>
            <a:blip r:embed="rId3" cstate="print">
              <a:extLst>
                <a:ext uri="{28A0092B-C50C-407E-A947-70E740481C1C}">
                  <a14:useLocalDpi xmlns:a14="http://schemas.microsoft.com/office/drawing/2010/main" val="0"/>
                </a:ext>
              </a:extLst>
            </a:blip>
            <a:srcRect t="7627" b="7627"/>
            <a:stretch>
              <a:fillRect/>
            </a:stretch>
          </p:blipFill>
          <p:spPr>
            <a:xfrm>
              <a:off x="8658153" y="573314"/>
              <a:ext cx="2780793" cy="1981200"/>
            </a:xfrm>
            <a:prstGeom prst="rect">
              <a:avLst/>
            </a:prstGeom>
          </p:spPr>
        </p:pic>
        <p:sp>
          <p:nvSpPr>
            <p:cNvPr id="19" name="Text Placeholder 8"/>
            <p:cNvSpPr txBox="1">
              <a:spLocks/>
            </p:cNvSpPr>
            <p:nvPr/>
          </p:nvSpPr>
          <p:spPr>
            <a:xfrm>
              <a:off x="7783947" y="559272"/>
              <a:ext cx="1905000" cy="457200"/>
            </a:xfrm>
            <a:prstGeom prst="rect">
              <a:avLst/>
            </a:prstGeom>
          </p:spPr>
          <p:txBody>
            <a:bodyPr>
              <a:noAutofit/>
            </a:bodyPr>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pPr marL="0" indent="0" algn="r">
                <a:buNone/>
              </a:pPr>
              <a:r>
                <a:rPr lang="en-US" altLang="zh-TW" sz="2800" b="1" dirty="0">
                  <a:solidFill>
                    <a:srgbClr val="0070C0"/>
                  </a:solidFill>
                </a:rPr>
                <a:t>Northern Taiwan</a:t>
              </a:r>
              <a:endParaRPr lang="en-US" sz="2800" b="1" dirty="0">
                <a:solidFill>
                  <a:srgbClr val="0070C0"/>
                </a:solidFill>
              </a:endParaRPr>
            </a:p>
          </p:txBody>
        </p:sp>
      </p:grpSp>
      <p:grpSp>
        <p:nvGrpSpPr>
          <p:cNvPr id="20" name="群組 19"/>
          <p:cNvGrpSpPr/>
          <p:nvPr/>
        </p:nvGrpSpPr>
        <p:grpSpPr>
          <a:xfrm>
            <a:off x="6912039" y="1869440"/>
            <a:ext cx="3450476" cy="1981200"/>
            <a:chOff x="344972" y="1724296"/>
            <a:chExt cx="3450476" cy="1981200"/>
          </a:xfrm>
        </p:grpSpPr>
        <p:pic>
          <p:nvPicPr>
            <p:cNvPr id="21" name="圖片版面配置區 37"/>
            <p:cNvPicPr>
              <a:picLocks noChangeAspect="1"/>
            </p:cNvPicPr>
            <p:nvPr/>
          </p:nvPicPr>
          <p:blipFill>
            <a:blip r:embed="rId4" cstate="print">
              <a:extLst>
                <a:ext uri="{28A0092B-C50C-407E-A947-70E740481C1C}">
                  <a14:useLocalDpi xmlns:a14="http://schemas.microsoft.com/office/drawing/2010/main" val="0"/>
                </a:ext>
              </a:extLst>
            </a:blip>
            <a:srcRect t="10549" b="10549"/>
            <a:stretch>
              <a:fillRect/>
            </a:stretch>
          </p:blipFill>
          <p:spPr>
            <a:xfrm rot="210335">
              <a:off x="1545972" y="1724296"/>
              <a:ext cx="2249476" cy="1981200"/>
            </a:xfrm>
            <a:prstGeom prst="rect">
              <a:avLst/>
            </a:prstGeom>
          </p:spPr>
        </p:pic>
        <p:sp>
          <p:nvSpPr>
            <p:cNvPr id="22" name="Text Placeholder 12"/>
            <p:cNvSpPr txBox="1">
              <a:spLocks/>
            </p:cNvSpPr>
            <p:nvPr/>
          </p:nvSpPr>
          <p:spPr>
            <a:xfrm>
              <a:off x="344972" y="2232848"/>
              <a:ext cx="1905000" cy="528040"/>
            </a:xfrm>
            <a:prstGeom prst="rect">
              <a:avLst/>
            </a:prstGeom>
          </p:spPr>
          <p:txBody>
            <a:bodyPr>
              <a:noAutofit/>
            </a:bodyPr>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pPr marL="0" indent="0">
                <a:buNone/>
              </a:pPr>
              <a:r>
                <a:rPr lang="en-US" altLang="zh-TW" sz="2800" b="1" dirty="0">
                  <a:solidFill>
                    <a:schemeClr val="accent2">
                      <a:lumMod val="75000"/>
                    </a:schemeClr>
                  </a:solidFill>
                </a:rPr>
                <a:t>Middle of Taiwan</a:t>
              </a:r>
              <a:endParaRPr lang="en-US" sz="2800" b="1" dirty="0">
                <a:solidFill>
                  <a:schemeClr val="accent2">
                    <a:lumMod val="75000"/>
                  </a:schemeClr>
                </a:solidFill>
              </a:endParaRPr>
            </a:p>
          </p:txBody>
        </p:sp>
      </p:grpSp>
      <p:grpSp>
        <p:nvGrpSpPr>
          <p:cNvPr id="23" name="群組 22"/>
          <p:cNvGrpSpPr/>
          <p:nvPr/>
        </p:nvGrpSpPr>
        <p:grpSpPr>
          <a:xfrm>
            <a:off x="8295281" y="2117984"/>
            <a:ext cx="4261547" cy="3611902"/>
            <a:chOff x="1728216" y="1972840"/>
            <a:chExt cx="4261546" cy="3611902"/>
          </a:xfrm>
        </p:grpSpPr>
        <p:grpSp>
          <p:nvGrpSpPr>
            <p:cNvPr id="24" name="群組 23"/>
            <p:cNvGrpSpPr/>
            <p:nvPr/>
          </p:nvGrpSpPr>
          <p:grpSpPr>
            <a:xfrm>
              <a:off x="1728216" y="1972840"/>
              <a:ext cx="3602849" cy="3611902"/>
              <a:chOff x="2927648" y="1844824"/>
              <a:chExt cx="3528392" cy="3611902"/>
            </a:xfrm>
          </p:grpSpPr>
          <p:pic>
            <p:nvPicPr>
              <p:cNvPr id="26" name="圖片版面配置區 35"/>
              <p:cNvPicPr>
                <a:picLocks noChangeAspect="1"/>
              </p:cNvPicPr>
              <p:nvPr/>
            </p:nvPicPr>
            <p:blipFill>
              <a:blip r:embed="rId5" cstate="print">
                <a:extLst>
                  <a:ext uri="{28A0092B-C50C-407E-A947-70E740481C1C}">
                    <a14:useLocalDpi xmlns:a14="http://schemas.microsoft.com/office/drawing/2010/main" val="0"/>
                  </a:ext>
                </a:extLst>
              </a:blip>
              <a:srcRect t="7627" b="7627"/>
              <a:stretch>
                <a:fillRect/>
              </a:stretch>
            </p:blipFill>
            <p:spPr>
              <a:xfrm>
                <a:off x="3359696" y="1844824"/>
                <a:ext cx="3096344" cy="2448272"/>
              </a:xfrm>
              <a:prstGeom prst="rect">
                <a:avLst/>
              </a:prstGeom>
            </p:spPr>
          </p:pic>
          <p:pic>
            <p:nvPicPr>
              <p:cNvPr id="27" name="圖片版面配置區 39"/>
              <p:cNvPicPr>
                <a:picLocks noChangeAspect="1"/>
              </p:cNvPicPr>
              <p:nvPr/>
            </p:nvPicPr>
            <p:blipFill>
              <a:blip r:embed="rId6" cstate="print">
                <a:extLst>
                  <a:ext uri="{28A0092B-C50C-407E-A947-70E740481C1C}">
                    <a14:useLocalDpi xmlns:a14="http://schemas.microsoft.com/office/drawing/2010/main" val="0"/>
                  </a:ext>
                </a:extLst>
              </a:blip>
              <a:srcRect t="7627" b="7627"/>
              <a:stretch>
                <a:fillRect/>
              </a:stretch>
            </p:blipFill>
            <p:spPr>
              <a:xfrm>
                <a:off x="2927648" y="3501008"/>
                <a:ext cx="2954617" cy="1955718"/>
              </a:xfrm>
              <a:prstGeom prst="rect">
                <a:avLst/>
              </a:prstGeom>
            </p:spPr>
          </p:pic>
        </p:grpSp>
        <p:sp>
          <p:nvSpPr>
            <p:cNvPr id="25" name="Text Placeholder 4"/>
            <p:cNvSpPr txBox="1">
              <a:spLocks/>
            </p:cNvSpPr>
            <p:nvPr/>
          </p:nvSpPr>
          <p:spPr>
            <a:xfrm>
              <a:off x="4003133" y="3315216"/>
              <a:ext cx="1986629" cy="914400"/>
            </a:xfrm>
            <a:prstGeom prst="rect">
              <a:avLst/>
            </a:prstGeom>
          </p:spPr>
          <p:txBody>
            <a:bodyPr/>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pPr marL="0" indent="0">
                <a:buNone/>
              </a:pPr>
              <a:r>
                <a:rPr lang="en-US" altLang="zh-TW" sz="2800" b="1" dirty="0">
                  <a:solidFill>
                    <a:srgbClr val="7030A0"/>
                  </a:solidFill>
                </a:rPr>
                <a:t>Eastern Taiwan</a:t>
              </a:r>
              <a:endParaRPr lang="en-US" sz="2800" b="1" dirty="0">
                <a:solidFill>
                  <a:srgbClr val="7030A0"/>
                </a:solidFill>
              </a:endParaRPr>
            </a:p>
          </p:txBody>
        </p:sp>
      </p:grpSp>
      <p:grpSp>
        <p:nvGrpSpPr>
          <p:cNvPr id="28" name="群組 27"/>
          <p:cNvGrpSpPr/>
          <p:nvPr/>
        </p:nvGrpSpPr>
        <p:grpSpPr>
          <a:xfrm>
            <a:off x="6753155" y="3486136"/>
            <a:ext cx="3882405" cy="2889872"/>
            <a:chOff x="186087" y="3340992"/>
            <a:chExt cx="3882405" cy="2889872"/>
          </a:xfrm>
        </p:grpSpPr>
        <p:pic>
          <p:nvPicPr>
            <p:cNvPr id="29" name="圖片版面配置區 41"/>
            <p:cNvPicPr>
              <a:picLocks noChangeAspect="1"/>
            </p:cNvPicPr>
            <p:nvPr/>
          </p:nvPicPr>
          <p:blipFill>
            <a:blip r:embed="rId7" cstate="print">
              <a:extLst>
                <a:ext uri="{28A0092B-C50C-407E-A947-70E740481C1C}">
                  <a14:useLocalDpi xmlns:a14="http://schemas.microsoft.com/office/drawing/2010/main" val="0"/>
                </a:ext>
              </a:extLst>
            </a:blip>
            <a:srcRect t="7627" b="7627"/>
            <a:stretch>
              <a:fillRect/>
            </a:stretch>
          </p:blipFill>
          <p:spPr>
            <a:xfrm>
              <a:off x="992298" y="3340992"/>
              <a:ext cx="2673439" cy="1981200"/>
            </a:xfrm>
            <a:prstGeom prst="rect">
              <a:avLst/>
            </a:prstGeom>
          </p:spPr>
        </p:pic>
        <p:pic>
          <p:nvPicPr>
            <p:cNvPr id="30" name="圖片版面配置區 43"/>
            <p:cNvPicPr>
              <a:picLocks noChangeAspect="1"/>
            </p:cNvPicPr>
            <p:nvPr/>
          </p:nvPicPr>
          <p:blipFill>
            <a:blip r:embed="rId8" cstate="print">
              <a:extLst>
                <a:ext uri="{28A0092B-C50C-407E-A947-70E740481C1C}">
                  <a14:useLocalDpi xmlns:a14="http://schemas.microsoft.com/office/drawing/2010/main" val="0"/>
                </a:ext>
              </a:extLst>
            </a:blip>
            <a:srcRect t="7627" b="7627"/>
            <a:stretch>
              <a:fillRect/>
            </a:stretch>
          </p:blipFill>
          <p:spPr>
            <a:xfrm>
              <a:off x="1322015" y="4249664"/>
              <a:ext cx="2746477" cy="1981200"/>
            </a:xfrm>
            <a:prstGeom prst="rect">
              <a:avLst/>
            </a:prstGeom>
          </p:spPr>
        </p:pic>
        <p:sp>
          <p:nvSpPr>
            <p:cNvPr id="31" name="Text Placeholder 18"/>
            <p:cNvSpPr txBox="1">
              <a:spLocks/>
            </p:cNvSpPr>
            <p:nvPr/>
          </p:nvSpPr>
          <p:spPr>
            <a:xfrm>
              <a:off x="186087" y="4430640"/>
              <a:ext cx="1905000" cy="914400"/>
            </a:xfrm>
            <a:prstGeom prst="rect">
              <a:avLst/>
            </a:prstGeom>
          </p:spPr>
          <p:txBody>
            <a:bodyPr>
              <a:noAutofit/>
            </a:bodyPr>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pPr marL="0" indent="0" algn="r">
                <a:buNone/>
              </a:pPr>
              <a:endParaRPr lang="en-US" altLang="zh-TW" sz="2800" b="1" dirty="0">
                <a:solidFill>
                  <a:schemeClr val="accent3">
                    <a:lumMod val="50000"/>
                  </a:schemeClr>
                </a:solidFill>
              </a:endParaRPr>
            </a:p>
            <a:p>
              <a:pPr marL="0" indent="0" algn="r">
                <a:buNone/>
              </a:pPr>
              <a:r>
                <a:rPr lang="en-US" altLang="zh-TW" sz="2800" b="1" dirty="0">
                  <a:solidFill>
                    <a:schemeClr val="accent3">
                      <a:lumMod val="50000"/>
                    </a:schemeClr>
                  </a:solidFill>
                </a:rPr>
                <a:t>Southern Taiwan</a:t>
              </a:r>
              <a:endParaRPr lang="en-US" sz="2800" b="1" dirty="0">
                <a:solidFill>
                  <a:schemeClr val="accent3">
                    <a:lumMod val="50000"/>
                  </a:schemeClr>
                </a:solidFill>
              </a:endParaRPr>
            </a:p>
          </p:txBody>
        </p:sp>
      </p:grpSp>
      <p:sp>
        <p:nvSpPr>
          <p:cNvPr id="35" name="文字方塊 34"/>
          <p:cNvSpPr txBox="1"/>
          <p:nvPr/>
        </p:nvSpPr>
        <p:spPr>
          <a:xfrm>
            <a:off x="450511" y="1692809"/>
            <a:ext cx="5492255" cy="1569660"/>
          </a:xfrm>
          <a:prstGeom prst="rect">
            <a:avLst/>
          </a:prstGeom>
          <a:noFill/>
        </p:spPr>
        <p:txBody>
          <a:bodyPr wrap="square" rtlCol="0">
            <a:spAutoFit/>
          </a:bodyPr>
          <a:lstStyle/>
          <a:p>
            <a:pPr marL="342900" indent="-342900">
              <a:buFont typeface="Arial" panose="020B0604020202020204" pitchFamily="34" charset="0"/>
              <a:buChar char="•"/>
            </a:pPr>
            <a:r>
              <a:rPr lang="en-US" altLang="zh-TW" sz="2400" dirty="0">
                <a:latin typeface="Arial Unicode MS" pitchFamily="34" charset="-120"/>
                <a:ea typeface="Arial Unicode MS" pitchFamily="34" charset="-120"/>
                <a:cs typeface="Arial Unicode MS" pitchFamily="34" charset="-120"/>
              </a:rPr>
              <a:t>Area: 60.0256 km2 (23.1760 </a:t>
            </a:r>
            <a:r>
              <a:rPr lang="en-US" altLang="zh-TW" sz="2400" dirty="0" err="1">
                <a:latin typeface="Arial Unicode MS" pitchFamily="34" charset="-120"/>
                <a:ea typeface="Arial Unicode MS" pitchFamily="34" charset="-120"/>
                <a:cs typeface="Arial Unicode MS" pitchFamily="34" charset="-120"/>
              </a:rPr>
              <a:t>sq</a:t>
            </a:r>
            <a:r>
              <a:rPr lang="en-US" altLang="zh-TW" sz="2400" dirty="0">
                <a:latin typeface="Arial Unicode MS" pitchFamily="34" charset="-120"/>
                <a:ea typeface="Arial Unicode MS" pitchFamily="34" charset="-120"/>
                <a:cs typeface="Arial Unicode MS" pitchFamily="34" charset="-120"/>
              </a:rPr>
              <a:t> mi)</a:t>
            </a:r>
          </a:p>
          <a:p>
            <a:pPr marL="342900" indent="-342900">
              <a:buFont typeface="Arial" panose="020B0604020202020204" pitchFamily="34" charset="0"/>
              <a:buChar char="•"/>
            </a:pPr>
            <a:r>
              <a:rPr lang="en-US" altLang="zh-TW" sz="2400" dirty="0">
                <a:latin typeface="Arial Unicode MS" pitchFamily="34" charset="-120"/>
                <a:ea typeface="Arial Unicode MS" pitchFamily="34" charset="-120"/>
                <a:cs typeface="Arial Unicode MS" pitchFamily="34" charset="-120"/>
              </a:rPr>
              <a:t>Population:</a:t>
            </a:r>
            <a:r>
              <a:rPr lang="zh-TW" altLang="en-US" sz="2400" dirty="0">
                <a:latin typeface="Arial Unicode MS" pitchFamily="34" charset="-120"/>
                <a:ea typeface="Arial Unicode MS" pitchFamily="34" charset="-120"/>
                <a:cs typeface="Arial Unicode MS" pitchFamily="34" charset="-120"/>
              </a:rPr>
              <a:t> </a:t>
            </a:r>
            <a:r>
              <a:rPr lang="en-US" altLang="zh-TW" sz="2400" dirty="0">
                <a:latin typeface="Arial Unicode MS" pitchFamily="34" charset="-120"/>
                <a:ea typeface="Arial Unicode MS" pitchFamily="34" charset="-120"/>
                <a:cs typeface="Arial Unicode MS" pitchFamily="34" charset="-120"/>
              </a:rPr>
              <a:t>270,000 </a:t>
            </a:r>
          </a:p>
          <a:p>
            <a:pPr marL="342900" indent="-342900">
              <a:buFont typeface="Arial" panose="020B0604020202020204" pitchFamily="34" charset="0"/>
              <a:buChar char="•"/>
            </a:pPr>
            <a:r>
              <a:rPr lang="en-US" altLang="zh-TW" sz="2400" dirty="0">
                <a:latin typeface="Arial Unicode MS" pitchFamily="34" charset="-120"/>
                <a:ea typeface="Arial Unicode MS" pitchFamily="34" charset="-120"/>
                <a:cs typeface="Arial Unicode MS" pitchFamily="34" charset="-120"/>
              </a:rPr>
              <a:t>Climate: Moderate</a:t>
            </a:r>
          </a:p>
          <a:p>
            <a:pPr marL="342900" indent="-342900">
              <a:buFont typeface="Arial" panose="020B0604020202020204" pitchFamily="34" charset="0"/>
              <a:buChar char="•"/>
            </a:pPr>
            <a:r>
              <a:rPr lang="en-US" altLang="zh-TW" sz="2400" dirty="0">
                <a:latin typeface="Arial Unicode MS" pitchFamily="34" charset="-120"/>
                <a:ea typeface="Arial Unicode MS" pitchFamily="34" charset="-120"/>
                <a:cs typeface="Arial Unicode MS" pitchFamily="34" charset="-120"/>
              </a:rPr>
              <a:t>Famous Local Cuisine: Turkey Rice</a:t>
            </a:r>
          </a:p>
        </p:txBody>
      </p:sp>
      <p:grpSp>
        <p:nvGrpSpPr>
          <p:cNvPr id="40" name="群組 39"/>
          <p:cNvGrpSpPr/>
          <p:nvPr/>
        </p:nvGrpSpPr>
        <p:grpSpPr>
          <a:xfrm>
            <a:off x="450509" y="-2244"/>
            <a:ext cx="4278051" cy="1193022"/>
            <a:chOff x="159038" y="-1"/>
            <a:chExt cx="4460199" cy="1346793"/>
          </a:xfrm>
          <a:solidFill>
            <a:schemeClr val="accent3">
              <a:lumMod val="75000"/>
            </a:schemeClr>
          </a:solidFill>
        </p:grpSpPr>
        <p:sp>
          <p:nvSpPr>
            <p:cNvPr id="38" name="矩形 37"/>
            <p:cNvSpPr/>
            <p:nvPr/>
          </p:nvSpPr>
          <p:spPr>
            <a:xfrm>
              <a:off x="272089" y="415436"/>
              <a:ext cx="4347148" cy="931356"/>
            </a:xfrm>
            <a:prstGeom prst="rect">
              <a:avLst/>
            </a:prstGeom>
            <a:grpFill/>
            <a:ln>
              <a:noFill/>
            </a:ln>
            <a:effectLst>
              <a:outerShdw blurRad="50800" dist="50800" dir="5400000" sx="54000" sy="54000" algn="ctr" rotWithShape="0">
                <a:srgbClr val="000000">
                  <a:alpha val="99000"/>
                </a:srgbClr>
              </a:outerShdw>
            </a:effectLst>
          </p:spPr>
          <p:style>
            <a:lnRef idx="1">
              <a:schemeClr val="accent3"/>
            </a:lnRef>
            <a:fillRef idx="2">
              <a:schemeClr val="accent3"/>
            </a:fillRef>
            <a:effectRef idx="1">
              <a:schemeClr val="accent3"/>
            </a:effectRef>
            <a:fontRef idx="minor">
              <a:schemeClr val="dk1"/>
            </a:fontRef>
          </p:style>
          <p:txBody>
            <a:bodyPr rtlCol="0" anchor="ctr"/>
            <a:lstStyle/>
            <a:p>
              <a:pPr algn="ctr"/>
              <a:r>
                <a:rPr lang="en-US" altLang="zh-TW" sz="4000" b="1" dirty="0">
                  <a:solidFill>
                    <a:schemeClr val="bg1"/>
                  </a:solidFill>
                </a:rPr>
                <a:t>About Chiayi</a:t>
              </a:r>
              <a:endParaRPr lang="zh-TW" altLang="en-US" sz="4000" b="1" dirty="0">
                <a:solidFill>
                  <a:schemeClr val="bg1"/>
                </a:solidFill>
              </a:endParaRPr>
            </a:p>
          </p:txBody>
        </p:sp>
        <p:sp>
          <p:nvSpPr>
            <p:cNvPr id="39" name="矩形 38"/>
            <p:cNvSpPr/>
            <p:nvPr/>
          </p:nvSpPr>
          <p:spPr>
            <a:xfrm>
              <a:off x="159038" y="-1"/>
              <a:ext cx="113051" cy="1343751"/>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grpSp>
        <p:nvGrpSpPr>
          <p:cNvPr id="9" name="群組 8"/>
          <p:cNvGrpSpPr/>
          <p:nvPr/>
        </p:nvGrpSpPr>
        <p:grpSpPr>
          <a:xfrm>
            <a:off x="893041" y="3801900"/>
            <a:ext cx="7777095" cy="2850777"/>
            <a:chOff x="893039" y="3801896"/>
            <a:chExt cx="7777094" cy="2850777"/>
          </a:xfrm>
        </p:grpSpPr>
        <p:pic>
          <p:nvPicPr>
            <p:cNvPr id="3" name="圖片 2"/>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3039" y="4064444"/>
              <a:ext cx="4378292" cy="2588229"/>
            </a:xfrm>
            <a:prstGeom prst="rect">
              <a:avLst/>
            </a:prstGeom>
            <a:solidFill>
              <a:schemeClr val="accent3">
                <a:lumMod val="50000"/>
              </a:schemeClr>
            </a:solidFill>
            <a:ln>
              <a:noFill/>
            </a:ln>
          </p:spPr>
        </p:pic>
        <p:pic>
          <p:nvPicPr>
            <p:cNvPr id="15" name="圖片 14"/>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3347552" y="5183379"/>
              <a:ext cx="1923779" cy="1469294"/>
            </a:xfrm>
            <a:prstGeom prst="rect">
              <a:avLst/>
            </a:prstGeom>
          </p:spPr>
        </p:pic>
        <p:grpSp>
          <p:nvGrpSpPr>
            <p:cNvPr id="8" name="群組 7"/>
            <p:cNvGrpSpPr/>
            <p:nvPr/>
          </p:nvGrpSpPr>
          <p:grpSpPr>
            <a:xfrm>
              <a:off x="893039" y="3801896"/>
              <a:ext cx="7777094" cy="2850777"/>
              <a:chOff x="893039" y="3801896"/>
              <a:chExt cx="7777094" cy="2850777"/>
            </a:xfrm>
          </p:grpSpPr>
          <p:cxnSp>
            <p:nvCxnSpPr>
              <p:cNvPr id="6" name="直線接點 5"/>
              <p:cNvCxnSpPr/>
              <p:nvPr/>
            </p:nvCxnSpPr>
            <p:spPr>
              <a:xfrm flipV="1">
                <a:off x="5271331" y="3801896"/>
                <a:ext cx="3356160" cy="262548"/>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直線接點 35"/>
              <p:cNvCxnSpPr/>
              <p:nvPr/>
            </p:nvCxnSpPr>
            <p:spPr>
              <a:xfrm flipV="1">
                <a:off x="5271331" y="3837654"/>
                <a:ext cx="3398802" cy="2815019"/>
              </a:xfrm>
              <a:prstGeom prst="line">
                <a:avLst/>
              </a:prstGeom>
            </p:spPr>
            <p:style>
              <a:lnRef idx="1">
                <a:schemeClr val="accent3"/>
              </a:lnRef>
              <a:fillRef idx="0">
                <a:schemeClr val="accent3"/>
              </a:fillRef>
              <a:effectRef idx="0">
                <a:schemeClr val="accent3"/>
              </a:effectRef>
              <a:fontRef idx="minor">
                <a:schemeClr val="tx1"/>
              </a:fontRef>
            </p:style>
          </p:cxnSp>
          <p:cxnSp>
            <p:nvCxnSpPr>
              <p:cNvPr id="41" name="直線接點 40"/>
              <p:cNvCxnSpPr/>
              <p:nvPr/>
            </p:nvCxnSpPr>
            <p:spPr>
              <a:xfrm flipV="1">
                <a:off x="893039" y="3835987"/>
                <a:ext cx="7674710" cy="228457"/>
              </a:xfrm>
              <a:prstGeom prst="line">
                <a:avLst/>
              </a:prstGeom>
              <a:ln>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grpSp>
      </p:grpSp>
      <p:sp>
        <p:nvSpPr>
          <p:cNvPr id="44" name="橢圓 43"/>
          <p:cNvSpPr/>
          <p:nvPr/>
        </p:nvSpPr>
        <p:spPr>
          <a:xfrm>
            <a:off x="8589125" y="3685535"/>
            <a:ext cx="232192" cy="217985"/>
          </a:xfrm>
          <a:prstGeom prst="ellipse">
            <a:avLst/>
          </a:prstGeom>
        </p:spPr>
        <p:style>
          <a:lnRef idx="0">
            <a:schemeClr val="accent6"/>
          </a:lnRef>
          <a:fillRef idx="3">
            <a:schemeClr val="accent6"/>
          </a:fillRef>
          <a:effectRef idx="3">
            <a:schemeClr val="accent6"/>
          </a:effectRef>
          <a:fontRef idx="minor">
            <a:schemeClr val="lt1"/>
          </a:fontRef>
        </p:style>
        <p:txBody>
          <a:bodyPr rtlCol="0" anchor="ctr"/>
          <a:lstStyle/>
          <a:p>
            <a:pPr algn="ctr"/>
            <a:endParaRPr lang="zh-TW" altLang="en-US"/>
          </a:p>
        </p:txBody>
      </p:sp>
    </p:spTree>
    <p:extLst>
      <p:ext uri="{BB962C8B-B14F-4D97-AF65-F5344CB8AC3E}">
        <p14:creationId xmlns:p14="http://schemas.microsoft.com/office/powerpoint/2010/main" val="1364837197"/>
      </p:ext>
    </p:extLst>
  </p:cSld>
  <p:clrMapOvr>
    <a:masterClrMapping/>
  </p:clrMapOvr>
  <mc:AlternateContent xmlns:mc="http://schemas.openxmlformats.org/markup-compatibility/2006" xmlns:p14="http://schemas.microsoft.com/office/powerpoint/2010/main">
    <mc:Choice Requires="p14">
      <p:transition p14:dur="250" advClick="0" advTm="15000">
        <p:circle/>
      </p:transition>
    </mc:Choice>
    <mc:Fallback xmlns="">
      <p:transition advClick="0" advTm="15000">
        <p:circl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圖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92170" y="2307103"/>
            <a:ext cx="2869809" cy="2020046"/>
          </a:xfrm>
          <a:prstGeom prst="rect">
            <a:avLst/>
          </a:prstGeom>
        </p:spPr>
      </p:pic>
      <p:pic>
        <p:nvPicPr>
          <p:cNvPr id="10" name="圖片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56455" y="2307103"/>
            <a:ext cx="2620261" cy="2020046"/>
          </a:xfrm>
          <a:prstGeom prst="rect">
            <a:avLst/>
          </a:prstGeom>
        </p:spPr>
      </p:pic>
      <p:pic>
        <p:nvPicPr>
          <p:cNvPr id="3" name="圖片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grpSp>
        <p:nvGrpSpPr>
          <p:cNvPr id="2" name="群組 1"/>
          <p:cNvGrpSpPr/>
          <p:nvPr/>
        </p:nvGrpSpPr>
        <p:grpSpPr>
          <a:xfrm>
            <a:off x="0" y="0"/>
            <a:ext cx="12192000" cy="6858000"/>
            <a:chOff x="0" y="0"/>
            <a:chExt cx="12192000" cy="6858000"/>
          </a:xfrm>
        </p:grpSpPr>
        <p:pic>
          <p:nvPicPr>
            <p:cNvPr id="5" name="圖片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0" y="0"/>
              <a:ext cx="2872336" cy="1914890"/>
            </a:xfrm>
            <a:prstGeom prst="rect">
              <a:avLst/>
            </a:prstGeom>
          </p:spPr>
        </p:pic>
        <p:pic>
          <p:nvPicPr>
            <p:cNvPr id="4" name="圖片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89354" y="0"/>
              <a:ext cx="2869809" cy="1914890"/>
            </a:xfrm>
            <a:prstGeom prst="rect">
              <a:avLst/>
            </a:prstGeom>
          </p:spPr>
        </p:pic>
        <p:pic>
          <p:nvPicPr>
            <p:cNvPr id="7" name="圖片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91516" y="0"/>
              <a:ext cx="2620261" cy="1914890"/>
            </a:xfrm>
            <a:prstGeom prst="rect">
              <a:avLst/>
            </a:prstGeom>
          </p:spPr>
        </p:pic>
        <p:pic>
          <p:nvPicPr>
            <p:cNvPr id="8" name="圖片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9328613" y="0"/>
              <a:ext cx="2863387" cy="1914890"/>
            </a:xfrm>
            <a:prstGeom prst="rect">
              <a:avLst/>
            </a:prstGeom>
          </p:spPr>
        </p:pic>
        <p:pic>
          <p:nvPicPr>
            <p:cNvPr id="6" name="圖片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0" y="2176122"/>
              <a:ext cx="2872336" cy="2020046"/>
            </a:xfrm>
            <a:prstGeom prst="rect">
              <a:avLst/>
            </a:prstGeom>
          </p:spPr>
        </p:pic>
        <p:pic>
          <p:nvPicPr>
            <p:cNvPr id="14" name="圖片 1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0" y="4740812"/>
              <a:ext cx="2872336" cy="2117188"/>
            </a:xfrm>
            <a:prstGeom prst="rect">
              <a:avLst/>
            </a:prstGeom>
          </p:spPr>
        </p:pic>
        <p:pic>
          <p:nvPicPr>
            <p:cNvPr id="15" name="圖片 1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189354" y="4719362"/>
              <a:ext cx="2869809" cy="2120705"/>
            </a:xfrm>
            <a:prstGeom prst="rect">
              <a:avLst/>
            </a:prstGeom>
          </p:spPr>
        </p:pic>
        <p:pic>
          <p:nvPicPr>
            <p:cNvPr id="16" name="圖片 15"/>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384532" y="4699082"/>
              <a:ext cx="2627245" cy="2140985"/>
            </a:xfrm>
            <a:prstGeom prst="rect">
              <a:avLst/>
            </a:prstGeom>
          </p:spPr>
        </p:pic>
        <p:pic>
          <p:nvPicPr>
            <p:cNvPr id="11" name="圖片 1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9395687" y="2176122"/>
              <a:ext cx="2796313" cy="2020046"/>
            </a:xfrm>
            <a:prstGeom prst="rect">
              <a:avLst/>
            </a:prstGeom>
          </p:spPr>
        </p:pic>
        <p:pic>
          <p:nvPicPr>
            <p:cNvPr id="13" name="圖片 1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9907578" y="4494628"/>
              <a:ext cx="1772529" cy="2363372"/>
            </a:xfrm>
            <a:prstGeom prst="rect">
              <a:avLst/>
            </a:prstGeom>
          </p:spPr>
        </p:pic>
      </p:grpSp>
      <p:sp>
        <p:nvSpPr>
          <p:cNvPr id="17" name="文字方塊 16"/>
          <p:cNvSpPr txBox="1"/>
          <p:nvPr/>
        </p:nvSpPr>
        <p:spPr>
          <a:xfrm>
            <a:off x="1509654" y="1747318"/>
            <a:ext cx="9099023" cy="3108543"/>
          </a:xfrm>
          <a:prstGeom prst="rect">
            <a:avLst/>
          </a:prstGeom>
          <a:solidFill>
            <a:schemeClr val="bg1">
              <a:lumMod val="95000"/>
              <a:alpha val="81000"/>
            </a:schemeClr>
          </a:solidFill>
        </p:spPr>
        <p:txBody>
          <a:bodyPr wrap="square" rtlCol="0">
            <a:spAutoFit/>
          </a:bodyPr>
          <a:lstStyle/>
          <a:p>
            <a:pPr algn="just"/>
            <a:r>
              <a:rPr lang="en-US" altLang="zh-TW" sz="2800" dirty="0">
                <a:solidFill>
                  <a:schemeClr val="accent4">
                    <a:lumMod val="50000"/>
                  </a:schemeClr>
                </a:solidFill>
                <a:effectLst>
                  <a:outerShdw blurRad="38100" dist="38100" dir="2700000" algn="tl">
                    <a:srgbClr val="000000">
                      <a:alpha val="43137"/>
                    </a:srgbClr>
                  </a:outerShdw>
                </a:effectLst>
                <a:latin typeface="Arial Unicode MS" pitchFamily="34" charset="-120"/>
                <a:ea typeface="Arial Unicode MS" pitchFamily="34" charset="-120"/>
                <a:cs typeface="Arial Unicode MS" pitchFamily="34" charset="-120"/>
              </a:rPr>
              <a:t>Chiayi City is about 270,000 population. You will find its’ historical depth and marvelous stories while you are getting familiar with this city. It is easy to find the historical traces from buildings and museums. All left for you to discover. The city is also the entrance to Mount A-Li which lead to the breath-taking sceneries you would dream to see. </a:t>
            </a:r>
            <a:endParaRPr lang="zh-TW" altLang="en-US" sz="2800" dirty="0">
              <a:solidFill>
                <a:schemeClr val="accent4">
                  <a:lumMod val="50000"/>
                </a:schemeClr>
              </a:solidFill>
              <a:effectLst>
                <a:outerShdw blurRad="38100" dist="38100" dir="2700000" algn="tl">
                  <a:srgbClr val="000000">
                    <a:alpha val="43137"/>
                  </a:srgbClr>
                </a:outerShdw>
              </a:effectLst>
              <a:latin typeface="Arial Unicode MS" pitchFamily="34" charset="-120"/>
              <a:ea typeface="Arial Unicode MS" pitchFamily="34" charset="-120"/>
              <a:cs typeface="Arial Unicode MS" pitchFamily="34" charset="-120"/>
            </a:endParaRPr>
          </a:p>
        </p:txBody>
      </p:sp>
    </p:spTree>
    <p:extLst>
      <p:ext uri="{BB962C8B-B14F-4D97-AF65-F5344CB8AC3E}">
        <p14:creationId xmlns:p14="http://schemas.microsoft.com/office/powerpoint/2010/main" val="3609105873"/>
      </p:ext>
    </p:extLst>
  </p:cSld>
  <p:clrMapOvr>
    <a:masterClrMapping/>
  </p:clrMapOvr>
  <mc:AlternateContent xmlns:mc="http://schemas.openxmlformats.org/markup-compatibility/2006" xmlns:p14="http://schemas.microsoft.com/office/powerpoint/2010/main">
    <mc:Choice Requires="p14">
      <p:transition spd="slow" p14:dur="800" advClick="0" advTm="14000">
        <p14:flythrough/>
      </p:transition>
    </mc:Choice>
    <mc:Fallback xmlns="">
      <p:transition spd="slow" advClick="0" advTm="1400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4" cstate="print">
            <a:lum/>
          </a:blip>
          <a:srcRect/>
          <a:stretch>
            <a:fillRect/>
          </a:stretch>
        </a:blipFill>
        <a:effectLst/>
      </p:bgPr>
    </p:bg>
    <p:spTree>
      <p:nvGrpSpPr>
        <p:cNvPr id="1" name=""/>
        <p:cNvGrpSpPr/>
        <p:nvPr/>
      </p:nvGrpSpPr>
      <p:grpSpPr>
        <a:xfrm>
          <a:off x="0" y="0"/>
          <a:ext cx="0" cy="0"/>
          <a:chOff x="0" y="0"/>
          <a:chExt cx="0" cy="0"/>
        </a:xfrm>
      </p:grpSpPr>
      <p:sp>
        <p:nvSpPr>
          <p:cNvPr id="33" name="文字方塊 32"/>
          <p:cNvSpPr txBox="1"/>
          <p:nvPr/>
        </p:nvSpPr>
        <p:spPr>
          <a:xfrm>
            <a:off x="357187" y="2641917"/>
            <a:ext cx="4351093" cy="3785652"/>
          </a:xfrm>
          <a:prstGeom prst="rect">
            <a:avLst/>
          </a:prstGeom>
          <a:solidFill>
            <a:schemeClr val="bg1">
              <a:alpha val="44000"/>
            </a:schemeClr>
          </a:solidFill>
        </p:spPr>
        <p:txBody>
          <a:bodyPr wrap="square" rtlCol="0">
            <a:spAutoFit/>
          </a:bodyPr>
          <a:lstStyle/>
          <a:p>
            <a:r>
              <a:rPr lang="en-US" altLang="zh-TW" sz="3200" b="1" dirty="0" err="1">
                <a:solidFill>
                  <a:srgbClr val="000000"/>
                </a:solidFill>
              </a:rPr>
              <a:t>Alishan</a:t>
            </a:r>
            <a:r>
              <a:rPr lang="en-US" altLang="zh-TW" sz="3200" b="1" dirty="0">
                <a:solidFill>
                  <a:srgbClr val="000000"/>
                </a:solidFill>
              </a:rPr>
              <a:t> National Scenic Area</a:t>
            </a:r>
          </a:p>
          <a:p>
            <a:r>
              <a:rPr lang="en-US" altLang="zh-TW" sz="2400" dirty="0">
                <a:solidFill>
                  <a:srgbClr val="000000"/>
                </a:solidFill>
              </a:rPr>
              <a:t>This area includes, among other things, mountain wilderness, waterfalls, the Alishan Forest Railway. The area is well known for its sunrises, and on a suitable morning one can observe the sun come up on a sea of clouds.</a:t>
            </a:r>
            <a:endParaRPr lang="zh-TW" altLang="en-US" sz="2400" dirty="0">
              <a:solidFill>
                <a:srgbClr val="000000"/>
              </a:solidFill>
            </a:endParaRPr>
          </a:p>
        </p:txBody>
      </p:sp>
    </p:spTree>
    <p:custDataLst>
      <p:tags r:id="rId1"/>
    </p:custDataLst>
    <p:extLst>
      <p:ext uri="{BB962C8B-B14F-4D97-AF65-F5344CB8AC3E}">
        <p14:creationId xmlns:p14="http://schemas.microsoft.com/office/powerpoint/2010/main" val="825747363"/>
      </p:ext>
    </p:extLst>
  </p:cSld>
  <p:clrMapOvr>
    <a:masterClrMapping/>
  </p:clrMapOvr>
  <mc:AlternateContent xmlns:mc="http://schemas.openxmlformats.org/markup-compatibility/2006" xmlns:p14="http://schemas.microsoft.com/office/powerpoint/2010/main">
    <mc:Choice Requires="p14">
      <p:transition spd="slow" p14:dur="1250" advClick="0" advTm="9000">
        <p14:switch dir="r"/>
      </p:transition>
    </mc:Choice>
    <mc:Fallback xmlns="">
      <p:transition spd="slow" advClick="0" advTm="900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6000" t="-17000" b="-17000"/>
          </a:stretch>
        </a:blipFill>
        <a:effectLst/>
      </p:bgPr>
    </p:bg>
    <p:spTree>
      <p:nvGrpSpPr>
        <p:cNvPr id="1" name=""/>
        <p:cNvGrpSpPr/>
        <p:nvPr/>
      </p:nvGrpSpPr>
      <p:grpSpPr>
        <a:xfrm>
          <a:off x="0" y="0"/>
          <a:ext cx="0" cy="0"/>
          <a:chOff x="0" y="0"/>
          <a:chExt cx="0" cy="0"/>
        </a:xfrm>
      </p:grpSpPr>
      <p:pic>
        <p:nvPicPr>
          <p:cNvPr id="5" name="圖片 4"/>
          <p:cNvPicPr>
            <a:picLocks noChangeAspect="1"/>
          </p:cNvPicPr>
          <p:nvPr/>
        </p:nvPicPr>
        <p:blipFill>
          <a:blip r:embed="rId3" cstate="print"/>
          <a:stretch>
            <a:fillRect/>
          </a:stretch>
        </p:blipFill>
        <p:spPr>
          <a:xfrm>
            <a:off x="10160000" y="1721580"/>
            <a:ext cx="1295400" cy="1119030"/>
          </a:xfrm>
          <a:prstGeom prst="rect">
            <a:avLst/>
          </a:prstGeom>
        </p:spPr>
      </p:pic>
      <p:sp>
        <p:nvSpPr>
          <p:cNvPr id="6" name="Text Box 5"/>
          <p:cNvSpPr txBox="1">
            <a:spLocks noChangeArrowheads="1"/>
          </p:cNvSpPr>
          <p:nvPr/>
        </p:nvSpPr>
        <p:spPr bwMode="auto">
          <a:xfrm>
            <a:off x="2387617" y="778510"/>
            <a:ext cx="7994635" cy="29854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scene3d>
              <a:camera prst="orthographicFront"/>
              <a:lightRig rig="threePt" dir="t"/>
            </a:scene3d>
            <a:sp3d extrusionH="57150" contourW="12700">
              <a:extrusionClr>
                <a:schemeClr val="accent5">
                  <a:lumMod val="50000"/>
                </a:schemeClr>
              </a:extrusionClr>
              <a:contourClr>
                <a:schemeClr val="bg1"/>
              </a:contourClr>
            </a:sp3d>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ea typeface="新細明體" panose="02020500000000000000" pitchFamily="18" charset="-12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ea typeface="新細明體" panose="02020500000000000000" pitchFamily="18" charset="-12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ea typeface="新細明體" panose="02020500000000000000" pitchFamily="18" charset="-12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ea typeface="新細明體" panose="02020500000000000000" pitchFamily="18" charset="-120"/>
              </a:defRPr>
            </a:lvl9pPr>
          </a:lstStyle>
          <a:p>
            <a:pPr eaLnBrk="1" hangingPunct="1">
              <a:spcBef>
                <a:spcPct val="50000"/>
              </a:spcBef>
              <a:buFontTx/>
              <a:buNone/>
            </a:pPr>
            <a:r>
              <a:rPr lang="en-US" altLang="zh-TW" sz="4400" b="1" i="1" dirty="0">
                <a:effectLst>
                  <a:outerShdw blurRad="38100" dist="38100" dir="2700000" algn="tl">
                    <a:srgbClr val="000000">
                      <a:alpha val="43137"/>
                    </a:srgbClr>
                  </a:outerShdw>
                </a:effectLst>
                <a:latin typeface="Arial" panose="020B0604020202020204" pitchFamily="34" charset="0"/>
                <a:ea typeface="Arial Unicode MS" panose="020B0604020202020204" pitchFamily="34" charset="-120"/>
              </a:rPr>
              <a:t>N</a:t>
            </a:r>
            <a:r>
              <a:rPr lang="en-US" altLang="zh-TW" sz="3600" b="1" i="1" dirty="0">
                <a:effectLst>
                  <a:outerShdw blurRad="38100" dist="38100" dir="2700000" algn="tl">
                    <a:srgbClr val="000000">
                      <a:alpha val="43137"/>
                    </a:srgbClr>
                  </a:outerShdw>
                </a:effectLst>
                <a:latin typeface="Arial" panose="020B0604020202020204" pitchFamily="34" charset="0"/>
                <a:ea typeface="Arial Unicode MS" panose="020B0604020202020204" pitchFamily="34" charset="-120"/>
              </a:rPr>
              <a:t>ational </a:t>
            </a:r>
            <a:r>
              <a:rPr lang="en-US" altLang="zh-TW" sz="4400" b="1" i="1" dirty="0" err="1">
                <a:effectLst>
                  <a:outerShdw blurRad="38100" dist="38100" dir="2700000" algn="tl">
                    <a:srgbClr val="000000">
                      <a:alpha val="43137"/>
                    </a:srgbClr>
                  </a:outerShdw>
                </a:effectLst>
                <a:latin typeface="Arial" panose="020B0604020202020204" pitchFamily="34" charset="0"/>
                <a:ea typeface="Arial Unicode MS" panose="020B0604020202020204" pitchFamily="34" charset="-120"/>
              </a:rPr>
              <a:t>C</a:t>
            </a:r>
            <a:r>
              <a:rPr lang="en-US" altLang="zh-TW" sz="3600" b="1" i="1" dirty="0" err="1">
                <a:effectLst>
                  <a:outerShdw blurRad="38100" dist="38100" dir="2700000" algn="tl">
                    <a:srgbClr val="000000">
                      <a:alpha val="43137"/>
                    </a:srgbClr>
                  </a:outerShdw>
                </a:effectLst>
                <a:latin typeface="Arial" panose="020B0604020202020204" pitchFamily="34" charset="0"/>
                <a:ea typeface="Arial Unicode MS" panose="020B0604020202020204" pitchFamily="34" charset="-120"/>
              </a:rPr>
              <a:t>hiayi</a:t>
            </a:r>
            <a:r>
              <a:rPr lang="en-US" altLang="zh-TW" sz="3600" b="1" i="1" dirty="0">
                <a:effectLst>
                  <a:outerShdw blurRad="38100" dist="38100" dir="2700000" algn="tl">
                    <a:srgbClr val="000000">
                      <a:alpha val="43137"/>
                    </a:srgbClr>
                  </a:outerShdw>
                </a:effectLst>
                <a:latin typeface="Arial" panose="020B0604020202020204" pitchFamily="34" charset="0"/>
                <a:ea typeface="Arial Unicode MS" panose="020B0604020202020204" pitchFamily="34" charset="-120"/>
              </a:rPr>
              <a:t> </a:t>
            </a:r>
            <a:r>
              <a:rPr lang="en-US" altLang="zh-TW" sz="4400" b="1" i="1" dirty="0">
                <a:effectLst>
                  <a:outerShdw blurRad="38100" dist="38100" dir="2700000" algn="tl">
                    <a:srgbClr val="000000">
                      <a:alpha val="43137"/>
                    </a:srgbClr>
                  </a:outerShdw>
                </a:effectLst>
                <a:latin typeface="Arial" panose="020B0604020202020204" pitchFamily="34" charset="0"/>
                <a:ea typeface="Arial Unicode MS" panose="020B0604020202020204" pitchFamily="34" charset="-120"/>
              </a:rPr>
              <a:t>U</a:t>
            </a:r>
            <a:r>
              <a:rPr lang="en-US" altLang="zh-TW" sz="3600" b="1" i="1" dirty="0">
                <a:effectLst>
                  <a:outerShdw blurRad="38100" dist="38100" dir="2700000" algn="tl">
                    <a:srgbClr val="000000">
                      <a:alpha val="43137"/>
                    </a:srgbClr>
                  </a:outerShdw>
                </a:effectLst>
                <a:latin typeface="Arial" panose="020B0604020202020204" pitchFamily="34" charset="0"/>
                <a:ea typeface="Arial Unicode MS" panose="020B0604020202020204" pitchFamily="34" charset="-120"/>
              </a:rPr>
              <a:t>niversity (NCYU)</a:t>
            </a:r>
          </a:p>
          <a:p>
            <a:pPr marL="342900" indent="-342900" eaLnBrk="1" hangingPunct="1">
              <a:spcBef>
                <a:spcPct val="50000"/>
              </a:spcBef>
              <a:buFontTx/>
              <a:buChar char="-"/>
            </a:pPr>
            <a:r>
              <a:rPr lang="en-US" altLang="zh-TW" sz="2400" i="1" dirty="0">
                <a:solidFill>
                  <a:schemeClr val="bg1"/>
                </a:solidFill>
                <a:effectLst>
                  <a:outerShdw blurRad="38100" dist="38100" dir="2700000" algn="tl">
                    <a:srgbClr val="000000">
                      <a:alpha val="43137"/>
                    </a:srgbClr>
                  </a:outerShdw>
                </a:effectLst>
                <a:latin typeface="Arial" panose="020B0604020202020204" pitchFamily="34" charset="0"/>
                <a:ea typeface="Arial Unicode MS" panose="020B0604020202020204" pitchFamily="34" charset="-120"/>
              </a:rPr>
              <a:t>A comprehensive university was first established in 1919.</a:t>
            </a:r>
          </a:p>
          <a:p>
            <a:pPr marL="342900" indent="-342900" eaLnBrk="1" hangingPunct="1">
              <a:spcBef>
                <a:spcPct val="50000"/>
              </a:spcBef>
              <a:buFontTx/>
              <a:buChar char="-"/>
            </a:pPr>
            <a:r>
              <a:rPr lang="en-US" altLang="zh-TW" sz="2400" i="1" dirty="0">
                <a:solidFill>
                  <a:schemeClr val="bg1"/>
                </a:solidFill>
                <a:effectLst>
                  <a:outerShdw blurRad="38100" dist="38100" dir="2700000" algn="tl">
                    <a:srgbClr val="000000">
                      <a:alpha val="43137"/>
                    </a:srgbClr>
                  </a:outerShdw>
                </a:effectLst>
                <a:latin typeface="Arial" panose="020B0604020202020204" pitchFamily="34" charset="0"/>
                <a:ea typeface="Arial Unicode MS" panose="020B0604020202020204" pitchFamily="34" charset="-120"/>
              </a:rPr>
              <a:t> Located at the largest </a:t>
            </a:r>
            <a:r>
              <a:rPr lang="en-US" altLang="zh-TW" sz="2400" i="1" dirty="0" err="1">
                <a:solidFill>
                  <a:schemeClr val="bg1"/>
                </a:solidFill>
                <a:effectLst>
                  <a:outerShdw blurRad="38100" dist="38100" dir="2700000" algn="tl">
                    <a:srgbClr val="000000">
                      <a:alpha val="43137"/>
                    </a:srgbClr>
                  </a:outerShdw>
                </a:effectLst>
                <a:latin typeface="Arial" panose="020B0604020202020204" pitchFamily="34" charset="0"/>
                <a:ea typeface="Arial Unicode MS" panose="020B0604020202020204" pitchFamily="34" charset="-120"/>
              </a:rPr>
              <a:t>agro</a:t>
            </a:r>
            <a:r>
              <a:rPr lang="en-US" altLang="zh-TW" sz="2400" i="1" dirty="0">
                <a:solidFill>
                  <a:schemeClr val="bg1"/>
                </a:solidFill>
                <a:effectLst>
                  <a:outerShdw blurRad="38100" dist="38100" dir="2700000" algn="tl">
                    <a:srgbClr val="000000">
                      <a:alpha val="43137"/>
                    </a:srgbClr>
                  </a:outerShdw>
                </a:effectLst>
                <a:latin typeface="Arial" panose="020B0604020202020204" pitchFamily="34" charset="0"/>
                <a:ea typeface="Arial Unicode MS" panose="020B0604020202020204" pitchFamily="34" charset="-120"/>
              </a:rPr>
              <a:t>-food production area in Taiwan and under the well-known Mount A-Li, also known as Alishan.</a:t>
            </a:r>
          </a:p>
        </p:txBody>
      </p:sp>
    </p:spTree>
    <p:extLst>
      <p:ext uri="{BB962C8B-B14F-4D97-AF65-F5344CB8AC3E}">
        <p14:creationId xmlns:p14="http://schemas.microsoft.com/office/powerpoint/2010/main" val="547458872"/>
      </p:ext>
    </p:extLst>
  </p:cSld>
  <p:clrMapOvr>
    <a:masterClrMapping/>
  </p:clrMapOvr>
  <mc:AlternateContent xmlns:mc="http://schemas.openxmlformats.org/markup-compatibility/2006" xmlns:p14="http://schemas.microsoft.com/office/powerpoint/2010/main">
    <mc:Choice Requires="p14">
      <p:transition spd="slow" p14:dur="1400" advClick="0" advTm="7000">
        <p14:doors dir="vert"/>
      </p:transition>
    </mc:Choice>
    <mc:Fallback xmlns="">
      <p:transition spd="slow" advClick="0" advTm="700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3000" t="-21000" r="-2000" b="-18000"/>
          </a:stretch>
        </a:blipFill>
        <a:effectLst/>
      </p:bgPr>
    </p:bg>
    <p:spTree>
      <p:nvGrpSpPr>
        <p:cNvPr id="1" name=""/>
        <p:cNvGrpSpPr/>
        <p:nvPr/>
      </p:nvGrpSpPr>
      <p:grpSpPr>
        <a:xfrm>
          <a:off x="0" y="0"/>
          <a:ext cx="0" cy="0"/>
          <a:chOff x="0" y="0"/>
          <a:chExt cx="0" cy="0"/>
        </a:xfrm>
      </p:grpSpPr>
      <p:sp>
        <p:nvSpPr>
          <p:cNvPr id="22" name="Text Box 10"/>
          <p:cNvSpPr txBox="1">
            <a:spLocks noChangeArrowheads="1"/>
          </p:cNvSpPr>
          <p:nvPr/>
        </p:nvSpPr>
        <p:spPr bwMode="auto">
          <a:xfrm>
            <a:off x="2824047" y="358592"/>
            <a:ext cx="6500754"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Times" pitchFamily="18" charset="0"/>
                <a:ea typeface="ＭＳ Ｐゴシック" pitchFamily="31" charset="-128"/>
              </a:defRPr>
            </a:lvl1pPr>
            <a:lvl2pPr marL="742950" indent="-285750">
              <a:defRPr sz="2400">
                <a:solidFill>
                  <a:schemeClr val="tx1"/>
                </a:solidFill>
                <a:latin typeface="Times" pitchFamily="18" charset="0"/>
                <a:ea typeface="ＭＳ Ｐゴシック" pitchFamily="31" charset="-128"/>
              </a:defRPr>
            </a:lvl2pPr>
            <a:lvl3pPr marL="1143000" indent="-228600">
              <a:defRPr sz="2400">
                <a:solidFill>
                  <a:schemeClr val="tx1"/>
                </a:solidFill>
                <a:latin typeface="Times" pitchFamily="18" charset="0"/>
                <a:ea typeface="ＭＳ Ｐゴシック" pitchFamily="31" charset="-128"/>
              </a:defRPr>
            </a:lvl3pPr>
            <a:lvl4pPr marL="1600200" indent="-228600">
              <a:defRPr sz="2400">
                <a:solidFill>
                  <a:schemeClr val="tx1"/>
                </a:solidFill>
                <a:latin typeface="Times" pitchFamily="18" charset="0"/>
                <a:ea typeface="ＭＳ Ｐゴシック" pitchFamily="31" charset="-128"/>
              </a:defRPr>
            </a:lvl4pPr>
            <a:lvl5pPr marL="2057400" indent="-228600">
              <a:defRPr sz="2400">
                <a:solidFill>
                  <a:schemeClr val="tx1"/>
                </a:solidFill>
                <a:latin typeface="Times" pitchFamily="18" charset="0"/>
                <a:ea typeface="ＭＳ Ｐゴシック" pitchFamily="31" charset="-128"/>
              </a:defRPr>
            </a:lvl5pPr>
            <a:lvl6pPr marL="2514600" indent="-228600" eaLnBrk="0" fontAlgn="base" hangingPunct="0">
              <a:spcBef>
                <a:spcPct val="0"/>
              </a:spcBef>
              <a:spcAft>
                <a:spcPct val="0"/>
              </a:spcAft>
              <a:defRPr sz="2400">
                <a:solidFill>
                  <a:schemeClr val="tx1"/>
                </a:solidFill>
                <a:latin typeface="Times" pitchFamily="18" charset="0"/>
                <a:ea typeface="ＭＳ Ｐゴシック" pitchFamily="31" charset="-128"/>
              </a:defRPr>
            </a:lvl6pPr>
            <a:lvl7pPr marL="2971800" indent="-228600" eaLnBrk="0" fontAlgn="base" hangingPunct="0">
              <a:spcBef>
                <a:spcPct val="0"/>
              </a:spcBef>
              <a:spcAft>
                <a:spcPct val="0"/>
              </a:spcAft>
              <a:defRPr sz="2400">
                <a:solidFill>
                  <a:schemeClr val="tx1"/>
                </a:solidFill>
                <a:latin typeface="Times" pitchFamily="18" charset="0"/>
                <a:ea typeface="ＭＳ Ｐゴシック" pitchFamily="31" charset="-128"/>
              </a:defRPr>
            </a:lvl7pPr>
            <a:lvl8pPr marL="3429000" indent="-228600" eaLnBrk="0" fontAlgn="base" hangingPunct="0">
              <a:spcBef>
                <a:spcPct val="0"/>
              </a:spcBef>
              <a:spcAft>
                <a:spcPct val="0"/>
              </a:spcAft>
              <a:defRPr sz="2400">
                <a:solidFill>
                  <a:schemeClr val="tx1"/>
                </a:solidFill>
                <a:latin typeface="Times" pitchFamily="18" charset="0"/>
                <a:ea typeface="ＭＳ Ｐゴシック" pitchFamily="31" charset="-128"/>
              </a:defRPr>
            </a:lvl8pPr>
            <a:lvl9pPr marL="3886200" indent="-228600" eaLnBrk="0" fontAlgn="base" hangingPunct="0">
              <a:spcBef>
                <a:spcPct val="0"/>
              </a:spcBef>
              <a:spcAft>
                <a:spcPct val="0"/>
              </a:spcAft>
              <a:defRPr sz="2400">
                <a:solidFill>
                  <a:schemeClr val="tx1"/>
                </a:solidFill>
                <a:latin typeface="Times" pitchFamily="18" charset="0"/>
                <a:ea typeface="ＭＳ Ｐゴシック" pitchFamily="31" charset="-128"/>
              </a:defRPr>
            </a:lvl9pPr>
          </a:lstStyle>
          <a:p>
            <a:r>
              <a:rPr lang="en-GB" altLang="zh-TW" sz="3600" b="1" dirty="0">
                <a:solidFill>
                  <a:srgbClr val="1C1C1C"/>
                </a:solidFill>
                <a:latin typeface="Castellar" pitchFamily="18" charset="0"/>
              </a:rPr>
              <a:t>Brief History of NCYU</a:t>
            </a:r>
          </a:p>
        </p:txBody>
      </p:sp>
      <p:pic>
        <p:nvPicPr>
          <p:cNvPr id="23" name="圖片 2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7702" y="5248334"/>
            <a:ext cx="2465681" cy="1520115"/>
          </a:xfrm>
          <a:prstGeom prst="rect">
            <a:avLst/>
          </a:prstGeom>
        </p:spPr>
      </p:pic>
      <p:sp>
        <p:nvSpPr>
          <p:cNvPr id="24" name="矩形 23"/>
          <p:cNvSpPr/>
          <p:nvPr/>
        </p:nvSpPr>
        <p:spPr>
          <a:xfrm>
            <a:off x="5203151" y="5612268"/>
            <a:ext cx="6831327" cy="646331"/>
          </a:xfrm>
          <a:prstGeom prst="rect">
            <a:avLst/>
          </a:prstGeom>
        </p:spPr>
        <p:txBody>
          <a:bodyPr wrap="square">
            <a:spAutoFit/>
          </a:bodyPr>
          <a:lstStyle/>
          <a:p>
            <a:pPr algn="ctr"/>
            <a:r>
              <a:rPr lang="en-US" altLang="zh-TW" b="1" i="1" dirty="0">
                <a:solidFill>
                  <a:schemeClr val="accent4">
                    <a:lumMod val="50000"/>
                  </a:schemeClr>
                </a:solidFill>
                <a:latin typeface="Papyrus" panose="03070502060502030205" pitchFamily="66" charset="0"/>
              </a:rPr>
              <a:t>NCYU is one of the oldest and largest universities</a:t>
            </a:r>
          </a:p>
          <a:p>
            <a:pPr algn="ctr"/>
            <a:r>
              <a:rPr lang="en-US" altLang="zh-TW" b="1" i="1" dirty="0">
                <a:solidFill>
                  <a:schemeClr val="accent4">
                    <a:lumMod val="50000"/>
                  </a:schemeClr>
                </a:solidFill>
                <a:latin typeface="Papyrus" panose="03070502060502030205" pitchFamily="66" charset="0"/>
              </a:rPr>
              <a:t>                                                               in the southern part of Taiwan.</a:t>
            </a:r>
          </a:p>
        </p:txBody>
      </p:sp>
      <p:pic>
        <p:nvPicPr>
          <p:cNvPr id="29" name="圖片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24050" y="5248333"/>
            <a:ext cx="2634855" cy="1520115"/>
          </a:xfrm>
          <a:prstGeom prst="rect">
            <a:avLst/>
          </a:prstGeom>
        </p:spPr>
      </p:pic>
      <p:sp>
        <p:nvSpPr>
          <p:cNvPr id="13" name="圓角矩形 12"/>
          <p:cNvSpPr/>
          <p:nvPr/>
        </p:nvSpPr>
        <p:spPr>
          <a:xfrm>
            <a:off x="227701" y="4188014"/>
            <a:ext cx="11446727" cy="810696"/>
          </a:xfrm>
          <a:prstGeom prst="roundRect">
            <a:avLst>
              <a:gd name="adj" fmla="val 10000"/>
            </a:avLst>
          </a:prstGeom>
          <a:solidFill>
            <a:schemeClr val="accent4">
              <a:lumMod val="75000"/>
            </a:schemeClr>
          </a:solidFill>
        </p:spPr>
        <p:style>
          <a:lnRef idx="2">
            <a:schemeClr val="lt1">
              <a:hueOff val="0"/>
              <a:satOff val="0"/>
              <a:lumOff val="0"/>
              <a:alphaOff val="0"/>
            </a:schemeClr>
          </a:lnRef>
          <a:fillRef idx="1">
            <a:schemeClr val="accent4">
              <a:hueOff val="-2976513"/>
              <a:satOff val="17933"/>
              <a:lumOff val="1437"/>
              <a:alphaOff val="0"/>
            </a:schemeClr>
          </a:fillRef>
          <a:effectRef idx="0">
            <a:schemeClr val="accent4">
              <a:hueOff val="-2976513"/>
              <a:satOff val="17933"/>
              <a:lumOff val="1437"/>
              <a:alphaOff val="0"/>
            </a:schemeClr>
          </a:effectRef>
          <a:fontRef idx="minor">
            <a:schemeClr val="lt1"/>
          </a:fontRef>
        </p:style>
      </p:sp>
      <p:pic>
        <p:nvPicPr>
          <p:cNvPr id="5" name="圖片 4"/>
          <p:cNvPicPr>
            <a:picLocks noChangeAspect="1"/>
          </p:cNvPicPr>
          <p:nvPr/>
        </p:nvPicPr>
        <p:blipFill>
          <a:blip r:embed="rId5"/>
          <a:stretch>
            <a:fillRect/>
          </a:stretch>
        </p:blipFill>
        <p:spPr>
          <a:xfrm>
            <a:off x="10323181" y="4208670"/>
            <a:ext cx="931840" cy="804969"/>
          </a:xfrm>
          <a:prstGeom prst="rect">
            <a:avLst/>
          </a:prstGeom>
        </p:spPr>
      </p:pic>
      <p:sp>
        <p:nvSpPr>
          <p:cNvPr id="33" name="矩形 32"/>
          <p:cNvSpPr/>
          <p:nvPr/>
        </p:nvSpPr>
        <p:spPr>
          <a:xfrm>
            <a:off x="4160266" y="4362533"/>
            <a:ext cx="4861025" cy="461665"/>
          </a:xfrm>
          <a:prstGeom prst="rect">
            <a:avLst/>
          </a:prstGeom>
        </p:spPr>
        <p:txBody>
          <a:bodyPr wrap="square">
            <a:spAutoFit/>
          </a:bodyPr>
          <a:lstStyle/>
          <a:p>
            <a:r>
              <a:rPr lang="en-US" altLang="zh-TW"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rPr>
              <a:t>2000  National Chiayi University</a:t>
            </a:r>
          </a:p>
        </p:txBody>
      </p:sp>
      <p:grpSp>
        <p:nvGrpSpPr>
          <p:cNvPr id="2" name="群組 1"/>
          <p:cNvGrpSpPr/>
          <p:nvPr/>
        </p:nvGrpSpPr>
        <p:grpSpPr>
          <a:xfrm>
            <a:off x="227702" y="1605964"/>
            <a:ext cx="11806777" cy="2377641"/>
            <a:chOff x="227699" y="1605960"/>
            <a:chExt cx="11806777" cy="2377641"/>
          </a:xfrm>
        </p:grpSpPr>
        <p:grpSp>
          <p:nvGrpSpPr>
            <p:cNvPr id="8" name="群組 7"/>
            <p:cNvGrpSpPr/>
            <p:nvPr/>
          </p:nvGrpSpPr>
          <p:grpSpPr>
            <a:xfrm>
              <a:off x="227699" y="1605960"/>
              <a:ext cx="6035854" cy="2310668"/>
              <a:chOff x="691537" y="-352321"/>
              <a:chExt cx="1552595" cy="1052037"/>
            </a:xfrm>
            <a:solidFill>
              <a:schemeClr val="bg1">
                <a:lumMod val="50000"/>
              </a:schemeClr>
            </a:solidFill>
          </p:grpSpPr>
          <p:sp>
            <p:nvSpPr>
              <p:cNvPr id="9" name="圓角矩形 8"/>
              <p:cNvSpPr/>
              <p:nvPr/>
            </p:nvSpPr>
            <p:spPr>
              <a:xfrm>
                <a:off x="691537" y="-352321"/>
                <a:ext cx="1552595" cy="1023329"/>
              </a:xfrm>
              <a:prstGeom prst="roundRect">
                <a:avLst>
                  <a:gd name="adj" fmla="val 10000"/>
                </a:avLst>
              </a:prstGeom>
              <a:grpFill/>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11" name="圓角矩形 4"/>
              <p:cNvSpPr/>
              <p:nvPr/>
            </p:nvSpPr>
            <p:spPr>
              <a:xfrm>
                <a:off x="752898" y="-191748"/>
                <a:ext cx="1491234" cy="891464"/>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r>
                  <a:rPr lang="en-US" altLang="zh-TW" sz="1600" dirty="0">
                    <a:latin typeface="Arial Unicode MS" panose="020B0604020202020204" pitchFamily="34" charset="-120"/>
                    <a:ea typeface="Arial Unicode MS" panose="020B0604020202020204" pitchFamily="34" charset="-120"/>
                    <a:cs typeface="Arial Unicode MS" panose="020B0604020202020204" pitchFamily="34" charset="-120"/>
                  </a:rPr>
                  <a:t> 1919  Chiayi Agriculture and Forestry Public School</a:t>
                </a:r>
              </a:p>
              <a:p>
                <a:r>
                  <a:rPr lang="en-US" altLang="zh-TW" sz="1600" dirty="0">
                    <a:latin typeface="Arial Unicode MS" panose="020B0604020202020204" pitchFamily="34" charset="-120"/>
                    <a:ea typeface="Arial Unicode MS" panose="020B0604020202020204" pitchFamily="34" charset="-120"/>
                    <a:cs typeface="Arial Unicode MS" panose="020B0604020202020204" pitchFamily="34" charset="-120"/>
                  </a:rPr>
                  <a:t> 1945  Taiwan Provincial Chiayi </a:t>
                </a:r>
                <a:r>
                  <a:rPr lang="en-US" altLang="zh-TW" sz="1600" dirty="0" err="1">
                    <a:latin typeface="Arial Unicode MS" panose="020B0604020202020204" pitchFamily="34" charset="-120"/>
                    <a:ea typeface="Arial Unicode MS" panose="020B0604020202020204" pitchFamily="34" charset="-120"/>
                    <a:cs typeface="Arial Unicode MS" panose="020B0604020202020204" pitchFamily="34" charset="-120"/>
                  </a:rPr>
                  <a:t>Agri</a:t>
                </a:r>
                <a:r>
                  <a:rPr lang="en-US" altLang="zh-TW" sz="1600" dirty="0">
                    <a:latin typeface="Arial Unicode MS" panose="020B0604020202020204" pitchFamily="34" charset="-120"/>
                    <a:ea typeface="Arial Unicode MS" panose="020B0604020202020204" pitchFamily="34" charset="-120"/>
                    <a:cs typeface="Arial Unicode MS" panose="020B0604020202020204" pitchFamily="34" charset="-120"/>
                  </a:rPr>
                  <a:t>-Vocational School</a:t>
                </a:r>
              </a:p>
              <a:p>
                <a:r>
                  <a:rPr lang="en-US" altLang="zh-TW" sz="1600" dirty="0">
                    <a:latin typeface="Arial Unicode MS" panose="020B0604020202020204" pitchFamily="34" charset="-120"/>
                    <a:ea typeface="Arial Unicode MS" panose="020B0604020202020204" pitchFamily="34" charset="-120"/>
                    <a:cs typeface="Arial Unicode MS" panose="020B0604020202020204" pitchFamily="34" charset="-120"/>
                  </a:rPr>
                  <a:t> 1965  Taiwan Provincial Chiayi Junior College of Agriculture</a:t>
                </a:r>
              </a:p>
              <a:p>
                <a:r>
                  <a:rPr lang="en-US" altLang="zh-TW" sz="1600" dirty="0">
                    <a:latin typeface="Arial Unicode MS" panose="020B0604020202020204" pitchFamily="34" charset="-120"/>
                    <a:ea typeface="Arial Unicode MS" panose="020B0604020202020204" pitchFamily="34" charset="-120"/>
                    <a:cs typeface="Arial Unicode MS" panose="020B0604020202020204" pitchFamily="34" charset="-120"/>
                  </a:rPr>
                  <a:t> 1981  National college directly funded by the Ministry of   </a:t>
                </a:r>
              </a:p>
              <a:p>
                <a:r>
                  <a:rPr lang="en-US" altLang="zh-TW" sz="1600" dirty="0">
                    <a:latin typeface="Arial Unicode MS" panose="020B0604020202020204" pitchFamily="34" charset="-120"/>
                    <a:ea typeface="Arial Unicode MS" panose="020B0604020202020204" pitchFamily="34" charset="-120"/>
                    <a:cs typeface="Arial Unicode MS" panose="020B0604020202020204" pitchFamily="34" charset="-120"/>
                  </a:rPr>
                  <a:t>           Education</a:t>
                </a:r>
              </a:p>
              <a:p>
                <a:r>
                  <a:rPr lang="en-US" altLang="zh-TW" sz="1600" dirty="0">
                    <a:latin typeface="Arial Unicode MS" panose="020B0604020202020204" pitchFamily="34" charset="-120"/>
                    <a:ea typeface="Arial Unicode MS" panose="020B0604020202020204" pitchFamily="34" charset="-120"/>
                    <a:cs typeface="Arial Unicode MS" panose="020B0604020202020204" pitchFamily="34" charset="-120"/>
                  </a:rPr>
                  <a:t> 1997  National Chiayi Institute of Technology</a:t>
                </a:r>
              </a:p>
            </p:txBody>
          </p:sp>
        </p:grpSp>
        <p:grpSp>
          <p:nvGrpSpPr>
            <p:cNvPr id="30" name="群組 29"/>
            <p:cNvGrpSpPr/>
            <p:nvPr/>
          </p:nvGrpSpPr>
          <p:grpSpPr>
            <a:xfrm>
              <a:off x="6296771" y="1618473"/>
              <a:ext cx="5699829" cy="2365128"/>
              <a:chOff x="-380207" y="3097561"/>
              <a:chExt cx="1579178" cy="851325"/>
            </a:xfrm>
          </p:grpSpPr>
          <p:sp>
            <p:nvSpPr>
              <p:cNvPr id="31" name="圓角矩形 30"/>
              <p:cNvSpPr/>
              <p:nvPr/>
            </p:nvSpPr>
            <p:spPr>
              <a:xfrm>
                <a:off x="-380207" y="3097561"/>
                <a:ext cx="1489917" cy="801339"/>
              </a:xfrm>
              <a:prstGeom prst="roundRect">
                <a:avLst>
                  <a:gd name="adj" fmla="val 10000"/>
                </a:avLst>
              </a:prstGeom>
              <a:solidFill>
                <a:schemeClr val="accent2">
                  <a:lumMod val="50000"/>
                </a:schemeClr>
              </a:solidFill>
            </p:spPr>
            <p:style>
              <a:lnRef idx="2">
                <a:schemeClr val="lt1">
                  <a:hueOff val="0"/>
                  <a:satOff val="0"/>
                  <a:lumOff val="0"/>
                  <a:alphaOff val="0"/>
                </a:schemeClr>
              </a:lnRef>
              <a:fillRef idx="1">
                <a:schemeClr val="accent4">
                  <a:hueOff val="-2976513"/>
                  <a:satOff val="17933"/>
                  <a:lumOff val="1437"/>
                  <a:alphaOff val="0"/>
                </a:schemeClr>
              </a:fillRef>
              <a:effectRef idx="0">
                <a:schemeClr val="accent4">
                  <a:hueOff val="-2976513"/>
                  <a:satOff val="17933"/>
                  <a:lumOff val="1437"/>
                  <a:alphaOff val="0"/>
                </a:schemeClr>
              </a:effectRef>
              <a:fontRef idx="minor">
                <a:schemeClr val="lt1"/>
              </a:fontRef>
            </p:style>
          </p:sp>
          <p:sp>
            <p:nvSpPr>
              <p:cNvPr id="32" name="圓角矩形 4"/>
              <p:cNvSpPr/>
              <p:nvPr/>
            </p:nvSpPr>
            <p:spPr>
              <a:xfrm>
                <a:off x="-299381" y="3281276"/>
                <a:ext cx="1498352" cy="667610"/>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marL="342900" indent="-342900">
                  <a:buAutoNum type="arabicPlain" startAt="1957"/>
                </a:pPr>
                <a:r>
                  <a:rPr lang="en-US" altLang="zh-TW" sz="1600" dirty="0">
                    <a:latin typeface="Arial Unicode MS" panose="020B0604020202020204" pitchFamily="34" charset="-120"/>
                    <a:ea typeface="Arial Unicode MS" panose="020B0604020202020204" pitchFamily="34" charset="-120"/>
                    <a:cs typeface="Arial Unicode MS" panose="020B0604020202020204" pitchFamily="34" charset="-120"/>
                  </a:rPr>
                  <a:t> Taiwan Provincial Chiayi Normal School</a:t>
                </a:r>
              </a:p>
              <a:p>
                <a:r>
                  <a:rPr lang="en-US" altLang="zh-TW" sz="1600" dirty="0">
                    <a:latin typeface="Arial Unicode MS" panose="020B0604020202020204" pitchFamily="34" charset="-120"/>
                    <a:ea typeface="Arial Unicode MS" panose="020B0604020202020204" pitchFamily="34" charset="-120"/>
                    <a:cs typeface="Arial Unicode MS" panose="020B0604020202020204" pitchFamily="34" charset="-120"/>
                  </a:rPr>
                  <a:t>1966 Taiwan Provincial Chiayi Junior Teachers College</a:t>
                </a:r>
              </a:p>
              <a:p>
                <a:r>
                  <a:rPr lang="en-US" altLang="zh-TW" sz="1600" dirty="0">
                    <a:latin typeface="Arial Unicode MS" panose="020B0604020202020204" pitchFamily="34" charset="-120"/>
                    <a:ea typeface="Arial Unicode MS" panose="020B0604020202020204" pitchFamily="34" charset="-120"/>
                    <a:cs typeface="Arial Unicode MS" panose="020B0604020202020204" pitchFamily="34" charset="-120"/>
                  </a:rPr>
                  <a:t>1987 Taiwan Provincial Chiayi Teachers College</a:t>
                </a:r>
              </a:p>
              <a:p>
                <a:r>
                  <a:rPr lang="en-US" altLang="zh-TW" sz="1600" dirty="0">
                    <a:latin typeface="Arial Unicode MS" panose="020B0604020202020204" pitchFamily="34" charset="-120"/>
                    <a:ea typeface="Arial Unicode MS" panose="020B0604020202020204" pitchFamily="34" charset="-120"/>
                    <a:cs typeface="Arial Unicode MS" panose="020B0604020202020204" pitchFamily="34" charset="-120"/>
                  </a:rPr>
                  <a:t>1991 National Chiayi Teachers College</a:t>
                </a:r>
              </a:p>
              <a:p>
                <a:endParaRPr lang="en-US" altLang="zh-TW" sz="1600" dirty="0">
                  <a:latin typeface="Times New Roman" panose="02020603050405020304" pitchFamily="18" charset="0"/>
                  <a:ea typeface="Arial Unicode MS" panose="020B0604020202020204" pitchFamily="34" charset="-120"/>
                  <a:cs typeface="Times New Roman" panose="02020603050405020304" pitchFamily="18" charset="0"/>
                </a:endParaRPr>
              </a:p>
              <a:p>
                <a:r>
                  <a:rPr lang="en-US" altLang="zh-TW" sz="1600" dirty="0">
                    <a:latin typeface="Times New Roman" panose="02020603050405020304" pitchFamily="18" charset="0"/>
                    <a:ea typeface="Arial Unicode MS" panose="020B0604020202020204" pitchFamily="34" charset="-120"/>
                    <a:cs typeface="Times New Roman" panose="02020603050405020304" pitchFamily="18" charset="0"/>
                  </a:rPr>
                  <a:t>  </a:t>
                </a:r>
                <a:endParaRPr lang="en-US" altLang="zh-TW" sz="1600" dirty="0">
                  <a:latin typeface="Times New Roman" panose="02020603050405020304" pitchFamily="18" charset="0"/>
                  <a:cs typeface="Times New Roman" panose="02020603050405020304" pitchFamily="18" charset="0"/>
                </a:endParaRPr>
              </a:p>
            </p:txBody>
          </p:sp>
        </p:grpSp>
        <p:sp>
          <p:nvSpPr>
            <p:cNvPr id="34" name="文字方塊 33"/>
            <p:cNvSpPr txBox="1"/>
            <p:nvPr/>
          </p:nvSpPr>
          <p:spPr>
            <a:xfrm>
              <a:off x="328495" y="1727806"/>
              <a:ext cx="4991104" cy="461665"/>
            </a:xfrm>
            <a:prstGeom prst="rect">
              <a:avLst/>
            </a:prstGeom>
            <a:noFill/>
          </p:spPr>
          <p:txBody>
            <a:bodyPr wrap="square" rtlCol="0">
              <a:spAutoFit/>
            </a:bodyPr>
            <a:lstStyle/>
            <a:p>
              <a:r>
                <a:rPr lang="en-US" altLang="zh-TW" sz="2400" dirty="0">
                  <a:solidFill>
                    <a:schemeClr val="bg1"/>
                  </a:solidFill>
                </a:rPr>
                <a:t> NCTC  </a:t>
              </a:r>
              <a:r>
                <a:rPr lang="en-US" altLang="zh-TW" sz="1600" dirty="0"/>
                <a:t>National Chiayi Institute of Technology</a:t>
              </a:r>
              <a:endParaRPr lang="zh-TW" altLang="en-US" sz="2400" dirty="0"/>
            </a:p>
          </p:txBody>
        </p:sp>
        <p:sp>
          <p:nvSpPr>
            <p:cNvPr id="35" name="文字方塊 34"/>
            <p:cNvSpPr txBox="1"/>
            <p:nvPr/>
          </p:nvSpPr>
          <p:spPr>
            <a:xfrm>
              <a:off x="6406514" y="1727805"/>
              <a:ext cx="5627962" cy="461665"/>
            </a:xfrm>
            <a:prstGeom prst="rect">
              <a:avLst/>
            </a:prstGeom>
            <a:noFill/>
          </p:spPr>
          <p:txBody>
            <a:bodyPr wrap="square" rtlCol="0">
              <a:spAutoFit/>
            </a:bodyPr>
            <a:lstStyle/>
            <a:p>
              <a:r>
                <a:rPr lang="en-US" altLang="zh-TW" sz="2400" dirty="0">
                  <a:solidFill>
                    <a:schemeClr val="bg1"/>
                  </a:solidFill>
                </a:rPr>
                <a:t>NCIC </a:t>
              </a:r>
              <a:r>
                <a:rPr lang="en-US" altLang="zh-TW" sz="1600" dirty="0">
                  <a:solidFill>
                    <a:schemeClr val="bg1"/>
                  </a:solidFill>
                </a:rPr>
                <a:t>National Chiayi Teachers College</a:t>
              </a:r>
              <a:endParaRPr lang="zh-TW" altLang="en-US" sz="2400" dirty="0">
                <a:solidFill>
                  <a:schemeClr val="bg1"/>
                </a:solidFill>
              </a:endParaRPr>
            </a:p>
          </p:txBody>
        </p:sp>
      </p:grpSp>
      <p:grpSp>
        <p:nvGrpSpPr>
          <p:cNvPr id="36" name="群組 35"/>
          <p:cNvGrpSpPr/>
          <p:nvPr/>
        </p:nvGrpSpPr>
        <p:grpSpPr>
          <a:xfrm>
            <a:off x="4476228" y="3887510"/>
            <a:ext cx="360603" cy="300502"/>
            <a:chOff x="1248458" y="853577"/>
            <a:chExt cx="360602" cy="300502"/>
          </a:xfrm>
          <a:solidFill>
            <a:schemeClr val="bg2">
              <a:lumMod val="75000"/>
            </a:schemeClr>
          </a:solidFill>
        </p:grpSpPr>
        <p:sp>
          <p:nvSpPr>
            <p:cNvPr id="37" name="向右箭號 36"/>
            <p:cNvSpPr/>
            <p:nvPr/>
          </p:nvSpPr>
          <p:spPr>
            <a:xfrm rot="5400000">
              <a:off x="1278508" y="823527"/>
              <a:ext cx="300502" cy="360602"/>
            </a:xfrm>
            <a:prstGeom prst="rightArrow">
              <a:avLst>
                <a:gd name="adj1" fmla="val 60000"/>
                <a:gd name="adj2" fmla="val 50000"/>
              </a:avLst>
            </a:prstGeom>
            <a:grpFill/>
          </p:spPr>
          <p:style>
            <a:lnRef idx="0">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38" name="向右箭號 4"/>
            <p:cNvSpPr/>
            <p:nvPr/>
          </p:nvSpPr>
          <p:spPr>
            <a:xfrm>
              <a:off x="1320579" y="853577"/>
              <a:ext cx="216362" cy="21035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zh-CN" altLang="en-US" sz="1400" kern="1200"/>
            </a:p>
          </p:txBody>
        </p:sp>
      </p:grpSp>
      <p:grpSp>
        <p:nvGrpSpPr>
          <p:cNvPr id="39" name="群組 38"/>
          <p:cNvGrpSpPr/>
          <p:nvPr/>
        </p:nvGrpSpPr>
        <p:grpSpPr>
          <a:xfrm>
            <a:off x="7959541" y="3869224"/>
            <a:ext cx="360603" cy="300502"/>
            <a:chOff x="1248458" y="2055586"/>
            <a:chExt cx="360602" cy="300502"/>
          </a:xfrm>
          <a:solidFill>
            <a:schemeClr val="accent2">
              <a:lumMod val="50000"/>
            </a:schemeClr>
          </a:solidFill>
        </p:grpSpPr>
        <p:sp>
          <p:nvSpPr>
            <p:cNvPr id="40" name="向右箭號 39"/>
            <p:cNvSpPr/>
            <p:nvPr/>
          </p:nvSpPr>
          <p:spPr>
            <a:xfrm rot="5400000">
              <a:off x="1278508" y="2025536"/>
              <a:ext cx="300502" cy="360602"/>
            </a:xfrm>
            <a:prstGeom prst="rightArrow">
              <a:avLst>
                <a:gd name="adj1" fmla="val 60000"/>
                <a:gd name="adj2" fmla="val 50000"/>
              </a:avLst>
            </a:prstGeom>
            <a:grpFill/>
          </p:spPr>
          <p:style>
            <a:lnRef idx="0">
              <a:schemeClr val="lt1">
                <a:hueOff val="0"/>
                <a:satOff val="0"/>
                <a:lumOff val="0"/>
                <a:alphaOff val="0"/>
              </a:schemeClr>
            </a:lnRef>
            <a:fillRef idx="1">
              <a:schemeClr val="accent4">
                <a:hueOff val="-2232385"/>
                <a:satOff val="13449"/>
                <a:lumOff val="1078"/>
                <a:alphaOff val="0"/>
              </a:schemeClr>
            </a:fillRef>
            <a:effectRef idx="0">
              <a:schemeClr val="accent4">
                <a:hueOff val="-2232385"/>
                <a:satOff val="13449"/>
                <a:lumOff val="1078"/>
                <a:alphaOff val="0"/>
              </a:schemeClr>
            </a:effectRef>
            <a:fontRef idx="minor">
              <a:schemeClr val="lt1"/>
            </a:fontRef>
          </p:style>
        </p:sp>
        <p:sp>
          <p:nvSpPr>
            <p:cNvPr id="41" name="向右箭號 4"/>
            <p:cNvSpPr/>
            <p:nvPr/>
          </p:nvSpPr>
          <p:spPr>
            <a:xfrm>
              <a:off x="1320579" y="2055586"/>
              <a:ext cx="216362" cy="21035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zh-CN" altLang="en-US" sz="1400" kern="1200"/>
            </a:p>
          </p:txBody>
        </p:sp>
      </p:grpSp>
      <p:pic>
        <p:nvPicPr>
          <p:cNvPr id="6" name="圖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212775" y="4099471"/>
            <a:ext cx="1215660" cy="1094620"/>
          </a:xfrm>
          <a:prstGeom prst="rect">
            <a:avLst/>
          </a:prstGeom>
        </p:spPr>
      </p:pic>
    </p:spTree>
    <p:extLst>
      <p:ext uri="{BB962C8B-B14F-4D97-AF65-F5344CB8AC3E}">
        <p14:creationId xmlns:p14="http://schemas.microsoft.com/office/powerpoint/2010/main" val="1362047505"/>
      </p:ext>
    </p:extLst>
  </p:cSld>
  <p:clrMapOvr>
    <a:masterClrMapping/>
  </p:clrMapOvr>
  <mc:AlternateContent xmlns:mc="http://schemas.openxmlformats.org/markup-compatibility/2006" xmlns:p14="http://schemas.microsoft.com/office/powerpoint/2010/main">
    <mc:Choice Requires="p14">
      <p:transition spd="slow" p14:dur="1200" advClick="0" advTm="8000">
        <p14:prism/>
      </p:transition>
    </mc:Choice>
    <mc:Fallback xmlns="">
      <p:transition spd="slow" advClick="0" advTm="8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pic>
        <p:nvPicPr>
          <p:cNvPr id="2" name="圖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8136" y="356170"/>
            <a:ext cx="5769745" cy="6245687"/>
          </a:xfrm>
          <a:prstGeom prst="rect">
            <a:avLst/>
          </a:prstGeom>
          <a:ln>
            <a:solidFill>
              <a:schemeClr val="bg1"/>
            </a:solidFill>
          </a:ln>
        </p:spPr>
      </p:pic>
      <p:sp>
        <p:nvSpPr>
          <p:cNvPr id="25" name="向下箭號 24"/>
          <p:cNvSpPr/>
          <p:nvPr/>
        </p:nvSpPr>
        <p:spPr>
          <a:xfrm rot="17838168">
            <a:off x="331779" y="179785"/>
            <a:ext cx="512064" cy="686288"/>
          </a:xfrm>
          <a:prstGeom prst="downArrow">
            <a:avLst/>
          </a:prstGeom>
        </p:spPr>
        <p:style>
          <a:lnRef idx="0">
            <a:schemeClr val="accent4"/>
          </a:lnRef>
          <a:fillRef idx="3">
            <a:schemeClr val="accent4"/>
          </a:fillRef>
          <a:effectRef idx="3">
            <a:schemeClr val="accent4"/>
          </a:effectRef>
          <a:fontRef idx="minor">
            <a:schemeClr val="lt1"/>
          </a:fontRef>
        </p:style>
        <p:txBody>
          <a:bodyPr rtlCol="0" anchor="ctr"/>
          <a:lstStyle/>
          <a:p>
            <a:pPr algn="ctr"/>
            <a:endParaRPr lang="zh-TW" altLang="en-US">
              <a:solidFill>
                <a:srgbClr val="FFFFFF"/>
              </a:solidFill>
            </a:endParaRPr>
          </a:p>
        </p:txBody>
      </p:sp>
      <p:sp>
        <p:nvSpPr>
          <p:cNvPr id="26" name="向下箭號 25"/>
          <p:cNvSpPr/>
          <p:nvPr/>
        </p:nvSpPr>
        <p:spPr>
          <a:xfrm rot="17838168">
            <a:off x="1795744" y="5476861"/>
            <a:ext cx="512064" cy="686288"/>
          </a:xfrm>
          <a:prstGeom prst="downArrow">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srgbClr val="FFFFFF"/>
              </a:solidFill>
            </a:endParaRPr>
          </a:p>
        </p:txBody>
      </p:sp>
      <p:sp>
        <p:nvSpPr>
          <p:cNvPr id="27" name="向下箭號 26"/>
          <p:cNvSpPr/>
          <p:nvPr/>
        </p:nvSpPr>
        <p:spPr>
          <a:xfrm rot="17838168">
            <a:off x="4718542" y="5249646"/>
            <a:ext cx="512064" cy="686288"/>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zh-TW" altLang="en-US">
              <a:solidFill>
                <a:srgbClr val="FFFFFF"/>
              </a:solidFill>
            </a:endParaRPr>
          </a:p>
        </p:txBody>
      </p:sp>
      <p:sp>
        <p:nvSpPr>
          <p:cNvPr id="28" name="向下箭號 27"/>
          <p:cNvSpPr/>
          <p:nvPr/>
        </p:nvSpPr>
        <p:spPr>
          <a:xfrm rot="17838168">
            <a:off x="2849195" y="3917696"/>
            <a:ext cx="512064" cy="686288"/>
          </a:xfrm>
          <a:prstGeom prst="downArrow">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zh-TW" altLang="en-US">
              <a:solidFill>
                <a:srgbClr val="FFFFFF"/>
              </a:solidFill>
            </a:endParaRPr>
          </a:p>
        </p:txBody>
      </p:sp>
      <p:graphicFrame>
        <p:nvGraphicFramePr>
          <p:cNvPr id="4" name="資料庫圖表 3"/>
          <p:cNvGraphicFramePr/>
          <p:nvPr>
            <p:extLst>
              <p:ext uri="{D42A27DB-BD31-4B8C-83A1-F6EECF244321}">
                <p14:modId xmlns:p14="http://schemas.microsoft.com/office/powerpoint/2010/main" val="861896493"/>
              </p:ext>
            </p:extLst>
          </p:nvPr>
        </p:nvGraphicFramePr>
        <p:xfrm>
          <a:off x="5501511" y="305940"/>
          <a:ext cx="7185789" cy="604282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26789730"/>
      </p:ext>
    </p:extLst>
  </p:cSld>
  <p:clrMapOvr>
    <a:masterClrMapping/>
  </p:clrMapOvr>
  <mc:AlternateContent xmlns:mc="http://schemas.openxmlformats.org/markup-compatibility/2006" xmlns:p14="http://schemas.microsoft.com/office/powerpoint/2010/main">
    <mc:Choice Requires="p14">
      <p:transition spd="slow" p14:dur="2000" advClick="0" advTm="15000"/>
    </mc:Choice>
    <mc:Fallback xmlns="">
      <p:transition spd="slow" advClick="0" advTm="15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ontent Placeholder 9"/>
          <p:cNvGraphicFramePr>
            <a:graphicFrameLocks noGrp="1"/>
          </p:cNvGraphicFramePr>
          <p:nvPr>
            <p:ph type="pic" sz="quarter" idx="4294967295"/>
            <p:extLst>
              <p:ext uri="{D42A27DB-BD31-4B8C-83A1-F6EECF244321}">
                <p14:modId xmlns:p14="http://schemas.microsoft.com/office/powerpoint/2010/main" val="171699348"/>
              </p:ext>
            </p:extLst>
          </p:nvPr>
        </p:nvGraphicFramePr>
        <p:xfrm>
          <a:off x="3413635" y="492065"/>
          <a:ext cx="8842375" cy="6329363"/>
        </p:xfrm>
        <a:graphic>
          <a:graphicData uri="http://schemas.openxmlformats.org/drawingml/2006/chart">
            <c:chart xmlns:c="http://schemas.openxmlformats.org/drawingml/2006/chart" xmlns:r="http://schemas.openxmlformats.org/officeDocument/2006/relationships" r:id="rId2"/>
          </a:graphicData>
        </a:graphic>
      </p:graphicFrame>
      <p:pic>
        <p:nvPicPr>
          <p:cNvPr id="6" name="圖片 5"/>
          <p:cNvPicPr>
            <a:picLocks noChangeAspect="1"/>
          </p:cNvPicPr>
          <p:nvPr/>
        </p:nvPicPr>
        <p:blipFill>
          <a:blip r:embed="rId3" cstate="print"/>
          <a:stretch>
            <a:fillRect/>
          </a:stretch>
        </p:blipFill>
        <p:spPr>
          <a:xfrm>
            <a:off x="7163282" y="2717604"/>
            <a:ext cx="1298561" cy="1121761"/>
          </a:xfrm>
          <a:prstGeom prst="rect">
            <a:avLst/>
          </a:prstGeom>
        </p:spPr>
      </p:pic>
      <p:sp>
        <p:nvSpPr>
          <p:cNvPr id="8" name="矩形 7"/>
          <p:cNvSpPr/>
          <p:nvPr/>
        </p:nvSpPr>
        <p:spPr>
          <a:xfrm>
            <a:off x="0" y="0"/>
            <a:ext cx="38608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dirty="0"/>
          </a:p>
        </p:txBody>
      </p:sp>
      <p:grpSp>
        <p:nvGrpSpPr>
          <p:cNvPr id="24" name="群組 23"/>
          <p:cNvGrpSpPr/>
          <p:nvPr/>
        </p:nvGrpSpPr>
        <p:grpSpPr>
          <a:xfrm>
            <a:off x="0" y="940570"/>
            <a:ext cx="3744687" cy="523220"/>
            <a:chOff x="0" y="1237110"/>
            <a:chExt cx="3744686" cy="632995"/>
          </a:xfrm>
        </p:grpSpPr>
        <p:sp>
          <p:nvSpPr>
            <p:cNvPr id="9" name="五邊形 8"/>
            <p:cNvSpPr/>
            <p:nvPr/>
          </p:nvSpPr>
          <p:spPr>
            <a:xfrm>
              <a:off x="0" y="1277257"/>
              <a:ext cx="3744686" cy="579592"/>
            </a:xfrm>
            <a:prstGeom prst="homePlat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
          <p:nvSpPr>
            <p:cNvPr id="10" name="文字方塊 9"/>
            <p:cNvSpPr txBox="1"/>
            <p:nvPr/>
          </p:nvSpPr>
          <p:spPr>
            <a:xfrm>
              <a:off x="261257" y="1237110"/>
              <a:ext cx="2017486" cy="632995"/>
            </a:xfrm>
            <a:prstGeom prst="rect">
              <a:avLst/>
            </a:prstGeom>
            <a:noFill/>
          </p:spPr>
          <p:txBody>
            <a:bodyPr wrap="square" rtlCol="0">
              <a:spAutoFit/>
            </a:bodyPr>
            <a:lstStyle/>
            <a:p>
              <a:r>
                <a:rPr lang="en-US" altLang="zh-TW" sz="2800" dirty="0"/>
                <a:t>7 Colleges</a:t>
              </a:r>
              <a:endParaRPr lang="zh-TW" altLang="en-US" sz="2800" dirty="0"/>
            </a:p>
          </p:txBody>
        </p:sp>
      </p:grpSp>
      <p:grpSp>
        <p:nvGrpSpPr>
          <p:cNvPr id="25" name="群組 24"/>
          <p:cNvGrpSpPr/>
          <p:nvPr/>
        </p:nvGrpSpPr>
        <p:grpSpPr>
          <a:xfrm>
            <a:off x="36287" y="1682771"/>
            <a:ext cx="3744687" cy="523220"/>
            <a:chOff x="7256" y="1977457"/>
            <a:chExt cx="3744686" cy="583471"/>
          </a:xfrm>
        </p:grpSpPr>
        <p:sp>
          <p:nvSpPr>
            <p:cNvPr id="16" name="五邊形 15"/>
            <p:cNvSpPr/>
            <p:nvPr/>
          </p:nvSpPr>
          <p:spPr>
            <a:xfrm>
              <a:off x="7256" y="1998884"/>
              <a:ext cx="3744686" cy="526773"/>
            </a:xfrm>
            <a:prstGeom prst="homePlat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
          <p:nvSpPr>
            <p:cNvPr id="17" name="文字方塊 16"/>
            <p:cNvSpPr txBox="1"/>
            <p:nvPr/>
          </p:nvSpPr>
          <p:spPr>
            <a:xfrm>
              <a:off x="217713" y="1977457"/>
              <a:ext cx="3294743" cy="583471"/>
            </a:xfrm>
            <a:prstGeom prst="rect">
              <a:avLst/>
            </a:prstGeom>
            <a:noFill/>
          </p:spPr>
          <p:txBody>
            <a:bodyPr wrap="square" rtlCol="0">
              <a:spAutoFit/>
            </a:bodyPr>
            <a:lstStyle/>
            <a:p>
              <a:r>
                <a:rPr lang="en-US" altLang="zh-TW" sz="2800" dirty="0"/>
                <a:t>Student Enrollment</a:t>
              </a:r>
              <a:endParaRPr lang="zh-TW" altLang="en-US" sz="2800" dirty="0"/>
            </a:p>
          </p:txBody>
        </p:sp>
      </p:grpSp>
      <p:grpSp>
        <p:nvGrpSpPr>
          <p:cNvPr id="27" name="群組 26"/>
          <p:cNvGrpSpPr/>
          <p:nvPr/>
        </p:nvGrpSpPr>
        <p:grpSpPr>
          <a:xfrm>
            <a:off x="36287" y="2651917"/>
            <a:ext cx="3744687" cy="523220"/>
            <a:chOff x="-7258" y="3436776"/>
            <a:chExt cx="3744686" cy="741629"/>
          </a:xfrm>
        </p:grpSpPr>
        <p:sp>
          <p:nvSpPr>
            <p:cNvPr id="20" name="五邊形 19"/>
            <p:cNvSpPr/>
            <p:nvPr/>
          </p:nvSpPr>
          <p:spPr>
            <a:xfrm>
              <a:off x="-7258" y="3443571"/>
              <a:ext cx="3744686" cy="679444"/>
            </a:xfrm>
            <a:prstGeom prst="homePlat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
          <p:nvSpPr>
            <p:cNvPr id="21" name="文字方塊 20"/>
            <p:cNvSpPr txBox="1"/>
            <p:nvPr/>
          </p:nvSpPr>
          <p:spPr>
            <a:xfrm>
              <a:off x="246743" y="3436776"/>
              <a:ext cx="3294743" cy="741629"/>
            </a:xfrm>
            <a:prstGeom prst="rect">
              <a:avLst/>
            </a:prstGeom>
            <a:noFill/>
          </p:spPr>
          <p:txBody>
            <a:bodyPr wrap="square" rtlCol="0">
              <a:spAutoFit/>
            </a:bodyPr>
            <a:lstStyle/>
            <a:p>
              <a:r>
                <a:rPr lang="en-US" altLang="zh-TW" sz="2800" dirty="0"/>
                <a:t>Faculty Member</a:t>
              </a:r>
              <a:endParaRPr lang="zh-TW" altLang="en-US" sz="2800" dirty="0"/>
            </a:p>
          </p:txBody>
        </p:sp>
      </p:grpSp>
      <p:grpSp>
        <p:nvGrpSpPr>
          <p:cNvPr id="28" name="群組 27"/>
          <p:cNvGrpSpPr/>
          <p:nvPr/>
        </p:nvGrpSpPr>
        <p:grpSpPr>
          <a:xfrm>
            <a:off x="12121" y="3576010"/>
            <a:ext cx="3744687" cy="526709"/>
            <a:chOff x="-10887" y="4983360"/>
            <a:chExt cx="3744686" cy="759717"/>
          </a:xfrm>
        </p:grpSpPr>
        <p:sp>
          <p:nvSpPr>
            <p:cNvPr id="23" name="五邊形 22"/>
            <p:cNvSpPr/>
            <p:nvPr/>
          </p:nvSpPr>
          <p:spPr>
            <a:xfrm>
              <a:off x="-10887" y="5063633"/>
              <a:ext cx="3744686" cy="679444"/>
            </a:xfrm>
            <a:prstGeom prst="homePlat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
          <p:nvSpPr>
            <p:cNvPr id="22" name="文字方塊 21"/>
            <p:cNvSpPr txBox="1"/>
            <p:nvPr/>
          </p:nvSpPr>
          <p:spPr>
            <a:xfrm>
              <a:off x="261257" y="4983360"/>
              <a:ext cx="3294743" cy="754685"/>
            </a:xfrm>
            <a:prstGeom prst="rect">
              <a:avLst/>
            </a:prstGeom>
            <a:noFill/>
          </p:spPr>
          <p:txBody>
            <a:bodyPr wrap="square" rtlCol="0">
              <a:spAutoFit/>
            </a:bodyPr>
            <a:lstStyle/>
            <a:p>
              <a:r>
                <a:rPr lang="en-US" altLang="zh-TW" sz="2800" dirty="0"/>
                <a:t>Programs</a:t>
              </a:r>
              <a:endParaRPr lang="zh-TW" altLang="en-US" sz="2800" dirty="0"/>
            </a:p>
          </p:txBody>
        </p:sp>
      </p:grpSp>
      <p:sp>
        <p:nvSpPr>
          <p:cNvPr id="30" name="文字方塊 29"/>
          <p:cNvSpPr txBox="1"/>
          <p:nvPr/>
        </p:nvSpPr>
        <p:spPr>
          <a:xfrm>
            <a:off x="377374" y="2248127"/>
            <a:ext cx="2375971" cy="461665"/>
          </a:xfrm>
          <a:prstGeom prst="rect">
            <a:avLst/>
          </a:prstGeom>
          <a:noFill/>
        </p:spPr>
        <p:txBody>
          <a:bodyPr wrap="none" rtlCol="0">
            <a:spAutoFit/>
          </a:bodyPr>
          <a:lstStyle/>
          <a:p>
            <a:r>
              <a:rPr lang="en-US" altLang="zh-TW"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rPr>
              <a:t>12,269 students</a:t>
            </a:r>
            <a:endParaRPr lang="zh-TW" altLang="en-US"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endParaRPr>
          </a:p>
        </p:txBody>
      </p:sp>
      <p:sp>
        <p:nvSpPr>
          <p:cNvPr id="32" name="文字方塊 31"/>
          <p:cNvSpPr txBox="1"/>
          <p:nvPr/>
        </p:nvSpPr>
        <p:spPr>
          <a:xfrm>
            <a:off x="377374" y="3174534"/>
            <a:ext cx="2068195" cy="461665"/>
          </a:xfrm>
          <a:prstGeom prst="rect">
            <a:avLst/>
          </a:prstGeom>
          <a:noFill/>
        </p:spPr>
        <p:txBody>
          <a:bodyPr wrap="none" rtlCol="0">
            <a:spAutoFit/>
          </a:bodyPr>
          <a:lstStyle/>
          <a:p>
            <a:r>
              <a:rPr lang="en-US" altLang="zh-TW"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rPr>
              <a:t>466 members</a:t>
            </a:r>
            <a:endParaRPr lang="zh-TW" altLang="en-US"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endParaRPr>
          </a:p>
        </p:txBody>
      </p:sp>
      <p:sp>
        <p:nvSpPr>
          <p:cNvPr id="33" name="文字方塊 32"/>
          <p:cNvSpPr txBox="1"/>
          <p:nvPr/>
        </p:nvSpPr>
        <p:spPr>
          <a:xfrm>
            <a:off x="420914" y="4150698"/>
            <a:ext cx="2957861" cy="1569660"/>
          </a:xfrm>
          <a:prstGeom prst="rect">
            <a:avLst/>
          </a:prstGeom>
          <a:noFill/>
        </p:spPr>
        <p:txBody>
          <a:bodyPr wrap="none" rtlCol="0">
            <a:spAutoFit/>
          </a:bodyPr>
          <a:lstStyle/>
          <a:p>
            <a:r>
              <a:rPr lang="en-US" altLang="zh-TW"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rPr>
              <a:t>39 undergraduate </a:t>
            </a:r>
          </a:p>
          <a:p>
            <a:r>
              <a:rPr lang="en-US" altLang="zh-TW"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rPr>
              <a:t>38 master  </a:t>
            </a:r>
          </a:p>
          <a:p>
            <a:r>
              <a:rPr lang="en-US" altLang="zh-TW"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rPr>
              <a:t>16 in-service master</a:t>
            </a:r>
          </a:p>
          <a:p>
            <a:r>
              <a:rPr lang="en-US" altLang="zh-TW"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rPr>
              <a:t>  7 Ph. D</a:t>
            </a:r>
            <a:endParaRPr lang="zh-TW" altLang="en-US"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endParaRPr>
          </a:p>
        </p:txBody>
      </p:sp>
      <p:grpSp>
        <p:nvGrpSpPr>
          <p:cNvPr id="34" name="群組 33"/>
          <p:cNvGrpSpPr/>
          <p:nvPr/>
        </p:nvGrpSpPr>
        <p:grpSpPr>
          <a:xfrm>
            <a:off x="-7257" y="5662505"/>
            <a:ext cx="3744687" cy="523220"/>
            <a:chOff x="0" y="1237110"/>
            <a:chExt cx="3744686" cy="632995"/>
          </a:xfrm>
        </p:grpSpPr>
        <p:sp>
          <p:nvSpPr>
            <p:cNvPr id="35" name="五邊形 34"/>
            <p:cNvSpPr/>
            <p:nvPr/>
          </p:nvSpPr>
          <p:spPr>
            <a:xfrm>
              <a:off x="0" y="1277257"/>
              <a:ext cx="3744686" cy="579592"/>
            </a:xfrm>
            <a:prstGeom prst="homePlat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zh-TW" altLang="en-US"/>
            </a:p>
          </p:txBody>
        </p:sp>
        <p:sp>
          <p:nvSpPr>
            <p:cNvPr id="36" name="文字方塊 35"/>
            <p:cNvSpPr txBox="1"/>
            <p:nvPr/>
          </p:nvSpPr>
          <p:spPr>
            <a:xfrm>
              <a:off x="261257" y="1237110"/>
              <a:ext cx="2648858" cy="632995"/>
            </a:xfrm>
            <a:prstGeom prst="rect">
              <a:avLst/>
            </a:prstGeom>
            <a:noFill/>
          </p:spPr>
          <p:txBody>
            <a:bodyPr wrap="square" rtlCol="0">
              <a:spAutoFit/>
            </a:bodyPr>
            <a:lstStyle/>
            <a:p>
              <a:r>
                <a:rPr lang="en-US" altLang="zh-TW" sz="2800" dirty="0"/>
                <a:t>Campus Area</a:t>
              </a:r>
              <a:endParaRPr lang="zh-TW" altLang="en-US" sz="2800" dirty="0"/>
            </a:p>
          </p:txBody>
        </p:sp>
      </p:grpSp>
      <p:sp>
        <p:nvSpPr>
          <p:cNvPr id="40" name="文字方塊 39"/>
          <p:cNvSpPr txBox="1"/>
          <p:nvPr/>
        </p:nvSpPr>
        <p:spPr>
          <a:xfrm>
            <a:off x="297227" y="6170331"/>
            <a:ext cx="1863011" cy="461665"/>
          </a:xfrm>
          <a:prstGeom prst="rect">
            <a:avLst/>
          </a:prstGeom>
          <a:noFill/>
        </p:spPr>
        <p:txBody>
          <a:bodyPr wrap="none" rtlCol="0">
            <a:spAutoFit/>
          </a:bodyPr>
          <a:lstStyle/>
          <a:p>
            <a:r>
              <a:rPr lang="en-US" altLang="zh-TW"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rPr>
              <a:t>150 Hectare</a:t>
            </a:r>
            <a:endParaRPr lang="zh-TW" altLang="en-US" sz="2400" dirty="0">
              <a:solidFill>
                <a:schemeClr val="bg1"/>
              </a:solidFill>
              <a:latin typeface="Arial Unicode MS" panose="020B0604020202020204" pitchFamily="34" charset="-120"/>
              <a:ea typeface="Arial Unicode MS" panose="020B0604020202020204" pitchFamily="34" charset="-120"/>
              <a:cs typeface="Arial Unicode MS" panose="020B0604020202020204" pitchFamily="34" charset="-120"/>
            </a:endParaRPr>
          </a:p>
        </p:txBody>
      </p:sp>
      <p:sp>
        <p:nvSpPr>
          <p:cNvPr id="42" name="矩形 41"/>
          <p:cNvSpPr/>
          <p:nvPr/>
        </p:nvSpPr>
        <p:spPr>
          <a:xfrm>
            <a:off x="-108857" y="109573"/>
            <a:ext cx="3947887" cy="830997"/>
          </a:xfrm>
          <a:prstGeom prst="rect">
            <a:avLst/>
          </a:prstGeom>
          <a:noFill/>
        </p:spPr>
        <p:txBody>
          <a:bodyPr wrap="square" lIns="91440" tIns="45720" rIns="91440" bIns="45720">
            <a:spAutoFit/>
          </a:bodyPr>
          <a:lstStyle/>
          <a:p>
            <a:pPr algn="ctr"/>
            <a:r>
              <a:rPr lang="en-US" altLang="zh-TW" sz="4800" b="1" dirty="0">
                <a:ln w="10160">
                  <a:solidFill>
                    <a:schemeClr val="accent5"/>
                  </a:solidFill>
                  <a:prstDash val="solid"/>
                </a:ln>
                <a:solidFill>
                  <a:srgbClr val="FFFFFF"/>
                </a:solidFill>
                <a:effectLst>
                  <a:outerShdw blurRad="38100" dist="22860" dir="5400000" algn="tl" rotWithShape="0">
                    <a:srgbClr val="000000">
                      <a:alpha val="30000"/>
                    </a:srgbClr>
                  </a:outerShdw>
                </a:effectLst>
              </a:rPr>
              <a:t>NCYU Facts</a:t>
            </a:r>
            <a:endParaRPr lang="zh-TW" altLang="en-US" sz="4800" b="1" dirty="0">
              <a:ln w="10160">
                <a:solidFill>
                  <a:schemeClr val="accent5"/>
                </a:solidFill>
                <a:prstDash val="solid"/>
              </a:ln>
              <a:solidFill>
                <a:srgbClr val="FFFFFF"/>
              </a:solidFill>
              <a:effectLst>
                <a:outerShdw blurRad="38100" dist="22860" dir="5400000" algn="tl" rotWithShape="0">
                  <a:srgbClr val="000000">
                    <a:alpha val="30000"/>
                  </a:srgbClr>
                </a:outerShdw>
              </a:effectLst>
            </a:endParaRPr>
          </a:p>
        </p:txBody>
      </p:sp>
    </p:spTree>
    <p:extLst>
      <p:ext uri="{BB962C8B-B14F-4D97-AF65-F5344CB8AC3E}">
        <p14:creationId xmlns:p14="http://schemas.microsoft.com/office/powerpoint/2010/main" val="945894045"/>
      </p:ext>
    </p:extLst>
  </p:cSld>
  <p:clrMapOvr>
    <a:masterClrMapping/>
  </p:clrMapOvr>
  <mc:AlternateContent xmlns:mc="http://schemas.openxmlformats.org/markup-compatibility/2006" xmlns:p14="http://schemas.microsoft.com/office/powerpoint/2010/main">
    <mc:Choice Requires="p14">
      <p:transition p14:dur="0" advClick="0" advTm="15000"/>
    </mc:Choice>
    <mc:Fallback xmlns="">
      <p:transition advClick="0" advTm="1500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IMING" val="|1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heme/theme1.xml><?xml version="1.0" encoding="utf-8"?>
<a:theme xmlns:a="http://schemas.openxmlformats.org/drawingml/2006/main" name="框架">
  <a:themeElements>
    <a:clrScheme name="框架">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框架">
      <a:maj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框架">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2.xml><?xml version="1.0" encoding="utf-8"?>
<a:theme xmlns:a="http://schemas.openxmlformats.org/drawingml/2006/main" name="1_框架">
  <a:themeElements>
    <a:clrScheme name="框架">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框架">
      <a:maj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框架">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3.xml><?xml version="1.0" encoding="utf-8"?>
<a:theme xmlns:a="http://schemas.openxmlformats.org/drawingml/2006/main" name="Standard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altLang="zh-TW"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altLang="zh-TW" sz="1800" b="0"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rd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rd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rd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rd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rd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rd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rd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茅草">
  <a:themeElements>
    <a:clrScheme name="茅草">
      <a:dk1>
        <a:sysClr val="windowText" lastClr="000000"/>
      </a:dk1>
      <a:lt1>
        <a:sysClr val="window" lastClr="FFFFFF"/>
      </a:lt1>
      <a:dk2>
        <a:srgbClr val="1D3641"/>
      </a:dk2>
      <a:lt2>
        <a:srgbClr val="DFE6D0"/>
      </a:lt2>
      <a:accent1>
        <a:srgbClr val="759AA5"/>
      </a:accent1>
      <a:accent2>
        <a:srgbClr val="CFC60D"/>
      </a:accent2>
      <a:accent3>
        <a:srgbClr val="99987F"/>
      </a:accent3>
      <a:accent4>
        <a:srgbClr val="90AC97"/>
      </a:accent4>
      <a:accent5>
        <a:srgbClr val="FFAD1C"/>
      </a:accent5>
      <a:accent6>
        <a:srgbClr val="B9AB6F"/>
      </a:accent6>
      <a:hlink>
        <a:srgbClr val="66AACD"/>
      </a:hlink>
      <a:folHlink>
        <a:srgbClr val="809DB3"/>
      </a:folHlink>
    </a:clrScheme>
    <a:fontScheme name="中庸">
      <a:majorFont>
        <a:latin typeface="Tw Cen MT"/>
        <a:ea typeface=""/>
        <a:cs typeface=""/>
        <a:font script="Grek" typeface="Calibri"/>
        <a:font script="Cyrl" typeface="Calibri"/>
        <a:font script="Jpan" typeface="HG創英角ｺﾞｼｯｸUB"/>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w Cen MT"/>
        <a:ea typeface=""/>
        <a:cs typeface=""/>
        <a:font script="Grek" typeface="Calibri"/>
        <a:font script="Cyrl" typeface="Calibri"/>
        <a:font script="Jpan" typeface="HG創英角ｺﾞｼｯｸUB"/>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茅草">
      <a:fillStyleLst>
        <a:solidFill>
          <a:schemeClr val="phClr"/>
        </a:solidFill>
        <a:gradFill rotWithShape="1">
          <a:gsLst>
            <a:gs pos="0">
              <a:schemeClr val="phClr">
                <a:tint val="79000"/>
                <a:satMod val="180000"/>
              </a:schemeClr>
            </a:gs>
            <a:gs pos="65000">
              <a:schemeClr val="phClr">
                <a:tint val="52000"/>
                <a:satMod val="250000"/>
              </a:schemeClr>
            </a:gs>
            <a:gs pos="100000">
              <a:schemeClr val="phClr">
                <a:tint val="29000"/>
                <a:satMod val="300000"/>
              </a:schemeClr>
            </a:gs>
          </a:gsLst>
          <a:lin ang="16200000" scaled="0"/>
        </a:gradFill>
        <a:gradFill rotWithShape="1">
          <a:gsLst>
            <a:gs pos="0">
              <a:schemeClr val="phClr">
                <a:shade val="15000"/>
                <a:satMod val="180000"/>
              </a:schemeClr>
            </a:gs>
            <a:gs pos="50000">
              <a:schemeClr val="phClr">
                <a:shade val="45000"/>
                <a:satMod val="170000"/>
              </a:schemeClr>
            </a:gs>
            <a:gs pos="70000">
              <a:schemeClr val="phClr">
                <a:tint val="99000"/>
                <a:shade val="65000"/>
                <a:satMod val="155000"/>
              </a:schemeClr>
            </a:gs>
            <a:gs pos="100000">
              <a:schemeClr val="phClr">
                <a:tint val="95500"/>
                <a:shade val="100000"/>
                <a:satMod val="155000"/>
              </a:schemeClr>
            </a:gs>
          </a:gsLst>
          <a:lin ang="16200000" scaled="0"/>
        </a:gradFill>
      </a:fillStyleLst>
      <a:lnStyleLst>
        <a:ln w="9525" cap="flat" cmpd="sng" algn="ctr">
          <a:solidFill>
            <a:schemeClr val="phClr"/>
          </a:solidFill>
          <a:prstDash val="solid"/>
        </a:ln>
        <a:ln w="15875" cap="flat" cmpd="sng" algn="ctr">
          <a:solidFill>
            <a:schemeClr val="phClr"/>
          </a:solidFill>
          <a:prstDash val="solid"/>
        </a:ln>
        <a:ln w="38100" cap="flat" cmpd="sng" algn="ctr">
          <a:solidFill>
            <a:schemeClr val="phClr"/>
          </a:solidFill>
          <a:prstDash val="solid"/>
        </a:ln>
      </a:lnStyleLst>
      <a:effectStyleLst>
        <a:effectStyle>
          <a:effectLst>
            <a:outerShdw blurRad="63500" dist="25400" dir="5400000" rotWithShape="0">
              <a:srgbClr val="000000">
                <a:alpha val="43000"/>
              </a:srgbClr>
            </a:outerShdw>
          </a:effectLst>
        </a:effectStyle>
        <a:effectStyle>
          <a:effectLst>
            <a:outerShdw blurRad="63500" dist="25400" dir="5400000" rotWithShape="0">
              <a:srgbClr val="000000">
                <a:alpha val="43000"/>
              </a:srgbClr>
            </a:outerShdw>
          </a:effectLst>
          <a:scene3d>
            <a:camera prst="orthographicFront">
              <a:rot lat="0" lon="0" rev="0"/>
            </a:camera>
            <a:lightRig rig="brightRoom" dir="t">
              <a:rot lat="0" lon="0" rev="8700000"/>
            </a:lightRig>
          </a:scene3d>
          <a:sp3d contourW="12700" prstMaterial="dkEdge">
            <a:bevelT w="0" h="0" prst="relaxedInset"/>
            <a:contourClr>
              <a:schemeClr val="phClr">
                <a:shade val="65000"/>
                <a:satMod val="150000"/>
              </a:schemeClr>
            </a:contourClr>
          </a:sp3d>
        </a:effectStyle>
        <a:effectStyle>
          <a:effectLst>
            <a:outerShdw blurRad="63500" dist="25400" dir="5400000" rotWithShape="0">
              <a:srgbClr val="000000">
                <a:alpha val="43000"/>
              </a:srgbClr>
            </a:outerShdw>
          </a:effectLst>
          <a:scene3d>
            <a:camera prst="orthographicFront">
              <a:rot lat="0" lon="0" rev="0"/>
            </a:camera>
            <a:lightRig rig="glow" dir="t">
              <a:rot lat="0" lon="0" rev="13200000"/>
            </a:lightRig>
          </a:scene3d>
          <a:sp3d prstMaterial="dkEdge">
            <a:bevelT w="63500" h="50800" prst="relaxedInset"/>
          </a:sp3d>
        </a:effectStyle>
      </a:effectStyleLst>
      <a:bgFillStyleLst>
        <a:solidFill>
          <a:schemeClr val="phClr"/>
        </a:solidFill>
        <a:gradFill rotWithShape="1">
          <a:gsLst>
            <a:gs pos="0">
              <a:schemeClr val="phClr">
                <a:tint val="85000"/>
                <a:shade val="95000"/>
                <a:satMod val="200000"/>
              </a:schemeClr>
            </a:gs>
            <a:gs pos="53000">
              <a:schemeClr val="phClr">
                <a:shade val="60000"/>
                <a:satMod val="220000"/>
              </a:schemeClr>
            </a:gs>
            <a:gs pos="100000">
              <a:schemeClr val="phClr">
                <a:shade val="45000"/>
                <a:satMod val="220000"/>
              </a:schemeClr>
            </a:gs>
          </a:gsLst>
          <a:lin ang="16200000" scaled="0"/>
        </a:gradFill>
        <a:gradFill rotWithShape="1">
          <a:gsLst>
            <a:gs pos="0">
              <a:schemeClr val="phClr">
                <a:tint val="83000"/>
                <a:shade val="97000"/>
                <a:satMod val="230000"/>
              </a:schemeClr>
            </a:gs>
            <a:gs pos="100000">
              <a:schemeClr val="phClr">
                <a:shade val="35000"/>
                <a:satMod val="250000"/>
              </a:schemeClr>
            </a:gs>
          </a:gsLst>
          <a:path path="circle">
            <a:fillToRect l="15000" t="50000" r="85000" b="60000"/>
          </a:path>
        </a:gradFill>
      </a:bgFillStyleLst>
    </a:fmtScheme>
  </a:themeElements>
  <a:objectDefaults/>
  <a:extraClrSchemeLst/>
</a:theme>
</file>

<file path=ppt/theme/theme5.xml><?xml version="1.0" encoding="utf-8"?>
<a:theme xmlns:a="http://schemas.openxmlformats.org/drawingml/2006/main" name="2_框架">
  <a:themeElements>
    <a:clrScheme name="框架">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框架">
      <a:maj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框架">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6.xml><?xml version="1.0" encoding="utf-8"?>
<a:theme xmlns:a="http://schemas.openxmlformats.org/drawingml/2006/main" name="3_框架">
  <a:themeElements>
    <a:clrScheme name="框架">
      <a:dk1>
        <a:srgbClr val="000000"/>
      </a:dk1>
      <a:lt1>
        <a:srgbClr val="FFFFFF"/>
      </a:lt1>
      <a:dk2>
        <a:srgbClr val="545454"/>
      </a:dk2>
      <a:lt2>
        <a:srgbClr val="BFBFBF"/>
      </a:lt2>
      <a:accent1>
        <a:srgbClr val="40BAD2"/>
      </a:accent1>
      <a:accent2>
        <a:srgbClr val="FAB900"/>
      </a:accent2>
      <a:accent3>
        <a:srgbClr val="90BB23"/>
      </a:accent3>
      <a:accent4>
        <a:srgbClr val="EE7008"/>
      </a:accent4>
      <a:accent5>
        <a:srgbClr val="1AB39F"/>
      </a:accent5>
      <a:accent6>
        <a:srgbClr val="D5393D"/>
      </a:accent6>
      <a:hlink>
        <a:srgbClr val="90BB23"/>
      </a:hlink>
      <a:folHlink>
        <a:srgbClr val="EE7008"/>
      </a:folHlink>
    </a:clrScheme>
    <a:fontScheme name="框架">
      <a:maj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orbel"/>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框架">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7.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9895</TotalTime>
  <Words>1144</Words>
  <Application>Microsoft Office PowerPoint</Application>
  <PresentationFormat>寬螢幕</PresentationFormat>
  <Paragraphs>217</Paragraphs>
  <Slides>24</Slides>
  <Notes>15</Notes>
  <HiddenSlides>0</HiddenSlides>
  <MMClips>1</MMClips>
  <ScaleCrop>false</ScaleCrop>
  <HeadingPairs>
    <vt:vector size="6" baseType="variant">
      <vt:variant>
        <vt:lpstr>使用字型</vt:lpstr>
      </vt:variant>
      <vt:variant>
        <vt:i4>12</vt:i4>
      </vt:variant>
      <vt:variant>
        <vt:lpstr>佈景主題</vt:lpstr>
      </vt:variant>
      <vt:variant>
        <vt:i4>6</vt:i4>
      </vt:variant>
      <vt:variant>
        <vt:lpstr>投影片標題</vt:lpstr>
      </vt:variant>
      <vt:variant>
        <vt:i4>24</vt:i4>
      </vt:variant>
    </vt:vector>
  </HeadingPairs>
  <TitlesOfParts>
    <vt:vector size="42" baseType="lpstr">
      <vt:lpstr>Arial Unicode MS</vt:lpstr>
      <vt:lpstr>新細明體</vt:lpstr>
      <vt:lpstr>Arial</vt:lpstr>
      <vt:lpstr>Calibri</vt:lpstr>
      <vt:lpstr>Castellar</vt:lpstr>
      <vt:lpstr>Corbel</vt:lpstr>
      <vt:lpstr>Papyrus</vt:lpstr>
      <vt:lpstr>Times New Roman</vt:lpstr>
      <vt:lpstr>Tw Cen MT</vt:lpstr>
      <vt:lpstr>Verdana</vt:lpstr>
      <vt:lpstr>Wingdings</vt:lpstr>
      <vt:lpstr>Wingdings 2</vt:lpstr>
      <vt:lpstr>框架</vt:lpstr>
      <vt:lpstr>1_框架</vt:lpstr>
      <vt:lpstr>Standarddesign</vt:lpstr>
      <vt:lpstr>茅草</vt:lpstr>
      <vt:lpstr>2_框架</vt:lpstr>
      <vt:lpstr>3_框架</vt:lpstr>
      <vt:lpstr>The Perspectives on NCYU</vt:lpstr>
      <vt:lpstr>Taiwan is an island with 36,000 square kilometers of total land area and 23 millions of population.</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 College of Veterinary Medicine</vt:lpstr>
      <vt:lpstr>PowerPoint 簡報</vt:lpstr>
      <vt:lpstr>Cooperation  programs with international partners</vt:lpstr>
      <vt:lpstr>PowerPoint 簡報</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Ball</dc:creator>
  <cp:lastModifiedBy>User</cp:lastModifiedBy>
  <cp:revision>462</cp:revision>
  <dcterms:created xsi:type="dcterms:W3CDTF">2014-10-18T13:10:04Z</dcterms:created>
  <dcterms:modified xsi:type="dcterms:W3CDTF">2021-01-07T09:38:26Z</dcterms:modified>
</cp:coreProperties>
</file>